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3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notesSlides/notesSlide3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5"/>
  </p:notesMasterIdLst>
  <p:handoutMasterIdLst>
    <p:handoutMasterId r:id="rId46"/>
  </p:handoutMasterIdLst>
  <p:sldIdLst>
    <p:sldId id="261" r:id="rId2"/>
    <p:sldId id="1764" r:id="rId3"/>
    <p:sldId id="312" r:id="rId4"/>
    <p:sldId id="1702" r:id="rId5"/>
    <p:sldId id="1723" r:id="rId6"/>
    <p:sldId id="1704" r:id="rId7"/>
    <p:sldId id="1724" r:id="rId8"/>
    <p:sldId id="1707" r:id="rId9"/>
    <p:sldId id="1706" r:id="rId10"/>
    <p:sldId id="1710" r:id="rId11"/>
    <p:sldId id="1725" r:id="rId12"/>
    <p:sldId id="1726" r:id="rId13"/>
    <p:sldId id="1727" r:id="rId14"/>
    <p:sldId id="1728" r:id="rId15"/>
    <p:sldId id="1712" r:id="rId16"/>
    <p:sldId id="1732" r:id="rId17"/>
    <p:sldId id="1733" r:id="rId18"/>
    <p:sldId id="1734" r:id="rId19"/>
    <p:sldId id="1735" r:id="rId20"/>
    <p:sldId id="1736" r:id="rId21"/>
    <p:sldId id="1711" r:id="rId22"/>
    <p:sldId id="1716" r:id="rId23"/>
    <p:sldId id="1742" r:id="rId24"/>
    <p:sldId id="1738" r:id="rId25"/>
    <p:sldId id="1718" r:id="rId26"/>
    <p:sldId id="1743" r:id="rId27"/>
    <p:sldId id="1744" r:id="rId28"/>
    <p:sldId id="1745" r:id="rId29"/>
    <p:sldId id="1746" r:id="rId30"/>
    <p:sldId id="1747" r:id="rId31"/>
    <p:sldId id="1748" r:id="rId32"/>
    <p:sldId id="1751" r:id="rId33"/>
    <p:sldId id="1754" r:id="rId34"/>
    <p:sldId id="1755" r:id="rId35"/>
    <p:sldId id="1756" r:id="rId36"/>
    <p:sldId id="1757" r:id="rId37"/>
    <p:sldId id="1759" r:id="rId38"/>
    <p:sldId id="1760" r:id="rId39"/>
    <p:sldId id="1761" r:id="rId40"/>
    <p:sldId id="1762" r:id="rId41"/>
    <p:sldId id="1763" r:id="rId42"/>
    <p:sldId id="281" r:id="rId43"/>
    <p:sldId id="286"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ash Ratanpal" initials="YR" lastIdx="1" clrIdx="0">
    <p:extLst>
      <p:ext uri="{19B8F6BF-5375-455C-9EA6-DF929625EA0E}">
        <p15:presenceInfo xmlns:p15="http://schemas.microsoft.com/office/powerpoint/2012/main" userId="S::yashratanpal@Acies.Consulting::5db668b1-93e7-4c08-9786-4ed81315a6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FA90"/>
    <a:srgbClr val="ECA098"/>
    <a:srgbClr val="8FC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3D7B74-C3A2-4253-98A0-EA0353EAA279}" v="50" dt="2021-08-12T12:01:04.5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4" d="100"/>
          <a:sy n="94" d="100"/>
        </p:scale>
        <p:origin x="76" y="172"/>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sh Ratanpal" userId="5db668b1-93e7-4c08-9786-4ed81315a653" providerId="ADAL" clId="{9C3D7B74-C3A2-4253-98A0-EA0353EAA279}"/>
    <pc:docChg chg="undo custSel modSld">
      <pc:chgData name="Yash Ratanpal" userId="5db668b1-93e7-4c08-9786-4ed81315a653" providerId="ADAL" clId="{9C3D7B74-C3A2-4253-98A0-EA0353EAA279}" dt="2021-08-12T12:01:04.543" v="363" actId="14100"/>
      <pc:docMkLst>
        <pc:docMk/>
      </pc:docMkLst>
      <pc:sldChg chg="modSp mod">
        <pc:chgData name="Yash Ratanpal" userId="5db668b1-93e7-4c08-9786-4ed81315a653" providerId="ADAL" clId="{9C3D7B74-C3A2-4253-98A0-EA0353EAA279}" dt="2021-08-12T11:47:26.940" v="332" actId="1076"/>
        <pc:sldMkLst>
          <pc:docMk/>
          <pc:sldMk cId="2364944676" sldId="312"/>
        </pc:sldMkLst>
        <pc:spChg chg="mod">
          <ac:chgData name="Yash Ratanpal" userId="5db668b1-93e7-4c08-9786-4ed81315a653" providerId="ADAL" clId="{9C3D7B74-C3A2-4253-98A0-EA0353EAA279}" dt="2021-08-12T11:46:57.019" v="330" actId="1076"/>
          <ac:spMkLst>
            <pc:docMk/>
            <pc:sldMk cId="2364944676" sldId="312"/>
            <ac:spMk id="3" creationId="{00000000-0000-0000-0000-000000000000}"/>
          </ac:spMkLst>
        </pc:spChg>
        <pc:picChg chg="mod">
          <ac:chgData name="Yash Ratanpal" userId="5db668b1-93e7-4c08-9786-4ed81315a653" providerId="ADAL" clId="{9C3D7B74-C3A2-4253-98A0-EA0353EAA279}" dt="2021-08-12T11:47:26.940" v="332" actId="1076"/>
          <ac:picMkLst>
            <pc:docMk/>
            <pc:sldMk cId="2364944676" sldId="312"/>
            <ac:picMk id="2" creationId="{00000000-0000-0000-0000-000000000000}"/>
          </ac:picMkLst>
        </pc:picChg>
        <pc:picChg chg="mod">
          <ac:chgData name="Yash Ratanpal" userId="5db668b1-93e7-4c08-9786-4ed81315a653" providerId="ADAL" clId="{9C3D7B74-C3A2-4253-98A0-EA0353EAA279}" dt="2021-08-12T11:47:15.148" v="331" actId="1076"/>
          <ac:picMkLst>
            <pc:docMk/>
            <pc:sldMk cId="2364944676" sldId="312"/>
            <ac:picMk id="11" creationId="{2A1B5E98-08DD-4A73-9069-74DEF1322192}"/>
          </ac:picMkLst>
        </pc:picChg>
      </pc:sldChg>
      <pc:sldChg chg="modSp mod">
        <pc:chgData name="Yash Ratanpal" userId="5db668b1-93e7-4c08-9786-4ed81315a653" providerId="ADAL" clId="{9C3D7B74-C3A2-4253-98A0-EA0353EAA279}" dt="2021-08-12T11:49:19.583" v="333" actId="20577"/>
        <pc:sldMkLst>
          <pc:docMk/>
          <pc:sldMk cId="3600778414" sldId="1702"/>
        </pc:sldMkLst>
        <pc:spChg chg="mod">
          <ac:chgData name="Yash Ratanpal" userId="5db668b1-93e7-4c08-9786-4ed81315a653" providerId="ADAL" clId="{9C3D7B74-C3A2-4253-98A0-EA0353EAA279}" dt="2021-08-11T16:20:40.205" v="101" actId="404"/>
          <ac:spMkLst>
            <pc:docMk/>
            <pc:sldMk cId="3600778414" sldId="1702"/>
            <ac:spMk id="3" creationId="{00000000-0000-0000-0000-000000000000}"/>
          </ac:spMkLst>
        </pc:spChg>
        <pc:spChg chg="mod">
          <ac:chgData name="Yash Ratanpal" userId="5db668b1-93e7-4c08-9786-4ed81315a653" providerId="ADAL" clId="{9C3D7B74-C3A2-4253-98A0-EA0353EAA279}" dt="2021-08-12T11:49:19.583" v="333" actId="20577"/>
          <ac:spMkLst>
            <pc:docMk/>
            <pc:sldMk cId="3600778414" sldId="1702"/>
            <ac:spMk id="4" creationId="{00000000-0000-0000-0000-000000000000}"/>
          </ac:spMkLst>
        </pc:spChg>
      </pc:sldChg>
      <pc:sldChg chg="modSp mod">
        <pc:chgData name="Yash Ratanpal" userId="5db668b1-93e7-4c08-9786-4ed81315a653" providerId="ADAL" clId="{9C3D7B74-C3A2-4253-98A0-EA0353EAA279}" dt="2021-08-11T16:20:47.359" v="103" actId="404"/>
        <pc:sldMkLst>
          <pc:docMk/>
          <pc:sldMk cId="920433170" sldId="1704"/>
        </pc:sldMkLst>
        <pc:spChg chg="mod">
          <ac:chgData name="Yash Ratanpal" userId="5db668b1-93e7-4c08-9786-4ed81315a653" providerId="ADAL" clId="{9C3D7B74-C3A2-4253-98A0-EA0353EAA279}" dt="2021-08-11T16:20:47.359" v="103" actId="404"/>
          <ac:spMkLst>
            <pc:docMk/>
            <pc:sldMk cId="920433170" sldId="1704"/>
            <ac:spMk id="3" creationId="{00000000-0000-0000-0000-000000000000}"/>
          </ac:spMkLst>
        </pc:spChg>
      </pc:sldChg>
      <pc:sldChg chg="modSp mod">
        <pc:chgData name="Yash Ratanpal" userId="5db668b1-93e7-4c08-9786-4ed81315a653" providerId="ADAL" clId="{9C3D7B74-C3A2-4253-98A0-EA0353EAA279}" dt="2021-08-11T16:20:56.923" v="106" actId="404"/>
        <pc:sldMkLst>
          <pc:docMk/>
          <pc:sldMk cId="2749337049" sldId="1706"/>
        </pc:sldMkLst>
        <pc:spChg chg="mod">
          <ac:chgData name="Yash Ratanpal" userId="5db668b1-93e7-4c08-9786-4ed81315a653" providerId="ADAL" clId="{9C3D7B74-C3A2-4253-98A0-EA0353EAA279}" dt="2021-08-11T16:20:56.923" v="106" actId="404"/>
          <ac:spMkLst>
            <pc:docMk/>
            <pc:sldMk cId="2749337049" sldId="1706"/>
            <ac:spMk id="3" creationId="{00000000-0000-0000-0000-000000000000}"/>
          </ac:spMkLst>
        </pc:spChg>
      </pc:sldChg>
      <pc:sldChg chg="modSp mod">
        <pc:chgData name="Yash Ratanpal" userId="5db668b1-93e7-4c08-9786-4ed81315a653" providerId="ADAL" clId="{9C3D7B74-C3A2-4253-98A0-EA0353EAA279}" dt="2021-08-11T16:20:52.951" v="105" actId="404"/>
        <pc:sldMkLst>
          <pc:docMk/>
          <pc:sldMk cId="2833895075" sldId="1707"/>
        </pc:sldMkLst>
        <pc:spChg chg="mod">
          <ac:chgData name="Yash Ratanpal" userId="5db668b1-93e7-4c08-9786-4ed81315a653" providerId="ADAL" clId="{9C3D7B74-C3A2-4253-98A0-EA0353EAA279}" dt="2021-08-11T16:20:52.951" v="105" actId="404"/>
          <ac:spMkLst>
            <pc:docMk/>
            <pc:sldMk cId="2833895075" sldId="1707"/>
            <ac:spMk id="3" creationId="{00000000-0000-0000-0000-000000000000}"/>
          </ac:spMkLst>
        </pc:spChg>
      </pc:sldChg>
      <pc:sldChg chg="modSp mod">
        <pc:chgData name="Yash Ratanpal" userId="5db668b1-93e7-4c08-9786-4ed81315a653" providerId="ADAL" clId="{9C3D7B74-C3A2-4253-98A0-EA0353EAA279}" dt="2021-08-11T16:20:59.537" v="107" actId="404"/>
        <pc:sldMkLst>
          <pc:docMk/>
          <pc:sldMk cId="1731196988" sldId="1710"/>
        </pc:sldMkLst>
        <pc:spChg chg="mod">
          <ac:chgData name="Yash Ratanpal" userId="5db668b1-93e7-4c08-9786-4ed81315a653" providerId="ADAL" clId="{9C3D7B74-C3A2-4253-98A0-EA0353EAA279}" dt="2021-08-11T16:20:59.537" v="107" actId="404"/>
          <ac:spMkLst>
            <pc:docMk/>
            <pc:sldMk cId="1731196988" sldId="1710"/>
            <ac:spMk id="3" creationId="{00000000-0000-0000-0000-000000000000}"/>
          </ac:spMkLst>
        </pc:spChg>
      </pc:sldChg>
      <pc:sldChg chg="modSp mod">
        <pc:chgData name="Yash Ratanpal" userId="5db668b1-93e7-4c08-9786-4ed81315a653" providerId="ADAL" clId="{9C3D7B74-C3A2-4253-98A0-EA0353EAA279}" dt="2021-08-11T16:23:16.096" v="167" actId="1076"/>
        <pc:sldMkLst>
          <pc:docMk/>
          <pc:sldMk cId="3498122450" sldId="1711"/>
        </pc:sldMkLst>
        <pc:spChg chg="mod">
          <ac:chgData name="Yash Ratanpal" userId="5db668b1-93e7-4c08-9786-4ed81315a653" providerId="ADAL" clId="{9C3D7B74-C3A2-4253-98A0-EA0353EAA279}" dt="2021-08-11T16:22:23.160" v="152" actId="404"/>
          <ac:spMkLst>
            <pc:docMk/>
            <pc:sldMk cId="3498122450" sldId="1711"/>
            <ac:spMk id="3" creationId="{00000000-0000-0000-0000-000000000000}"/>
          </ac:spMkLst>
        </pc:spChg>
        <pc:spChg chg="mod">
          <ac:chgData name="Yash Ratanpal" userId="5db668b1-93e7-4c08-9786-4ed81315a653" providerId="ADAL" clId="{9C3D7B74-C3A2-4253-98A0-EA0353EAA279}" dt="2021-08-11T16:23:16.096" v="167" actId="1076"/>
          <ac:spMkLst>
            <pc:docMk/>
            <pc:sldMk cId="3498122450" sldId="1711"/>
            <ac:spMk id="29" creationId="{EA551B8A-CDE3-4187-851F-AC775894ACF7}"/>
          </ac:spMkLst>
        </pc:spChg>
      </pc:sldChg>
      <pc:sldChg chg="modSp mod">
        <pc:chgData name="Yash Ratanpal" userId="5db668b1-93e7-4c08-9786-4ed81315a653" providerId="ADAL" clId="{9C3D7B74-C3A2-4253-98A0-EA0353EAA279}" dt="2021-08-11T16:20:35.785" v="100" actId="1076"/>
        <pc:sldMkLst>
          <pc:docMk/>
          <pc:sldMk cId="3413008602" sldId="1712"/>
        </pc:sldMkLst>
        <pc:spChg chg="mod">
          <ac:chgData name="Yash Ratanpal" userId="5db668b1-93e7-4c08-9786-4ed81315a653" providerId="ADAL" clId="{9C3D7B74-C3A2-4253-98A0-EA0353EAA279}" dt="2021-08-11T16:20:35.785" v="100" actId="1076"/>
          <ac:spMkLst>
            <pc:docMk/>
            <pc:sldMk cId="3413008602" sldId="1712"/>
            <ac:spMk id="3" creationId="{00000000-0000-0000-0000-000000000000}"/>
          </ac:spMkLst>
        </pc:spChg>
      </pc:sldChg>
      <pc:sldChg chg="modSp mod">
        <pc:chgData name="Yash Ratanpal" userId="5db668b1-93e7-4c08-9786-4ed81315a653" providerId="ADAL" clId="{9C3D7B74-C3A2-4253-98A0-EA0353EAA279}" dt="2021-08-11T16:22:29.443" v="166" actId="404"/>
        <pc:sldMkLst>
          <pc:docMk/>
          <pc:sldMk cId="2852442038" sldId="1716"/>
        </pc:sldMkLst>
        <pc:spChg chg="mod">
          <ac:chgData name="Yash Ratanpal" userId="5db668b1-93e7-4c08-9786-4ed81315a653" providerId="ADAL" clId="{9C3D7B74-C3A2-4253-98A0-EA0353EAA279}" dt="2021-08-11T16:22:29.443" v="166" actId="404"/>
          <ac:spMkLst>
            <pc:docMk/>
            <pc:sldMk cId="2852442038" sldId="1716"/>
            <ac:spMk id="3" creationId="{00000000-0000-0000-0000-000000000000}"/>
          </ac:spMkLst>
        </pc:spChg>
      </pc:sldChg>
      <pc:sldChg chg="modSp mod">
        <pc:chgData name="Yash Ratanpal" userId="5db668b1-93e7-4c08-9786-4ed81315a653" providerId="ADAL" clId="{9C3D7B74-C3A2-4253-98A0-EA0353EAA279}" dt="2021-08-11T16:26:49.757" v="199" actId="404"/>
        <pc:sldMkLst>
          <pc:docMk/>
          <pc:sldMk cId="1933103214" sldId="1718"/>
        </pc:sldMkLst>
        <pc:spChg chg="mod">
          <ac:chgData name="Yash Ratanpal" userId="5db668b1-93e7-4c08-9786-4ed81315a653" providerId="ADAL" clId="{9C3D7B74-C3A2-4253-98A0-EA0353EAA279}" dt="2021-08-11T16:26:49.757" v="199" actId="404"/>
          <ac:spMkLst>
            <pc:docMk/>
            <pc:sldMk cId="1933103214" sldId="1718"/>
            <ac:spMk id="3" creationId="{00000000-0000-0000-0000-000000000000}"/>
          </ac:spMkLst>
        </pc:spChg>
      </pc:sldChg>
      <pc:sldChg chg="modSp mod">
        <pc:chgData name="Yash Ratanpal" userId="5db668b1-93e7-4c08-9786-4ed81315a653" providerId="ADAL" clId="{9C3D7B74-C3A2-4253-98A0-EA0353EAA279}" dt="2021-08-11T16:20:43.208" v="102" actId="404"/>
        <pc:sldMkLst>
          <pc:docMk/>
          <pc:sldMk cId="1691604744" sldId="1723"/>
        </pc:sldMkLst>
        <pc:spChg chg="mod">
          <ac:chgData name="Yash Ratanpal" userId="5db668b1-93e7-4c08-9786-4ed81315a653" providerId="ADAL" clId="{9C3D7B74-C3A2-4253-98A0-EA0353EAA279}" dt="2021-08-11T16:20:43.208" v="102" actId="404"/>
          <ac:spMkLst>
            <pc:docMk/>
            <pc:sldMk cId="1691604744" sldId="1723"/>
            <ac:spMk id="3" creationId="{00000000-0000-0000-0000-000000000000}"/>
          </ac:spMkLst>
        </pc:spChg>
      </pc:sldChg>
      <pc:sldChg chg="modSp mod">
        <pc:chgData name="Yash Ratanpal" userId="5db668b1-93e7-4c08-9786-4ed81315a653" providerId="ADAL" clId="{9C3D7B74-C3A2-4253-98A0-EA0353EAA279}" dt="2021-08-11T16:20:50.282" v="104" actId="404"/>
        <pc:sldMkLst>
          <pc:docMk/>
          <pc:sldMk cId="2464015565" sldId="1724"/>
        </pc:sldMkLst>
        <pc:spChg chg="mod">
          <ac:chgData name="Yash Ratanpal" userId="5db668b1-93e7-4c08-9786-4ed81315a653" providerId="ADAL" clId="{9C3D7B74-C3A2-4253-98A0-EA0353EAA279}" dt="2021-08-11T16:20:50.282" v="104" actId="404"/>
          <ac:spMkLst>
            <pc:docMk/>
            <pc:sldMk cId="2464015565" sldId="1724"/>
            <ac:spMk id="3" creationId="{00000000-0000-0000-0000-000000000000}"/>
          </ac:spMkLst>
        </pc:spChg>
      </pc:sldChg>
      <pc:sldChg chg="modSp mod">
        <pc:chgData name="Yash Ratanpal" userId="5db668b1-93e7-4c08-9786-4ed81315a653" providerId="ADAL" clId="{9C3D7B74-C3A2-4253-98A0-EA0353EAA279}" dt="2021-08-11T16:21:23.752" v="111" actId="1076"/>
        <pc:sldMkLst>
          <pc:docMk/>
          <pc:sldMk cId="31760108" sldId="1725"/>
        </pc:sldMkLst>
        <pc:spChg chg="mod">
          <ac:chgData name="Yash Ratanpal" userId="5db668b1-93e7-4c08-9786-4ed81315a653" providerId="ADAL" clId="{9C3D7B74-C3A2-4253-98A0-EA0353EAA279}" dt="2021-08-11T16:21:23.752" v="111" actId="1076"/>
          <ac:spMkLst>
            <pc:docMk/>
            <pc:sldMk cId="31760108" sldId="1725"/>
            <ac:spMk id="3" creationId="{00000000-0000-0000-0000-000000000000}"/>
          </ac:spMkLst>
        </pc:spChg>
        <pc:spChg chg="mod">
          <ac:chgData name="Yash Ratanpal" userId="5db668b1-93e7-4c08-9786-4ed81315a653" providerId="ADAL" clId="{9C3D7B74-C3A2-4253-98A0-EA0353EAA279}" dt="2021-08-11T16:12:14.851" v="2" actId="14100"/>
          <ac:spMkLst>
            <pc:docMk/>
            <pc:sldMk cId="31760108" sldId="1725"/>
            <ac:spMk id="4" creationId="{CCD4D0DD-3AD1-4BB4-9FAA-449DDA84DB3F}"/>
          </ac:spMkLst>
        </pc:spChg>
        <pc:graphicFrameChg chg="mod">
          <ac:chgData name="Yash Ratanpal" userId="5db668b1-93e7-4c08-9786-4ed81315a653" providerId="ADAL" clId="{9C3D7B74-C3A2-4253-98A0-EA0353EAA279}" dt="2021-08-11T16:10:15.341" v="0"/>
          <ac:graphicFrameMkLst>
            <pc:docMk/>
            <pc:sldMk cId="31760108" sldId="1725"/>
            <ac:graphicFrameMk id="13" creationId="{2D76259B-9354-499B-A4B7-89CA484F7613}"/>
          </ac:graphicFrameMkLst>
        </pc:graphicFrameChg>
      </pc:sldChg>
      <pc:sldChg chg="addSp delSp modSp mod">
        <pc:chgData name="Yash Ratanpal" userId="5db668b1-93e7-4c08-9786-4ed81315a653" providerId="ADAL" clId="{9C3D7B74-C3A2-4253-98A0-EA0353EAA279}" dt="2021-08-11T16:42:16.612" v="319"/>
        <pc:sldMkLst>
          <pc:docMk/>
          <pc:sldMk cId="3017249640" sldId="1726"/>
        </pc:sldMkLst>
        <pc:spChg chg="mod">
          <ac:chgData name="Yash Ratanpal" userId="5db668b1-93e7-4c08-9786-4ed81315a653" providerId="ADAL" clId="{9C3D7B74-C3A2-4253-98A0-EA0353EAA279}" dt="2021-08-11T16:21:28.317" v="112" actId="404"/>
          <ac:spMkLst>
            <pc:docMk/>
            <pc:sldMk cId="3017249640" sldId="1726"/>
            <ac:spMk id="3" creationId="{00000000-0000-0000-0000-000000000000}"/>
          </ac:spMkLst>
        </pc:spChg>
        <pc:spChg chg="add del mod">
          <ac:chgData name="Yash Ratanpal" userId="5db668b1-93e7-4c08-9786-4ed81315a653" providerId="ADAL" clId="{9C3D7B74-C3A2-4253-98A0-EA0353EAA279}" dt="2021-08-11T16:41:40.273" v="309" actId="21"/>
          <ac:spMkLst>
            <pc:docMk/>
            <pc:sldMk cId="3017249640" sldId="1726"/>
            <ac:spMk id="4" creationId="{7DBA2C13-BEA2-4F44-AEBF-6816231AA958}"/>
          </ac:spMkLst>
        </pc:spChg>
        <pc:spChg chg="add del mod">
          <ac:chgData name="Yash Ratanpal" userId="5db668b1-93e7-4c08-9786-4ed81315a653" providerId="ADAL" clId="{9C3D7B74-C3A2-4253-98A0-EA0353EAA279}" dt="2021-08-11T16:42:03.901" v="314" actId="21"/>
          <ac:spMkLst>
            <pc:docMk/>
            <pc:sldMk cId="3017249640" sldId="1726"/>
            <ac:spMk id="24" creationId="{03A3AA24-639D-49F9-9897-9479A926E2FE}"/>
          </ac:spMkLst>
        </pc:spChg>
        <pc:spChg chg="add mod">
          <ac:chgData name="Yash Ratanpal" userId="5db668b1-93e7-4c08-9786-4ed81315a653" providerId="ADAL" clId="{9C3D7B74-C3A2-4253-98A0-EA0353EAA279}" dt="2021-08-11T16:42:16.612" v="319"/>
          <ac:spMkLst>
            <pc:docMk/>
            <pc:sldMk cId="3017249640" sldId="1726"/>
            <ac:spMk id="25" creationId="{7D9786BE-0FEB-45D7-985E-B80220950F16}"/>
          </ac:spMkLst>
        </pc:spChg>
        <pc:grpChg chg="mod">
          <ac:chgData name="Yash Ratanpal" userId="5db668b1-93e7-4c08-9786-4ed81315a653" providerId="ADAL" clId="{9C3D7B74-C3A2-4253-98A0-EA0353EAA279}" dt="2021-08-11T16:40:50.601" v="278" actId="14100"/>
          <ac:grpSpMkLst>
            <pc:docMk/>
            <pc:sldMk cId="3017249640" sldId="1726"/>
            <ac:grpSpMk id="91" creationId="{D3EF83A6-F13E-45DB-8E8D-D2F02FF2530E}"/>
          </ac:grpSpMkLst>
        </pc:grpChg>
      </pc:sldChg>
      <pc:sldChg chg="addSp delSp modSp mod">
        <pc:chgData name="Yash Ratanpal" userId="5db668b1-93e7-4c08-9786-4ed81315a653" providerId="ADAL" clId="{9C3D7B74-C3A2-4253-98A0-EA0353EAA279}" dt="2021-08-11T16:42:15.398" v="318"/>
        <pc:sldMkLst>
          <pc:docMk/>
          <pc:sldMk cId="3100553508" sldId="1727"/>
        </pc:sldMkLst>
        <pc:spChg chg="mod">
          <ac:chgData name="Yash Ratanpal" userId="5db668b1-93e7-4c08-9786-4ed81315a653" providerId="ADAL" clId="{9C3D7B74-C3A2-4253-98A0-EA0353EAA279}" dt="2021-08-11T16:20:22.294" v="97" actId="20577"/>
          <ac:spMkLst>
            <pc:docMk/>
            <pc:sldMk cId="3100553508" sldId="1727"/>
            <ac:spMk id="3" creationId="{00000000-0000-0000-0000-000000000000}"/>
          </ac:spMkLst>
        </pc:spChg>
        <pc:spChg chg="add del mod">
          <ac:chgData name="Yash Ratanpal" userId="5db668b1-93e7-4c08-9786-4ed81315a653" providerId="ADAL" clId="{9C3D7B74-C3A2-4253-98A0-EA0353EAA279}" dt="2021-08-11T16:41:59.980" v="312" actId="21"/>
          <ac:spMkLst>
            <pc:docMk/>
            <pc:sldMk cId="3100553508" sldId="1727"/>
            <ac:spMk id="26" creationId="{30CD45AA-3DBE-47EC-9F0E-083F4F08C387}"/>
          </ac:spMkLst>
        </pc:spChg>
        <pc:spChg chg="mod">
          <ac:chgData name="Yash Ratanpal" userId="5db668b1-93e7-4c08-9786-4ed81315a653" providerId="ADAL" clId="{9C3D7B74-C3A2-4253-98A0-EA0353EAA279}" dt="2021-08-11T16:14:47.618" v="3" actId="403"/>
          <ac:spMkLst>
            <pc:docMk/>
            <pc:sldMk cId="3100553508" sldId="1727"/>
            <ac:spMk id="31" creationId="{B096443A-36FB-434F-A4E2-4FE5A2AFE6E0}"/>
          </ac:spMkLst>
        </pc:spChg>
        <pc:spChg chg="add del mod">
          <ac:chgData name="Yash Ratanpal" userId="5db668b1-93e7-4c08-9786-4ed81315a653" providerId="ADAL" clId="{9C3D7B74-C3A2-4253-98A0-EA0353EAA279}" dt="2021-08-11T16:42:15.398" v="318"/>
          <ac:spMkLst>
            <pc:docMk/>
            <pc:sldMk cId="3100553508" sldId="1727"/>
            <ac:spMk id="38" creationId="{9D86D297-4B09-43E4-B4D5-714869C4C591}"/>
          </ac:spMkLst>
        </pc:spChg>
      </pc:sldChg>
      <pc:sldChg chg="modSp mod">
        <pc:chgData name="Yash Ratanpal" userId="5db668b1-93e7-4c08-9786-4ed81315a653" providerId="ADAL" clId="{9C3D7B74-C3A2-4253-98A0-EA0353EAA279}" dt="2021-08-11T16:19:25.305" v="71" actId="404"/>
        <pc:sldMkLst>
          <pc:docMk/>
          <pc:sldMk cId="3471107338" sldId="1728"/>
        </pc:sldMkLst>
        <pc:spChg chg="mod">
          <ac:chgData name="Yash Ratanpal" userId="5db668b1-93e7-4c08-9786-4ed81315a653" providerId="ADAL" clId="{9C3D7B74-C3A2-4253-98A0-EA0353EAA279}" dt="2021-08-11T16:19:25.305" v="71" actId="404"/>
          <ac:spMkLst>
            <pc:docMk/>
            <pc:sldMk cId="3471107338" sldId="1728"/>
            <ac:spMk id="3" creationId="{00000000-0000-0000-0000-000000000000}"/>
          </ac:spMkLst>
        </pc:spChg>
        <pc:spChg chg="mod">
          <ac:chgData name="Yash Ratanpal" userId="5db668b1-93e7-4c08-9786-4ed81315a653" providerId="ADAL" clId="{9C3D7B74-C3A2-4253-98A0-EA0353EAA279}" dt="2021-08-11T16:14:53.676" v="4" actId="403"/>
          <ac:spMkLst>
            <pc:docMk/>
            <pc:sldMk cId="3471107338" sldId="1728"/>
            <ac:spMk id="31" creationId="{B096443A-36FB-434F-A4E2-4FE5A2AFE6E0}"/>
          </ac:spMkLst>
        </pc:spChg>
      </pc:sldChg>
      <pc:sldChg chg="modSp mod">
        <pc:chgData name="Yash Ratanpal" userId="5db668b1-93e7-4c08-9786-4ed81315a653" providerId="ADAL" clId="{9C3D7B74-C3A2-4253-98A0-EA0353EAA279}" dt="2021-08-11T16:21:40.320" v="114"/>
        <pc:sldMkLst>
          <pc:docMk/>
          <pc:sldMk cId="3125260409" sldId="1732"/>
        </pc:sldMkLst>
        <pc:spChg chg="mod">
          <ac:chgData name="Yash Ratanpal" userId="5db668b1-93e7-4c08-9786-4ed81315a653" providerId="ADAL" clId="{9C3D7B74-C3A2-4253-98A0-EA0353EAA279}" dt="2021-08-11T16:21:40.320" v="114"/>
          <ac:spMkLst>
            <pc:docMk/>
            <pc:sldMk cId="3125260409" sldId="1732"/>
            <ac:spMk id="3" creationId="{00000000-0000-0000-0000-000000000000}"/>
          </ac:spMkLst>
        </pc:spChg>
      </pc:sldChg>
      <pc:sldChg chg="modSp mod">
        <pc:chgData name="Yash Ratanpal" userId="5db668b1-93e7-4c08-9786-4ed81315a653" providerId="ADAL" clId="{9C3D7B74-C3A2-4253-98A0-EA0353EAA279}" dt="2021-08-11T16:21:46.914" v="116" actId="404"/>
        <pc:sldMkLst>
          <pc:docMk/>
          <pc:sldMk cId="1305514861" sldId="1733"/>
        </pc:sldMkLst>
        <pc:spChg chg="mod">
          <ac:chgData name="Yash Ratanpal" userId="5db668b1-93e7-4c08-9786-4ed81315a653" providerId="ADAL" clId="{9C3D7B74-C3A2-4253-98A0-EA0353EAA279}" dt="2021-08-11T16:21:46.914" v="116" actId="404"/>
          <ac:spMkLst>
            <pc:docMk/>
            <pc:sldMk cId="1305514861" sldId="1733"/>
            <ac:spMk id="3" creationId="{00000000-0000-0000-0000-000000000000}"/>
          </ac:spMkLst>
        </pc:spChg>
      </pc:sldChg>
      <pc:sldChg chg="modSp mod">
        <pc:chgData name="Yash Ratanpal" userId="5db668b1-93e7-4c08-9786-4ed81315a653" providerId="ADAL" clId="{9C3D7B74-C3A2-4253-98A0-EA0353EAA279}" dt="2021-08-11T16:21:55.297" v="118" actId="404"/>
        <pc:sldMkLst>
          <pc:docMk/>
          <pc:sldMk cId="920709940" sldId="1734"/>
        </pc:sldMkLst>
        <pc:spChg chg="mod">
          <ac:chgData name="Yash Ratanpal" userId="5db668b1-93e7-4c08-9786-4ed81315a653" providerId="ADAL" clId="{9C3D7B74-C3A2-4253-98A0-EA0353EAA279}" dt="2021-08-11T16:21:55.297" v="118" actId="404"/>
          <ac:spMkLst>
            <pc:docMk/>
            <pc:sldMk cId="920709940" sldId="1734"/>
            <ac:spMk id="3" creationId="{00000000-0000-0000-0000-000000000000}"/>
          </ac:spMkLst>
        </pc:spChg>
      </pc:sldChg>
      <pc:sldChg chg="addSp modSp mod">
        <pc:chgData name="Yash Ratanpal" userId="5db668b1-93e7-4c08-9786-4ed81315a653" providerId="ADAL" clId="{9C3D7B74-C3A2-4253-98A0-EA0353EAA279}" dt="2021-08-11T16:42:38.979" v="322" actId="20577"/>
        <pc:sldMkLst>
          <pc:docMk/>
          <pc:sldMk cId="152757834" sldId="1735"/>
        </pc:sldMkLst>
        <pc:spChg chg="mod">
          <ac:chgData name="Yash Ratanpal" userId="5db668b1-93e7-4c08-9786-4ed81315a653" providerId="ADAL" clId="{9C3D7B74-C3A2-4253-98A0-EA0353EAA279}" dt="2021-08-11T16:22:03.835" v="136" actId="404"/>
          <ac:spMkLst>
            <pc:docMk/>
            <pc:sldMk cId="152757834" sldId="1735"/>
            <ac:spMk id="3" creationId="{00000000-0000-0000-0000-000000000000}"/>
          </ac:spMkLst>
        </pc:spChg>
        <pc:spChg chg="add mod">
          <ac:chgData name="Yash Ratanpal" userId="5db668b1-93e7-4c08-9786-4ed81315a653" providerId="ADAL" clId="{9C3D7B74-C3A2-4253-98A0-EA0353EAA279}" dt="2021-08-11T16:42:38.979" v="322" actId="20577"/>
          <ac:spMkLst>
            <pc:docMk/>
            <pc:sldMk cId="152757834" sldId="1735"/>
            <ac:spMk id="65" creationId="{170B7C97-7FCD-41C6-9D5D-5BD30C53951C}"/>
          </ac:spMkLst>
        </pc:spChg>
      </pc:sldChg>
      <pc:sldChg chg="modSp mod">
        <pc:chgData name="Yash Ratanpal" userId="5db668b1-93e7-4c08-9786-4ed81315a653" providerId="ADAL" clId="{9C3D7B74-C3A2-4253-98A0-EA0353EAA279}" dt="2021-08-11T16:22:12.919" v="150" actId="404"/>
        <pc:sldMkLst>
          <pc:docMk/>
          <pc:sldMk cId="633645246" sldId="1736"/>
        </pc:sldMkLst>
        <pc:spChg chg="mod">
          <ac:chgData name="Yash Ratanpal" userId="5db668b1-93e7-4c08-9786-4ed81315a653" providerId="ADAL" clId="{9C3D7B74-C3A2-4253-98A0-EA0353EAA279}" dt="2021-08-11T16:22:12.919" v="150" actId="404"/>
          <ac:spMkLst>
            <pc:docMk/>
            <pc:sldMk cId="633645246" sldId="1736"/>
            <ac:spMk id="3" creationId="{00000000-0000-0000-0000-000000000000}"/>
          </ac:spMkLst>
        </pc:spChg>
      </pc:sldChg>
      <pc:sldChg chg="addSp modSp mod">
        <pc:chgData name="Yash Ratanpal" userId="5db668b1-93e7-4c08-9786-4ed81315a653" providerId="ADAL" clId="{9C3D7B74-C3A2-4253-98A0-EA0353EAA279}" dt="2021-08-11T16:42:50.164" v="325" actId="20577"/>
        <pc:sldMkLst>
          <pc:docMk/>
          <pc:sldMk cId="3779315297" sldId="1738"/>
        </pc:sldMkLst>
        <pc:spChg chg="mod">
          <ac:chgData name="Yash Ratanpal" userId="5db668b1-93e7-4c08-9786-4ed81315a653" providerId="ADAL" clId="{9C3D7B74-C3A2-4253-98A0-EA0353EAA279}" dt="2021-08-11T16:26:42.193" v="183" actId="404"/>
          <ac:spMkLst>
            <pc:docMk/>
            <pc:sldMk cId="3779315297" sldId="1738"/>
            <ac:spMk id="3" creationId="{00000000-0000-0000-0000-000000000000}"/>
          </ac:spMkLst>
        </pc:spChg>
        <pc:spChg chg="add mod">
          <ac:chgData name="Yash Ratanpal" userId="5db668b1-93e7-4c08-9786-4ed81315a653" providerId="ADAL" clId="{9C3D7B74-C3A2-4253-98A0-EA0353EAA279}" dt="2021-08-11T16:42:50.164" v="325" actId="20577"/>
          <ac:spMkLst>
            <pc:docMk/>
            <pc:sldMk cId="3779315297" sldId="1738"/>
            <ac:spMk id="12" creationId="{98AE2773-58FF-46F6-87D5-142F63C0FA9C}"/>
          </ac:spMkLst>
        </pc:spChg>
      </pc:sldChg>
      <pc:sldChg chg="modSp mod">
        <pc:chgData name="Yash Ratanpal" userId="5db668b1-93e7-4c08-9786-4ed81315a653" providerId="ADAL" clId="{9C3D7B74-C3A2-4253-98A0-EA0353EAA279}" dt="2021-08-11T16:24:25.432" v="181" actId="404"/>
        <pc:sldMkLst>
          <pc:docMk/>
          <pc:sldMk cId="3651165078" sldId="1742"/>
        </pc:sldMkLst>
        <pc:spChg chg="mod">
          <ac:chgData name="Yash Ratanpal" userId="5db668b1-93e7-4c08-9786-4ed81315a653" providerId="ADAL" clId="{9C3D7B74-C3A2-4253-98A0-EA0353EAA279}" dt="2021-08-11T16:24:25.432" v="181" actId="404"/>
          <ac:spMkLst>
            <pc:docMk/>
            <pc:sldMk cId="3651165078" sldId="1742"/>
            <ac:spMk id="3" creationId="{00000000-0000-0000-0000-000000000000}"/>
          </ac:spMkLst>
        </pc:spChg>
      </pc:sldChg>
      <pc:sldChg chg="modSp mod">
        <pc:chgData name="Yash Ratanpal" userId="5db668b1-93e7-4c08-9786-4ed81315a653" providerId="ADAL" clId="{9C3D7B74-C3A2-4253-98A0-EA0353EAA279}" dt="2021-08-11T16:27:53.762" v="254" actId="20577"/>
        <pc:sldMkLst>
          <pc:docMk/>
          <pc:sldMk cId="3425509638" sldId="1743"/>
        </pc:sldMkLst>
        <pc:spChg chg="mod">
          <ac:chgData name="Yash Ratanpal" userId="5db668b1-93e7-4c08-9786-4ed81315a653" providerId="ADAL" clId="{9C3D7B74-C3A2-4253-98A0-EA0353EAA279}" dt="2021-08-11T16:27:53.762" v="254" actId="20577"/>
          <ac:spMkLst>
            <pc:docMk/>
            <pc:sldMk cId="3425509638" sldId="1743"/>
            <ac:spMk id="29" creationId="{1EE11CF2-3485-4111-B5BE-09804DF1D084}"/>
          </ac:spMkLst>
        </pc:spChg>
      </pc:sldChg>
      <pc:sldChg chg="modSp mod">
        <pc:chgData name="Yash Ratanpal" userId="5db668b1-93e7-4c08-9786-4ed81315a653" providerId="ADAL" clId="{9C3D7B74-C3A2-4253-98A0-EA0353EAA279}" dt="2021-08-11T16:33:15.699" v="277" actId="20577"/>
        <pc:sldMkLst>
          <pc:docMk/>
          <pc:sldMk cId="3580805436" sldId="1745"/>
        </pc:sldMkLst>
        <pc:spChg chg="mod">
          <ac:chgData name="Yash Ratanpal" userId="5db668b1-93e7-4c08-9786-4ed81315a653" providerId="ADAL" clId="{9C3D7B74-C3A2-4253-98A0-EA0353EAA279}" dt="2021-08-11T16:33:15.699" v="277" actId="20577"/>
          <ac:spMkLst>
            <pc:docMk/>
            <pc:sldMk cId="3580805436" sldId="1745"/>
            <ac:spMk id="80" creationId="{B774EF6A-728C-4E63-B6D0-D5F90664B8C0}"/>
          </ac:spMkLst>
        </pc:spChg>
      </pc:sldChg>
      <pc:sldChg chg="addSp modSp mod">
        <pc:chgData name="Yash Ratanpal" userId="5db668b1-93e7-4c08-9786-4ed81315a653" providerId="ADAL" clId="{9C3D7B74-C3A2-4253-98A0-EA0353EAA279}" dt="2021-08-11T16:43:04.538" v="328" actId="20577"/>
        <pc:sldMkLst>
          <pc:docMk/>
          <pc:sldMk cId="2038279813" sldId="1762"/>
        </pc:sldMkLst>
        <pc:spChg chg="add mod">
          <ac:chgData name="Yash Ratanpal" userId="5db668b1-93e7-4c08-9786-4ed81315a653" providerId="ADAL" clId="{9C3D7B74-C3A2-4253-98A0-EA0353EAA279}" dt="2021-08-11T16:43:04.538" v="328" actId="20577"/>
          <ac:spMkLst>
            <pc:docMk/>
            <pc:sldMk cId="2038279813" sldId="1762"/>
            <ac:spMk id="10" creationId="{9755DEA5-AA2F-4C8F-8C93-52D8FAE9A0E1}"/>
          </ac:spMkLst>
        </pc:spChg>
      </pc:sldChg>
      <pc:sldChg chg="addSp delSp modSp mod">
        <pc:chgData name="Yash Ratanpal" userId="5db668b1-93e7-4c08-9786-4ed81315a653" providerId="ADAL" clId="{9C3D7B74-C3A2-4253-98A0-EA0353EAA279}" dt="2021-08-12T12:01:04.543" v="363" actId="14100"/>
        <pc:sldMkLst>
          <pc:docMk/>
          <pc:sldMk cId="3520318205" sldId="1764"/>
        </pc:sldMkLst>
        <pc:spChg chg="add del">
          <ac:chgData name="Yash Ratanpal" userId="5db668b1-93e7-4c08-9786-4ed81315a653" providerId="ADAL" clId="{9C3D7B74-C3A2-4253-98A0-EA0353EAA279}" dt="2021-08-12T11:59:50.289" v="338" actId="478"/>
          <ac:spMkLst>
            <pc:docMk/>
            <pc:sldMk cId="3520318205" sldId="1764"/>
            <ac:spMk id="3" creationId="{00000000-0000-0000-0000-000000000000}"/>
          </ac:spMkLst>
        </pc:spChg>
        <pc:spChg chg="del">
          <ac:chgData name="Yash Ratanpal" userId="5db668b1-93e7-4c08-9786-4ed81315a653" providerId="ADAL" clId="{9C3D7B74-C3A2-4253-98A0-EA0353EAA279}" dt="2021-08-12T12:00:43.102" v="356" actId="478"/>
          <ac:spMkLst>
            <pc:docMk/>
            <pc:sldMk cId="3520318205" sldId="1764"/>
            <ac:spMk id="5" creationId="{00000000-0000-0000-0000-000000000000}"/>
          </ac:spMkLst>
        </pc:spChg>
        <pc:spChg chg="add del">
          <ac:chgData name="Yash Ratanpal" userId="5db668b1-93e7-4c08-9786-4ed81315a653" providerId="ADAL" clId="{9C3D7B74-C3A2-4253-98A0-EA0353EAA279}" dt="2021-08-12T11:59:46.763" v="336" actId="478"/>
          <ac:spMkLst>
            <pc:docMk/>
            <pc:sldMk cId="3520318205" sldId="1764"/>
            <ac:spMk id="9" creationId="{BB56A413-6672-438A-8C87-EFEF25CFEFA4}"/>
          </ac:spMkLst>
        </pc:spChg>
        <pc:spChg chg="add del">
          <ac:chgData name="Yash Ratanpal" userId="5db668b1-93e7-4c08-9786-4ed81315a653" providerId="ADAL" clId="{9C3D7B74-C3A2-4253-98A0-EA0353EAA279}" dt="2021-08-12T11:59:46.763" v="336" actId="478"/>
          <ac:spMkLst>
            <pc:docMk/>
            <pc:sldMk cId="3520318205" sldId="1764"/>
            <ac:spMk id="10" creationId="{32DE58B4-8F93-4519-AE7C-7E41A6A5362B}"/>
          </ac:spMkLst>
        </pc:spChg>
        <pc:picChg chg="add del">
          <ac:chgData name="Yash Ratanpal" userId="5db668b1-93e7-4c08-9786-4ed81315a653" providerId="ADAL" clId="{9C3D7B74-C3A2-4253-98A0-EA0353EAA279}" dt="2021-08-12T12:00:35.015" v="351" actId="478"/>
          <ac:picMkLst>
            <pc:docMk/>
            <pc:sldMk cId="3520318205" sldId="1764"/>
            <ac:picMk id="2" creationId="{00000000-0000-0000-0000-000000000000}"/>
          </ac:picMkLst>
        </pc:picChg>
        <pc:picChg chg="add del">
          <ac:chgData name="Yash Ratanpal" userId="5db668b1-93e7-4c08-9786-4ed81315a653" providerId="ADAL" clId="{9C3D7B74-C3A2-4253-98A0-EA0353EAA279}" dt="2021-08-12T11:59:49.214" v="337" actId="478"/>
          <ac:picMkLst>
            <pc:docMk/>
            <pc:sldMk cId="3520318205" sldId="1764"/>
            <ac:picMk id="11" creationId="{2A1B5E98-08DD-4A73-9069-74DEF1322192}"/>
          </ac:picMkLst>
        </pc:picChg>
        <pc:picChg chg="add mod">
          <ac:chgData name="Yash Ratanpal" userId="5db668b1-93e7-4c08-9786-4ed81315a653" providerId="ADAL" clId="{9C3D7B74-C3A2-4253-98A0-EA0353EAA279}" dt="2021-08-12T12:01:04.543" v="363" actId="14100"/>
          <ac:picMkLst>
            <pc:docMk/>
            <pc:sldMk cId="3520318205" sldId="1764"/>
            <ac:picMk id="1026" creationId="{C1CBDB8F-E990-4C24-A372-2CB4BF0EF9A9}"/>
          </ac:picMkLst>
        </pc:picChg>
      </pc:sldChg>
    </pc:docChg>
  </pc:docChgLst>
  <pc:docChgLst>
    <pc:chgData name="Yash Ratanpal" userId="5db668b1-93e7-4c08-9786-4ed81315a653" providerId="ADAL" clId="{35CE40C1-3F8C-4A88-9CD7-233EB173ACA1}"/>
    <pc:docChg chg="undo redo custSel addSld delSld modSld sldOrd">
      <pc:chgData name="Yash Ratanpal" userId="5db668b1-93e7-4c08-9786-4ed81315a653" providerId="ADAL" clId="{35CE40C1-3F8C-4A88-9CD7-233EB173ACA1}" dt="2021-08-10T19:20:26.155" v="18985" actId="27918"/>
      <pc:docMkLst>
        <pc:docMk/>
      </pc:docMkLst>
      <pc:sldChg chg="del">
        <pc:chgData name="Yash Ratanpal" userId="5db668b1-93e7-4c08-9786-4ed81315a653" providerId="ADAL" clId="{35CE40C1-3F8C-4A88-9CD7-233EB173ACA1}" dt="2021-08-07T13:08:35.669" v="7283"/>
        <pc:sldMkLst>
          <pc:docMk/>
          <pc:sldMk cId="1504041565" sldId="1410"/>
        </pc:sldMkLst>
      </pc:sldChg>
      <pc:sldChg chg="del">
        <pc:chgData name="Yash Ratanpal" userId="5db668b1-93e7-4c08-9786-4ed81315a653" providerId="ADAL" clId="{35CE40C1-3F8C-4A88-9CD7-233EB173ACA1}" dt="2021-08-07T13:08:35.669" v="7283"/>
        <pc:sldMkLst>
          <pc:docMk/>
          <pc:sldMk cId="3080458335" sldId="1437"/>
        </pc:sldMkLst>
      </pc:sldChg>
      <pc:sldChg chg="del">
        <pc:chgData name="Yash Ratanpal" userId="5db668b1-93e7-4c08-9786-4ed81315a653" providerId="ADAL" clId="{35CE40C1-3F8C-4A88-9CD7-233EB173ACA1}" dt="2021-08-07T13:08:35.669" v="7283"/>
        <pc:sldMkLst>
          <pc:docMk/>
          <pc:sldMk cId="365699467" sldId="1438"/>
        </pc:sldMkLst>
      </pc:sldChg>
      <pc:sldChg chg="del">
        <pc:chgData name="Yash Ratanpal" userId="5db668b1-93e7-4c08-9786-4ed81315a653" providerId="ADAL" clId="{35CE40C1-3F8C-4A88-9CD7-233EB173ACA1}" dt="2021-08-07T13:08:35.669" v="7283"/>
        <pc:sldMkLst>
          <pc:docMk/>
          <pc:sldMk cId="608489642" sldId="1439"/>
        </pc:sldMkLst>
      </pc:sldChg>
      <pc:sldChg chg="del">
        <pc:chgData name="Yash Ratanpal" userId="5db668b1-93e7-4c08-9786-4ed81315a653" providerId="ADAL" clId="{35CE40C1-3F8C-4A88-9CD7-233EB173ACA1}" dt="2021-08-07T13:08:35.669" v="7283"/>
        <pc:sldMkLst>
          <pc:docMk/>
          <pc:sldMk cId="80830432" sldId="1440"/>
        </pc:sldMkLst>
      </pc:sldChg>
      <pc:sldChg chg="del">
        <pc:chgData name="Yash Ratanpal" userId="5db668b1-93e7-4c08-9786-4ed81315a653" providerId="ADAL" clId="{35CE40C1-3F8C-4A88-9CD7-233EB173ACA1}" dt="2021-08-07T13:08:35.669" v="7283"/>
        <pc:sldMkLst>
          <pc:docMk/>
          <pc:sldMk cId="677511383" sldId="1442"/>
        </pc:sldMkLst>
      </pc:sldChg>
      <pc:sldChg chg="del">
        <pc:chgData name="Yash Ratanpal" userId="5db668b1-93e7-4c08-9786-4ed81315a653" providerId="ADAL" clId="{35CE40C1-3F8C-4A88-9CD7-233EB173ACA1}" dt="2021-08-07T13:08:35.669" v="7283"/>
        <pc:sldMkLst>
          <pc:docMk/>
          <pc:sldMk cId="3587649854" sldId="1444"/>
        </pc:sldMkLst>
      </pc:sldChg>
      <pc:sldChg chg="del">
        <pc:chgData name="Yash Ratanpal" userId="5db668b1-93e7-4c08-9786-4ed81315a653" providerId="ADAL" clId="{35CE40C1-3F8C-4A88-9CD7-233EB173ACA1}" dt="2021-08-07T13:08:35.669" v="7283"/>
        <pc:sldMkLst>
          <pc:docMk/>
          <pc:sldMk cId="3635116903" sldId="1445"/>
        </pc:sldMkLst>
      </pc:sldChg>
      <pc:sldChg chg="del">
        <pc:chgData name="Yash Ratanpal" userId="5db668b1-93e7-4c08-9786-4ed81315a653" providerId="ADAL" clId="{35CE40C1-3F8C-4A88-9CD7-233EB173ACA1}" dt="2021-08-07T13:08:35.669" v="7283"/>
        <pc:sldMkLst>
          <pc:docMk/>
          <pc:sldMk cId="3517956260" sldId="1447"/>
        </pc:sldMkLst>
      </pc:sldChg>
      <pc:sldChg chg="del">
        <pc:chgData name="Yash Ratanpal" userId="5db668b1-93e7-4c08-9786-4ed81315a653" providerId="ADAL" clId="{35CE40C1-3F8C-4A88-9CD7-233EB173ACA1}" dt="2021-08-07T13:08:35.669" v="7283"/>
        <pc:sldMkLst>
          <pc:docMk/>
          <pc:sldMk cId="3565681381" sldId="1448"/>
        </pc:sldMkLst>
      </pc:sldChg>
      <pc:sldChg chg="del">
        <pc:chgData name="Yash Ratanpal" userId="5db668b1-93e7-4c08-9786-4ed81315a653" providerId="ADAL" clId="{35CE40C1-3F8C-4A88-9CD7-233EB173ACA1}" dt="2021-08-07T13:08:35.669" v="7283"/>
        <pc:sldMkLst>
          <pc:docMk/>
          <pc:sldMk cId="1718574329" sldId="1449"/>
        </pc:sldMkLst>
      </pc:sldChg>
      <pc:sldChg chg="del">
        <pc:chgData name="Yash Ratanpal" userId="5db668b1-93e7-4c08-9786-4ed81315a653" providerId="ADAL" clId="{35CE40C1-3F8C-4A88-9CD7-233EB173ACA1}" dt="2021-08-07T13:08:35.669" v="7283"/>
        <pc:sldMkLst>
          <pc:docMk/>
          <pc:sldMk cId="3470365203" sldId="1458"/>
        </pc:sldMkLst>
      </pc:sldChg>
      <pc:sldChg chg="modSp mod">
        <pc:chgData name="Yash Ratanpal" userId="5db668b1-93e7-4c08-9786-4ed81315a653" providerId="ADAL" clId="{35CE40C1-3F8C-4A88-9CD7-233EB173ACA1}" dt="2021-08-09T19:21:37.246" v="15653" actId="20577"/>
        <pc:sldMkLst>
          <pc:docMk/>
          <pc:sldMk cId="3600778414" sldId="1702"/>
        </pc:sldMkLst>
        <pc:spChg chg="mod">
          <ac:chgData name="Yash Ratanpal" userId="5db668b1-93e7-4c08-9786-4ed81315a653" providerId="ADAL" clId="{35CE40C1-3F8C-4A88-9CD7-233EB173ACA1}" dt="2021-08-09T19:21:37.246" v="15653" actId="20577"/>
          <ac:spMkLst>
            <pc:docMk/>
            <pc:sldMk cId="3600778414" sldId="1702"/>
            <ac:spMk id="4" creationId="{00000000-0000-0000-0000-000000000000}"/>
          </ac:spMkLst>
        </pc:spChg>
      </pc:sldChg>
      <pc:sldChg chg="addSp delSp modSp mod">
        <pc:chgData name="Yash Ratanpal" userId="5db668b1-93e7-4c08-9786-4ed81315a653" providerId="ADAL" clId="{35CE40C1-3F8C-4A88-9CD7-233EB173ACA1}" dt="2021-08-01T09:10:41.240" v="4119" actId="20577"/>
        <pc:sldMkLst>
          <pc:docMk/>
          <pc:sldMk cId="2749337049" sldId="1706"/>
        </pc:sldMkLst>
        <pc:spChg chg="add del mod">
          <ac:chgData name="Yash Ratanpal" userId="5db668b1-93e7-4c08-9786-4ed81315a653" providerId="ADAL" clId="{35CE40C1-3F8C-4A88-9CD7-233EB173ACA1}" dt="2021-08-01T09:10:41.240" v="4119" actId="20577"/>
          <ac:spMkLst>
            <pc:docMk/>
            <pc:sldMk cId="2749337049" sldId="1706"/>
            <ac:spMk id="34" creationId="{37C9F6DD-257E-4771-98A1-969F7D390B34}"/>
          </ac:spMkLst>
        </pc:spChg>
        <pc:spChg chg="add del">
          <ac:chgData name="Yash Ratanpal" userId="5db668b1-93e7-4c08-9786-4ed81315a653" providerId="ADAL" clId="{35CE40C1-3F8C-4A88-9CD7-233EB173ACA1}" dt="2021-08-01T09:10:09.460" v="4089" actId="478"/>
          <ac:spMkLst>
            <pc:docMk/>
            <pc:sldMk cId="2749337049" sldId="1706"/>
            <ac:spMk id="35" creationId="{6C8C22F4-D808-4750-BFA6-52380676CA32}"/>
          </ac:spMkLst>
        </pc:spChg>
        <pc:spChg chg="mod">
          <ac:chgData name="Yash Ratanpal" userId="5db668b1-93e7-4c08-9786-4ed81315a653" providerId="ADAL" clId="{35CE40C1-3F8C-4A88-9CD7-233EB173ACA1}" dt="2021-08-01T09:10:32.560" v="4090" actId="1076"/>
          <ac:spMkLst>
            <pc:docMk/>
            <pc:sldMk cId="2749337049" sldId="1706"/>
            <ac:spMk id="38" creationId="{D941BB84-550F-4C6D-8967-37C392F4EA0B}"/>
          </ac:spMkLst>
        </pc:spChg>
        <pc:spChg chg="mod">
          <ac:chgData name="Yash Ratanpal" userId="5db668b1-93e7-4c08-9786-4ed81315a653" providerId="ADAL" clId="{35CE40C1-3F8C-4A88-9CD7-233EB173ACA1}" dt="2021-08-01T09:10:32.560" v="4090" actId="1076"/>
          <ac:spMkLst>
            <pc:docMk/>
            <pc:sldMk cId="2749337049" sldId="1706"/>
            <ac:spMk id="39" creationId="{05903D31-812F-424F-BB7E-C4D349F4BF02}"/>
          </ac:spMkLst>
        </pc:spChg>
        <pc:spChg chg="mod">
          <ac:chgData name="Yash Ratanpal" userId="5db668b1-93e7-4c08-9786-4ed81315a653" providerId="ADAL" clId="{35CE40C1-3F8C-4A88-9CD7-233EB173ACA1}" dt="2021-08-01T09:10:32.560" v="4090" actId="1076"/>
          <ac:spMkLst>
            <pc:docMk/>
            <pc:sldMk cId="2749337049" sldId="1706"/>
            <ac:spMk id="40" creationId="{C09B462C-D4DC-4720-8E16-BE1D36738E99}"/>
          </ac:spMkLst>
        </pc:spChg>
        <pc:spChg chg="mod">
          <ac:chgData name="Yash Ratanpal" userId="5db668b1-93e7-4c08-9786-4ed81315a653" providerId="ADAL" clId="{35CE40C1-3F8C-4A88-9CD7-233EB173ACA1}" dt="2021-08-01T09:10:32.560" v="4090" actId="1076"/>
          <ac:spMkLst>
            <pc:docMk/>
            <pc:sldMk cId="2749337049" sldId="1706"/>
            <ac:spMk id="41" creationId="{AF7DE2F2-0E49-45AE-A663-7D6541F1447B}"/>
          </ac:spMkLst>
        </pc:spChg>
        <pc:spChg chg="mod">
          <ac:chgData name="Yash Ratanpal" userId="5db668b1-93e7-4c08-9786-4ed81315a653" providerId="ADAL" clId="{35CE40C1-3F8C-4A88-9CD7-233EB173ACA1}" dt="2021-08-01T09:10:32.560" v="4090" actId="1076"/>
          <ac:spMkLst>
            <pc:docMk/>
            <pc:sldMk cId="2749337049" sldId="1706"/>
            <ac:spMk id="42" creationId="{C4C52B3B-B82B-4DCC-AA7C-D75B8F7F7BC3}"/>
          </ac:spMkLst>
        </pc:spChg>
        <pc:spChg chg="mod">
          <ac:chgData name="Yash Ratanpal" userId="5db668b1-93e7-4c08-9786-4ed81315a653" providerId="ADAL" clId="{35CE40C1-3F8C-4A88-9CD7-233EB173ACA1}" dt="2021-08-01T09:10:32.560" v="4090" actId="1076"/>
          <ac:spMkLst>
            <pc:docMk/>
            <pc:sldMk cId="2749337049" sldId="1706"/>
            <ac:spMk id="43" creationId="{AF11A804-C198-47B8-96CA-EDE010EE5444}"/>
          </ac:spMkLst>
        </pc:spChg>
        <pc:spChg chg="mod">
          <ac:chgData name="Yash Ratanpal" userId="5db668b1-93e7-4c08-9786-4ed81315a653" providerId="ADAL" clId="{35CE40C1-3F8C-4A88-9CD7-233EB173ACA1}" dt="2021-08-01T09:10:32.560" v="4090" actId="1076"/>
          <ac:spMkLst>
            <pc:docMk/>
            <pc:sldMk cId="2749337049" sldId="1706"/>
            <ac:spMk id="44" creationId="{2A9F6315-1257-4A17-8373-E516705A9A45}"/>
          </ac:spMkLst>
        </pc:spChg>
        <pc:spChg chg="mod">
          <ac:chgData name="Yash Ratanpal" userId="5db668b1-93e7-4c08-9786-4ed81315a653" providerId="ADAL" clId="{35CE40C1-3F8C-4A88-9CD7-233EB173ACA1}" dt="2021-08-01T09:10:32.560" v="4090" actId="1076"/>
          <ac:spMkLst>
            <pc:docMk/>
            <pc:sldMk cId="2749337049" sldId="1706"/>
            <ac:spMk id="45" creationId="{A2E56934-D816-4F30-9BCE-22CA3D6533C4}"/>
          </ac:spMkLst>
        </pc:spChg>
        <pc:spChg chg="mod">
          <ac:chgData name="Yash Ratanpal" userId="5db668b1-93e7-4c08-9786-4ed81315a653" providerId="ADAL" clId="{35CE40C1-3F8C-4A88-9CD7-233EB173ACA1}" dt="2021-08-01T09:10:32.560" v="4090" actId="1076"/>
          <ac:spMkLst>
            <pc:docMk/>
            <pc:sldMk cId="2749337049" sldId="1706"/>
            <ac:spMk id="46" creationId="{4E9FEFAB-82A6-41C4-A14F-812D4E779BA9}"/>
          </ac:spMkLst>
        </pc:spChg>
        <pc:spChg chg="mod">
          <ac:chgData name="Yash Ratanpal" userId="5db668b1-93e7-4c08-9786-4ed81315a653" providerId="ADAL" clId="{35CE40C1-3F8C-4A88-9CD7-233EB173ACA1}" dt="2021-08-01T09:10:32.560" v="4090" actId="1076"/>
          <ac:spMkLst>
            <pc:docMk/>
            <pc:sldMk cId="2749337049" sldId="1706"/>
            <ac:spMk id="47" creationId="{CEA80238-1A24-47C0-8D31-10161CE26099}"/>
          </ac:spMkLst>
        </pc:spChg>
        <pc:spChg chg="add del">
          <ac:chgData name="Yash Ratanpal" userId="5db668b1-93e7-4c08-9786-4ed81315a653" providerId="ADAL" clId="{35CE40C1-3F8C-4A88-9CD7-233EB173ACA1}" dt="2021-08-01T09:10:09.460" v="4089" actId="478"/>
          <ac:spMkLst>
            <pc:docMk/>
            <pc:sldMk cId="2749337049" sldId="1706"/>
            <ac:spMk id="48" creationId="{49934D2E-B5C4-407E-BAD9-CE18483F8F7A}"/>
          </ac:spMkLst>
        </pc:spChg>
        <pc:spChg chg="mod">
          <ac:chgData name="Yash Ratanpal" userId="5db668b1-93e7-4c08-9786-4ed81315a653" providerId="ADAL" clId="{35CE40C1-3F8C-4A88-9CD7-233EB173ACA1}" dt="2021-08-01T09:09:02.693" v="3949" actId="1076"/>
          <ac:spMkLst>
            <pc:docMk/>
            <pc:sldMk cId="2749337049" sldId="1706"/>
            <ac:spMk id="49" creationId="{52ED1E5B-0BEC-4543-902F-D98B1862D758}"/>
          </ac:spMkLst>
        </pc:spChg>
        <pc:spChg chg="mod">
          <ac:chgData name="Yash Ratanpal" userId="5db668b1-93e7-4c08-9786-4ed81315a653" providerId="ADAL" clId="{35CE40C1-3F8C-4A88-9CD7-233EB173ACA1}" dt="2021-08-01T09:09:21.084" v="3957" actId="1076"/>
          <ac:spMkLst>
            <pc:docMk/>
            <pc:sldMk cId="2749337049" sldId="1706"/>
            <ac:spMk id="50" creationId="{C2CE3415-D697-4221-B0EC-B0735F2B6FB5}"/>
          </ac:spMkLst>
        </pc:spChg>
        <pc:spChg chg="mod">
          <ac:chgData name="Yash Ratanpal" userId="5db668b1-93e7-4c08-9786-4ed81315a653" providerId="ADAL" clId="{35CE40C1-3F8C-4A88-9CD7-233EB173ACA1}" dt="2021-08-01T09:10:00.493" v="4087" actId="113"/>
          <ac:spMkLst>
            <pc:docMk/>
            <pc:sldMk cId="2749337049" sldId="1706"/>
            <ac:spMk id="52" creationId="{5378E4B8-994E-47AC-B7FD-27A006AF3354}"/>
          </ac:spMkLst>
        </pc:spChg>
        <pc:spChg chg="mod">
          <ac:chgData name="Yash Ratanpal" userId="5db668b1-93e7-4c08-9786-4ed81315a653" providerId="ADAL" clId="{35CE40C1-3F8C-4A88-9CD7-233EB173ACA1}" dt="2021-08-01T09:08:39.140" v="3914" actId="113"/>
          <ac:spMkLst>
            <pc:docMk/>
            <pc:sldMk cId="2749337049" sldId="1706"/>
            <ac:spMk id="53" creationId="{AE4534D6-4938-461A-B000-7C0AEA7F8C90}"/>
          </ac:spMkLst>
        </pc:spChg>
        <pc:spChg chg="mod">
          <ac:chgData name="Yash Ratanpal" userId="5db668b1-93e7-4c08-9786-4ed81315a653" providerId="ADAL" clId="{35CE40C1-3F8C-4A88-9CD7-233EB173ACA1}" dt="2021-08-01T09:08:49.819" v="3916" actId="1076"/>
          <ac:spMkLst>
            <pc:docMk/>
            <pc:sldMk cId="2749337049" sldId="1706"/>
            <ac:spMk id="56" creationId="{A331E935-166A-4923-B3E1-093BD66E3E8F}"/>
          </ac:spMkLst>
        </pc:spChg>
        <pc:spChg chg="add del">
          <ac:chgData name="Yash Ratanpal" userId="5db668b1-93e7-4c08-9786-4ed81315a653" providerId="ADAL" clId="{35CE40C1-3F8C-4A88-9CD7-233EB173ACA1}" dt="2021-08-01T09:10:09.460" v="4089" actId="478"/>
          <ac:spMkLst>
            <pc:docMk/>
            <pc:sldMk cId="2749337049" sldId="1706"/>
            <ac:spMk id="57" creationId="{71B2D321-ABFB-4887-962C-AEB386CD525B}"/>
          </ac:spMkLst>
        </pc:spChg>
        <pc:spChg chg="add del">
          <ac:chgData name="Yash Ratanpal" userId="5db668b1-93e7-4c08-9786-4ed81315a653" providerId="ADAL" clId="{35CE40C1-3F8C-4A88-9CD7-233EB173ACA1}" dt="2021-08-01T09:10:09.460" v="4089" actId="478"/>
          <ac:spMkLst>
            <pc:docMk/>
            <pc:sldMk cId="2749337049" sldId="1706"/>
            <ac:spMk id="58" creationId="{D80D4171-4F84-4DDA-A0AC-CCF8DCF245AA}"/>
          </ac:spMkLst>
        </pc:spChg>
        <pc:spChg chg="add del">
          <ac:chgData name="Yash Ratanpal" userId="5db668b1-93e7-4c08-9786-4ed81315a653" providerId="ADAL" clId="{35CE40C1-3F8C-4A88-9CD7-233EB173ACA1}" dt="2021-08-01T09:10:09.460" v="4089" actId="478"/>
          <ac:spMkLst>
            <pc:docMk/>
            <pc:sldMk cId="2749337049" sldId="1706"/>
            <ac:spMk id="59" creationId="{BB62081D-2E23-4163-B86F-76BBA3604D9E}"/>
          </ac:spMkLst>
        </pc:spChg>
      </pc:sldChg>
      <pc:sldChg chg="addSp delSp modSp mod delAnim modAnim">
        <pc:chgData name="Yash Ratanpal" userId="5db668b1-93e7-4c08-9786-4ed81315a653" providerId="ADAL" clId="{35CE40C1-3F8C-4A88-9CD7-233EB173ACA1}" dt="2021-08-01T06:54:01.195" v="1103" actId="1076"/>
        <pc:sldMkLst>
          <pc:docMk/>
          <pc:sldMk cId="3498122450" sldId="1711"/>
        </pc:sldMkLst>
        <pc:spChg chg="mod">
          <ac:chgData name="Yash Ratanpal" userId="5db668b1-93e7-4c08-9786-4ed81315a653" providerId="ADAL" clId="{35CE40C1-3F8C-4A88-9CD7-233EB173ACA1}" dt="2021-08-01T06:53:35.489" v="1099" actId="20577"/>
          <ac:spMkLst>
            <pc:docMk/>
            <pc:sldMk cId="3498122450" sldId="1711"/>
            <ac:spMk id="3" creationId="{00000000-0000-0000-0000-000000000000}"/>
          </ac:spMkLst>
        </pc:spChg>
        <pc:spChg chg="add del mod">
          <ac:chgData name="Yash Ratanpal" userId="5db668b1-93e7-4c08-9786-4ed81315a653" providerId="ADAL" clId="{35CE40C1-3F8C-4A88-9CD7-233EB173ACA1}" dt="2021-08-01T06:43:09.333" v="787" actId="478"/>
          <ac:spMkLst>
            <pc:docMk/>
            <pc:sldMk cId="3498122450" sldId="1711"/>
            <ac:spMk id="21" creationId="{30A55CC7-A962-438E-9305-AF3125BC1EDA}"/>
          </ac:spMkLst>
        </pc:spChg>
        <pc:spChg chg="add mod">
          <ac:chgData name="Yash Ratanpal" userId="5db668b1-93e7-4c08-9786-4ed81315a653" providerId="ADAL" clId="{35CE40C1-3F8C-4A88-9CD7-233EB173ACA1}" dt="2021-08-01T06:44:15.775" v="793" actId="20577"/>
          <ac:spMkLst>
            <pc:docMk/>
            <pc:sldMk cId="3498122450" sldId="1711"/>
            <ac:spMk id="22" creationId="{27F8FFD8-774B-464D-AF4D-B2694DE4AC9E}"/>
          </ac:spMkLst>
        </pc:spChg>
        <pc:spChg chg="add mod">
          <ac:chgData name="Yash Ratanpal" userId="5db668b1-93e7-4c08-9786-4ed81315a653" providerId="ADAL" clId="{35CE40C1-3F8C-4A88-9CD7-233EB173ACA1}" dt="2021-08-01T06:44:17.160" v="794" actId="20577"/>
          <ac:spMkLst>
            <pc:docMk/>
            <pc:sldMk cId="3498122450" sldId="1711"/>
            <ac:spMk id="23" creationId="{0974035B-6602-47F8-BC11-191C17935507}"/>
          </ac:spMkLst>
        </pc:spChg>
        <pc:spChg chg="add mod">
          <ac:chgData name="Yash Ratanpal" userId="5db668b1-93e7-4c08-9786-4ed81315a653" providerId="ADAL" clId="{35CE40C1-3F8C-4A88-9CD7-233EB173ACA1}" dt="2021-08-01T06:44:19.738" v="795" actId="20577"/>
          <ac:spMkLst>
            <pc:docMk/>
            <pc:sldMk cId="3498122450" sldId="1711"/>
            <ac:spMk id="24" creationId="{000CCA1A-678A-44EB-BC96-1948736D36A4}"/>
          </ac:spMkLst>
        </pc:spChg>
        <pc:spChg chg="add del mod">
          <ac:chgData name="Yash Ratanpal" userId="5db668b1-93e7-4c08-9786-4ed81315a653" providerId="ADAL" clId="{35CE40C1-3F8C-4A88-9CD7-233EB173ACA1}" dt="2021-08-01T06:45:51.262" v="878" actId="478"/>
          <ac:spMkLst>
            <pc:docMk/>
            <pc:sldMk cId="3498122450" sldId="1711"/>
            <ac:spMk id="25" creationId="{E1017EC5-C7B6-4BCD-909E-15D3168C6808}"/>
          </ac:spMkLst>
        </pc:spChg>
        <pc:spChg chg="mod">
          <ac:chgData name="Yash Ratanpal" userId="5db668b1-93e7-4c08-9786-4ed81315a653" providerId="ADAL" clId="{35CE40C1-3F8C-4A88-9CD7-233EB173ACA1}" dt="2021-08-01T06:54:01.195" v="1103" actId="1076"/>
          <ac:spMkLst>
            <pc:docMk/>
            <pc:sldMk cId="3498122450" sldId="1711"/>
            <ac:spMk id="26" creationId="{DD14CBED-85FF-4763-BC3D-3665FA99B975}"/>
          </ac:spMkLst>
        </pc:spChg>
        <pc:spChg chg="mod">
          <ac:chgData name="Yash Ratanpal" userId="5db668b1-93e7-4c08-9786-4ed81315a653" providerId="ADAL" clId="{35CE40C1-3F8C-4A88-9CD7-233EB173ACA1}" dt="2021-08-01T06:54:01.195" v="1103" actId="1076"/>
          <ac:spMkLst>
            <pc:docMk/>
            <pc:sldMk cId="3498122450" sldId="1711"/>
            <ac:spMk id="27" creationId="{A98D67C4-6BB9-4137-B1A3-A0E08B5ACAD1}"/>
          </ac:spMkLst>
        </pc:spChg>
        <pc:spChg chg="mod">
          <ac:chgData name="Yash Ratanpal" userId="5db668b1-93e7-4c08-9786-4ed81315a653" providerId="ADAL" clId="{35CE40C1-3F8C-4A88-9CD7-233EB173ACA1}" dt="2021-08-01T06:54:01.195" v="1103" actId="1076"/>
          <ac:spMkLst>
            <pc:docMk/>
            <pc:sldMk cId="3498122450" sldId="1711"/>
            <ac:spMk id="28" creationId="{B6618856-F41E-44D0-B4DE-66AC592C9350}"/>
          </ac:spMkLst>
        </pc:spChg>
        <pc:spChg chg="mod">
          <ac:chgData name="Yash Ratanpal" userId="5db668b1-93e7-4c08-9786-4ed81315a653" providerId="ADAL" clId="{35CE40C1-3F8C-4A88-9CD7-233EB173ACA1}" dt="2021-08-01T06:53:28.010" v="1098" actId="1076"/>
          <ac:spMkLst>
            <pc:docMk/>
            <pc:sldMk cId="3498122450" sldId="1711"/>
            <ac:spMk id="29" creationId="{EA551B8A-CDE3-4187-851F-AC775894ACF7}"/>
          </ac:spMkLst>
        </pc:spChg>
        <pc:spChg chg="del">
          <ac:chgData name="Yash Ratanpal" userId="5db668b1-93e7-4c08-9786-4ed81315a653" providerId="ADAL" clId="{35CE40C1-3F8C-4A88-9CD7-233EB173ACA1}" dt="2021-08-01T06:36:41.363" v="664" actId="478"/>
          <ac:spMkLst>
            <pc:docMk/>
            <pc:sldMk cId="3498122450" sldId="1711"/>
            <ac:spMk id="30" creationId="{A191D14B-186B-44DA-A3B1-D2C4E1984826}"/>
          </ac:spMkLst>
        </pc:spChg>
        <pc:spChg chg="del mod">
          <ac:chgData name="Yash Ratanpal" userId="5db668b1-93e7-4c08-9786-4ed81315a653" providerId="ADAL" clId="{35CE40C1-3F8C-4A88-9CD7-233EB173ACA1}" dt="2021-08-01T06:46:11.206" v="896" actId="478"/>
          <ac:spMkLst>
            <pc:docMk/>
            <pc:sldMk cId="3498122450" sldId="1711"/>
            <ac:spMk id="31" creationId="{F06FA59F-3F19-4B33-A808-946EFAADDA48}"/>
          </ac:spMkLst>
        </pc:spChg>
        <pc:spChg chg="del">
          <ac:chgData name="Yash Ratanpal" userId="5db668b1-93e7-4c08-9786-4ed81315a653" providerId="ADAL" clId="{35CE40C1-3F8C-4A88-9CD7-233EB173ACA1}" dt="2021-08-01T06:36:44.011" v="665" actId="478"/>
          <ac:spMkLst>
            <pc:docMk/>
            <pc:sldMk cId="3498122450" sldId="1711"/>
            <ac:spMk id="32" creationId="{5D280A1A-D69B-471B-8FFA-83742B7E43AB}"/>
          </ac:spMkLst>
        </pc:spChg>
        <pc:spChg chg="mod">
          <ac:chgData name="Yash Ratanpal" userId="5db668b1-93e7-4c08-9786-4ed81315a653" providerId="ADAL" clId="{35CE40C1-3F8C-4A88-9CD7-233EB173ACA1}" dt="2021-08-01T06:54:01.195" v="1103" actId="1076"/>
          <ac:spMkLst>
            <pc:docMk/>
            <pc:sldMk cId="3498122450" sldId="1711"/>
            <ac:spMk id="33" creationId="{98AA9603-6A31-423D-9C6D-79FBABF71838}"/>
          </ac:spMkLst>
        </pc:spChg>
        <pc:spChg chg="mod">
          <ac:chgData name="Yash Ratanpal" userId="5db668b1-93e7-4c08-9786-4ed81315a653" providerId="ADAL" clId="{35CE40C1-3F8C-4A88-9CD7-233EB173ACA1}" dt="2021-08-01T06:54:01.195" v="1103" actId="1076"/>
          <ac:spMkLst>
            <pc:docMk/>
            <pc:sldMk cId="3498122450" sldId="1711"/>
            <ac:spMk id="34" creationId="{3702C8E0-3679-41D8-AD7B-E281AB0FB9D3}"/>
          </ac:spMkLst>
        </pc:spChg>
        <pc:spChg chg="mod">
          <ac:chgData name="Yash Ratanpal" userId="5db668b1-93e7-4c08-9786-4ed81315a653" providerId="ADAL" clId="{35CE40C1-3F8C-4A88-9CD7-233EB173ACA1}" dt="2021-08-01T06:54:01.195" v="1103" actId="1076"/>
          <ac:spMkLst>
            <pc:docMk/>
            <pc:sldMk cId="3498122450" sldId="1711"/>
            <ac:spMk id="35" creationId="{53AFA658-CC48-4F95-ADA2-76302EB0AD9D}"/>
          </ac:spMkLst>
        </pc:spChg>
        <pc:spChg chg="del">
          <ac:chgData name="Yash Ratanpal" userId="5db668b1-93e7-4c08-9786-4ed81315a653" providerId="ADAL" clId="{35CE40C1-3F8C-4A88-9CD7-233EB173ACA1}" dt="2021-08-01T06:36:41.363" v="664" actId="478"/>
          <ac:spMkLst>
            <pc:docMk/>
            <pc:sldMk cId="3498122450" sldId="1711"/>
            <ac:spMk id="36" creationId="{8F5B180F-B819-4AA4-A716-DF78BB224CA1}"/>
          </ac:spMkLst>
        </pc:spChg>
        <pc:spChg chg="del">
          <ac:chgData name="Yash Ratanpal" userId="5db668b1-93e7-4c08-9786-4ed81315a653" providerId="ADAL" clId="{35CE40C1-3F8C-4A88-9CD7-233EB173ACA1}" dt="2021-08-01T06:36:41.363" v="664" actId="478"/>
          <ac:spMkLst>
            <pc:docMk/>
            <pc:sldMk cId="3498122450" sldId="1711"/>
            <ac:spMk id="37" creationId="{D780DEE7-2C45-4BF0-B4F1-E13EAB1D6D0F}"/>
          </ac:spMkLst>
        </pc:spChg>
        <pc:spChg chg="mod">
          <ac:chgData name="Yash Ratanpal" userId="5db668b1-93e7-4c08-9786-4ed81315a653" providerId="ADAL" clId="{35CE40C1-3F8C-4A88-9CD7-233EB173ACA1}" dt="2021-08-01T06:50:18.929" v="1070" actId="164"/>
          <ac:spMkLst>
            <pc:docMk/>
            <pc:sldMk cId="3498122450" sldId="1711"/>
            <ac:spMk id="38" creationId="{FEA97BE2-84A3-4CC3-95AC-DCD86871E944}"/>
          </ac:spMkLst>
        </pc:spChg>
        <pc:spChg chg="mod">
          <ac:chgData name="Yash Ratanpal" userId="5db668b1-93e7-4c08-9786-4ed81315a653" providerId="ADAL" clId="{35CE40C1-3F8C-4A88-9CD7-233EB173ACA1}" dt="2021-08-01T06:54:01.195" v="1103" actId="1076"/>
          <ac:spMkLst>
            <pc:docMk/>
            <pc:sldMk cId="3498122450" sldId="1711"/>
            <ac:spMk id="39" creationId="{385BAF6A-6041-4D09-8B43-4AF7A5758279}"/>
          </ac:spMkLst>
        </pc:spChg>
        <pc:spChg chg="mod">
          <ac:chgData name="Yash Ratanpal" userId="5db668b1-93e7-4c08-9786-4ed81315a653" providerId="ADAL" clId="{35CE40C1-3F8C-4A88-9CD7-233EB173ACA1}" dt="2021-08-01T06:54:01.195" v="1103" actId="1076"/>
          <ac:spMkLst>
            <pc:docMk/>
            <pc:sldMk cId="3498122450" sldId="1711"/>
            <ac:spMk id="40" creationId="{216FCCAD-1C59-4DB2-956E-26A2A2561611}"/>
          </ac:spMkLst>
        </pc:spChg>
        <pc:spChg chg="mod">
          <ac:chgData name="Yash Ratanpal" userId="5db668b1-93e7-4c08-9786-4ed81315a653" providerId="ADAL" clId="{35CE40C1-3F8C-4A88-9CD7-233EB173ACA1}" dt="2021-08-01T06:50:18.929" v="1070" actId="164"/>
          <ac:spMkLst>
            <pc:docMk/>
            <pc:sldMk cId="3498122450" sldId="1711"/>
            <ac:spMk id="41" creationId="{726147A0-7B56-4179-9055-E7AB6516E3BE}"/>
          </ac:spMkLst>
        </pc:spChg>
        <pc:spChg chg="mod">
          <ac:chgData name="Yash Ratanpal" userId="5db668b1-93e7-4c08-9786-4ed81315a653" providerId="ADAL" clId="{35CE40C1-3F8C-4A88-9CD7-233EB173ACA1}" dt="2021-08-01T06:50:18.929" v="1070" actId="164"/>
          <ac:spMkLst>
            <pc:docMk/>
            <pc:sldMk cId="3498122450" sldId="1711"/>
            <ac:spMk id="42" creationId="{4537A498-E82A-4C24-897F-83026723C333}"/>
          </ac:spMkLst>
        </pc:spChg>
        <pc:spChg chg="add mod">
          <ac:chgData name="Yash Ratanpal" userId="5db668b1-93e7-4c08-9786-4ed81315a653" providerId="ADAL" clId="{35CE40C1-3F8C-4A88-9CD7-233EB173ACA1}" dt="2021-08-01T06:54:01.195" v="1103" actId="1076"/>
          <ac:spMkLst>
            <pc:docMk/>
            <pc:sldMk cId="3498122450" sldId="1711"/>
            <ac:spMk id="43" creationId="{9D5D192A-4A4A-4039-817B-30DCAAD67D76}"/>
          </ac:spMkLst>
        </pc:spChg>
        <pc:spChg chg="add mod">
          <ac:chgData name="Yash Ratanpal" userId="5db668b1-93e7-4c08-9786-4ed81315a653" providerId="ADAL" clId="{35CE40C1-3F8C-4A88-9CD7-233EB173ACA1}" dt="2021-08-01T06:54:01.195" v="1103" actId="1076"/>
          <ac:spMkLst>
            <pc:docMk/>
            <pc:sldMk cId="3498122450" sldId="1711"/>
            <ac:spMk id="44" creationId="{6ECA1CEB-D581-47AA-8320-8C68625C98C9}"/>
          </ac:spMkLst>
        </pc:spChg>
        <pc:grpChg chg="add mod">
          <ac:chgData name="Yash Ratanpal" userId="5db668b1-93e7-4c08-9786-4ed81315a653" providerId="ADAL" clId="{35CE40C1-3F8C-4A88-9CD7-233EB173ACA1}" dt="2021-08-01T06:54:01.195" v="1103" actId="1076"/>
          <ac:grpSpMkLst>
            <pc:docMk/>
            <pc:sldMk cId="3498122450" sldId="1711"/>
            <ac:grpSpMk id="4" creationId="{E33321B0-7CBE-4E8D-8C8C-7F11108FC4B4}"/>
          </ac:grpSpMkLst>
        </pc:grpChg>
        <pc:grpChg chg="add mod">
          <ac:chgData name="Yash Ratanpal" userId="5db668b1-93e7-4c08-9786-4ed81315a653" providerId="ADAL" clId="{35CE40C1-3F8C-4A88-9CD7-233EB173ACA1}" dt="2021-08-01T06:54:01.195" v="1103" actId="1076"/>
          <ac:grpSpMkLst>
            <pc:docMk/>
            <pc:sldMk cId="3498122450" sldId="1711"/>
            <ac:grpSpMk id="5" creationId="{4B0C9BD9-BB8F-4179-92D1-D15D3645E05E}"/>
          </ac:grpSpMkLst>
        </pc:grpChg>
      </pc:sldChg>
      <pc:sldChg chg="modSp mod">
        <pc:chgData name="Yash Ratanpal" userId="5db668b1-93e7-4c08-9786-4ed81315a653" providerId="ADAL" clId="{35CE40C1-3F8C-4A88-9CD7-233EB173ACA1}" dt="2021-08-07T13:09:25.913" v="7291" actId="20577"/>
        <pc:sldMkLst>
          <pc:docMk/>
          <pc:sldMk cId="3413008602" sldId="1712"/>
        </pc:sldMkLst>
        <pc:spChg chg="mod">
          <ac:chgData name="Yash Ratanpal" userId="5db668b1-93e7-4c08-9786-4ed81315a653" providerId="ADAL" clId="{35CE40C1-3F8C-4A88-9CD7-233EB173ACA1}" dt="2021-08-07T13:09:25.913" v="7291" actId="20577"/>
          <ac:spMkLst>
            <pc:docMk/>
            <pc:sldMk cId="3413008602" sldId="1712"/>
            <ac:spMk id="75" creationId="{13BC00E0-10CD-49A3-B029-B5AE0DB0786B}"/>
          </ac:spMkLst>
        </pc:spChg>
      </pc:sldChg>
      <pc:sldChg chg="addSp delSp modSp del mod delAnim modAnim">
        <pc:chgData name="Yash Ratanpal" userId="5db668b1-93e7-4c08-9786-4ed81315a653" providerId="ADAL" clId="{35CE40C1-3F8C-4A88-9CD7-233EB173ACA1}" dt="2021-08-01T06:39:11.605" v="765" actId="47"/>
        <pc:sldMkLst>
          <pc:docMk/>
          <pc:sldMk cId="2215528273" sldId="1715"/>
        </pc:sldMkLst>
        <pc:spChg chg="mod">
          <ac:chgData name="Yash Ratanpal" userId="5db668b1-93e7-4c08-9786-4ed81315a653" providerId="ADAL" clId="{35CE40C1-3F8C-4A88-9CD7-233EB173ACA1}" dt="2021-08-01T06:27:40.594" v="378" actId="1076"/>
          <ac:spMkLst>
            <pc:docMk/>
            <pc:sldMk cId="2215528273" sldId="1715"/>
            <ac:spMk id="3" creationId="{00000000-0000-0000-0000-000000000000}"/>
          </ac:spMkLst>
        </pc:spChg>
        <pc:spChg chg="add mod">
          <ac:chgData name="Yash Ratanpal" userId="5db668b1-93e7-4c08-9786-4ed81315a653" providerId="ADAL" clId="{35CE40C1-3F8C-4A88-9CD7-233EB173ACA1}" dt="2021-08-01T06:30:29.523" v="427" actId="20577"/>
          <ac:spMkLst>
            <pc:docMk/>
            <pc:sldMk cId="2215528273" sldId="1715"/>
            <ac:spMk id="24" creationId="{3B3B2715-203A-4F18-BDFB-F540E4BE0F20}"/>
          </ac:spMkLst>
        </pc:spChg>
        <pc:spChg chg="add mod ord topLvl">
          <ac:chgData name="Yash Ratanpal" userId="5db668b1-93e7-4c08-9786-4ed81315a653" providerId="ADAL" clId="{35CE40C1-3F8C-4A88-9CD7-233EB173ACA1}" dt="2021-08-01T06:32:02.027" v="483"/>
          <ac:spMkLst>
            <pc:docMk/>
            <pc:sldMk cId="2215528273" sldId="1715"/>
            <ac:spMk id="25" creationId="{0441A0E5-91F9-4F62-B6DF-3CC06260C53D}"/>
          </ac:spMkLst>
        </pc:spChg>
        <pc:spChg chg="add mod ord topLvl">
          <ac:chgData name="Yash Ratanpal" userId="5db668b1-93e7-4c08-9786-4ed81315a653" providerId="ADAL" clId="{35CE40C1-3F8C-4A88-9CD7-233EB173ACA1}" dt="2021-08-01T06:32:35.348" v="575" actId="20577"/>
          <ac:spMkLst>
            <pc:docMk/>
            <pc:sldMk cId="2215528273" sldId="1715"/>
            <ac:spMk id="26" creationId="{38E738B1-2DD3-4F15-8020-43202D161506}"/>
          </ac:spMkLst>
        </pc:spChg>
        <pc:spChg chg="add mod ord topLvl">
          <ac:chgData name="Yash Ratanpal" userId="5db668b1-93e7-4c08-9786-4ed81315a653" providerId="ADAL" clId="{35CE40C1-3F8C-4A88-9CD7-233EB173ACA1}" dt="2021-08-01T06:32:13.987" v="531" actId="20577"/>
          <ac:spMkLst>
            <pc:docMk/>
            <pc:sldMk cId="2215528273" sldId="1715"/>
            <ac:spMk id="27" creationId="{8E4CB485-BB05-4589-B48D-9F95CA672302}"/>
          </ac:spMkLst>
        </pc:spChg>
        <pc:spChg chg="add mod ord topLvl">
          <ac:chgData name="Yash Ratanpal" userId="5db668b1-93e7-4c08-9786-4ed81315a653" providerId="ADAL" clId="{35CE40C1-3F8C-4A88-9CD7-233EB173ACA1}" dt="2021-08-01T06:33:07.820" v="624" actId="20577"/>
          <ac:spMkLst>
            <pc:docMk/>
            <pc:sldMk cId="2215528273" sldId="1715"/>
            <ac:spMk id="29" creationId="{86724729-DCFE-45FF-9F65-9A1AF19AC7E9}"/>
          </ac:spMkLst>
        </pc:spChg>
        <pc:spChg chg="add mod ord topLvl">
          <ac:chgData name="Yash Ratanpal" userId="5db668b1-93e7-4c08-9786-4ed81315a653" providerId="ADAL" clId="{35CE40C1-3F8C-4A88-9CD7-233EB173ACA1}" dt="2021-08-01T06:32:33.457" v="574" actId="20577"/>
          <ac:spMkLst>
            <pc:docMk/>
            <pc:sldMk cId="2215528273" sldId="1715"/>
            <ac:spMk id="30" creationId="{80EE9B50-2D8C-4477-AD22-858505B8D7C4}"/>
          </ac:spMkLst>
        </pc:spChg>
        <pc:spChg chg="add mod">
          <ac:chgData name="Yash Ratanpal" userId="5db668b1-93e7-4c08-9786-4ed81315a653" providerId="ADAL" clId="{35CE40C1-3F8C-4A88-9CD7-233EB173ACA1}" dt="2021-08-01T06:33:19.992" v="663" actId="20577"/>
          <ac:spMkLst>
            <pc:docMk/>
            <pc:sldMk cId="2215528273" sldId="1715"/>
            <ac:spMk id="33" creationId="{E223121E-58EA-4DE6-A136-D9AB9498CEE2}"/>
          </ac:spMkLst>
        </pc:spChg>
        <pc:spChg chg="del mod">
          <ac:chgData name="Yash Ratanpal" userId="5db668b1-93e7-4c08-9786-4ed81315a653" providerId="ADAL" clId="{35CE40C1-3F8C-4A88-9CD7-233EB173ACA1}" dt="2021-08-01T06:29:28.348" v="397" actId="478"/>
          <ac:spMkLst>
            <pc:docMk/>
            <pc:sldMk cId="2215528273" sldId="1715"/>
            <ac:spMk id="44" creationId="{18D053E3-4D72-4F40-88C0-89CD6BCF7587}"/>
          </ac:spMkLst>
        </pc:spChg>
        <pc:spChg chg="del mod">
          <ac:chgData name="Yash Ratanpal" userId="5db668b1-93e7-4c08-9786-4ed81315a653" providerId="ADAL" clId="{35CE40C1-3F8C-4A88-9CD7-233EB173ACA1}" dt="2021-08-01T06:29:39.989" v="398" actId="478"/>
          <ac:spMkLst>
            <pc:docMk/>
            <pc:sldMk cId="2215528273" sldId="1715"/>
            <ac:spMk id="45" creationId="{8E1DEEED-B1FA-4B32-9931-0C2EBE54E346}"/>
          </ac:spMkLst>
        </pc:spChg>
        <pc:spChg chg="del mod">
          <ac:chgData name="Yash Ratanpal" userId="5db668b1-93e7-4c08-9786-4ed81315a653" providerId="ADAL" clId="{35CE40C1-3F8C-4A88-9CD7-233EB173ACA1}" dt="2021-08-01T06:29:39.989" v="398" actId="478"/>
          <ac:spMkLst>
            <pc:docMk/>
            <pc:sldMk cId="2215528273" sldId="1715"/>
            <ac:spMk id="46" creationId="{A8911ADE-9082-4A9A-9F9A-8655EFB53F07}"/>
          </ac:spMkLst>
        </pc:spChg>
        <pc:spChg chg="del mod">
          <ac:chgData name="Yash Ratanpal" userId="5db668b1-93e7-4c08-9786-4ed81315a653" providerId="ADAL" clId="{35CE40C1-3F8C-4A88-9CD7-233EB173ACA1}" dt="2021-08-01T06:29:39.989" v="398" actId="478"/>
          <ac:spMkLst>
            <pc:docMk/>
            <pc:sldMk cId="2215528273" sldId="1715"/>
            <ac:spMk id="47" creationId="{B87476C1-D7DC-4DF0-874E-BFD6A69181EE}"/>
          </ac:spMkLst>
        </pc:spChg>
        <pc:spChg chg="del mod">
          <ac:chgData name="Yash Ratanpal" userId="5db668b1-93e7-4c08-9786-4ed81315a653" providerId="ADAL" clId="{35CE40C1-3F8C-4A88-9CD7-233EB173ACA1}" dt="2021-08-01T06:29:39.989" v="398" actId="478"/>
          <ac:spMkLst>
            <pc:docMk/>
            <pc:sldMk cId="2215528273" sldId="1715"/>
            <ac:spMk id="48" creationId="{D816A941-F97F-4757-93AA-DC184ADE6307}"/>
          </ac:spMkLst>
        </pc:spChg>
        <pc:spChg chg="mod ord">
          <ac:chgData name="Yash Ratanpal" userId="5db668b1-93e7-4c08-9786-4ed81315a653" providerId="ADAL" clId="{35CE40C1-3F8C-4A88-9CD7-233EB173ACA1}" dt="2021-08-01T06:30:42.384" v="462" actId="20577"/>
          <ac:spMkLst>
            <pc:docMk/>
            <pc:sldMk cId="2215528273" sldId="1715"/>
            <ac:spMk id="49" creationId="{0B312508-1040-4C29-9458-D3731BBA9DC2}"/>
          </ac:spMkLst>
        </pc:spChg>
        <pc:spChg chg="mod topLvl">
          <ac:chgData name="Yash Ratanpal" userId="5db668b1-93e7-4c08-9786-4ed81315a653" providerId="ADAL" clId="{35CE40C1-3F8C-4A88-9CD7-233EB173ACA1}" dt="2021-08-01T06:30:15.724" v="406" actId="1076"/>
          <ac:spMkLst>
            <pc:docMk/>
            <pc:sldMk cId="2215528273" sldId="1715"/>
            <ac:spMk id="51" creationId="{2882A36E-C2B9-40C4-B9D3-FD4CEB00AC12}"/>
          </ac:spMkLst>
        </pc:spChg>
        <pc:spChg chg="mod topLvl">
          <ac:chgData name="Yash Ratanpal" userId="5db668b1-93e7-4c08-9786-4ed81315a653" providerId="ADAL" clId="{35CE40C1-3F8C-4A88-9CD7-233EB173ACA1}" dt="2021-08-01T06:30:15.724" v="406" actId="1076"/>
          <ac:spMkLst>
            <pc:docMk/>
            <pc:sldMk cId="2215528273" sldId="1715"/>
            <ac:spMk id="52" creationId="{67C708B9-E023-4596-912F-A37ABCA6F32C}"/>
          </ac:spMkLst>
        </pc:spChg>
        <pc:spChg chg="mod topLvl">
          <ac:chgData name="Yash Ratanpal" userId="5db668b1-93e7-4c08-9786-4ed81315a653" providerId="ADAL" clId="{35CE40C1-3F8C-4A88-9CD7-233EB173ACA1}" dt="2021-08-01T06:30:15.724" v="406" actId="1076"/>
          <ac:spMkLst>
            <pc:docMk/>
            <pc:sldMk cId="2215528273" sldId="1715"/>
            <ac:spMk id="53" creationId="{33E2A43A-DF57-4BD3-8020-5D96B1CAE513}"/>
          </ac:spMkLst>
        </pc:spChg>
        <pc:spChg chg="mod topLvl">
          <ac:chgData name="Yash Ratanpal" userId="5db668b1-93e7-4c08-9786-4ed81315a653" providerId="ADAL" clId="{35CE40C1-3F8C-4A88-9CD7-233EB173ACA1}" dt="2021-08-01T06:30:15.724" v="406" actId="1076"/>
          <ac:spMkLst>
            <pc:docMk/>
            <pc:sldMk cId="2215528273" sldId="1715"/>
            <ac:spMk id="54" creationId="{F74BB39E-3679-4257-9F8C-EE6952AFC26C}"/>
          </ac:spMkLst>
        </pc:spChg>
        <pc:spChg chg="mod topLvl">
          <ac:chgData name="Yash Ratanpal" userId="5db668b1-93e7-4c08-9786-4ed81315a653" providerId="ADAL" clId="{35CE40C1-3F8C-4A88-9CD7-233EB173ACA1}" dt="2021-08-01T06:30:15.724" v="406" actId="1076"/>
          <ac:spMkLst>
            <pc:docMk/>
            <pc:sldMk cId="2215528273" sldId="1715"/>
            <ac:spMk id="55" creationId="{0B47A598-4304-4C4D-B131-7D0010A41170}"/>
          </ac:spMkLst>
        </pc:spChg>
        <pc:spChg chg="mod topLvl">
          <ac:chgData name="Yash Ratanpal" userId="5db668b1-93e7-4c08-9786-4ed81315a653" providerId="ADAL" clId="{35CE40C1-3F8C-4A88-9CD7-233EB173ACA1}" dt="2021-08-01T06:30:15.724" v="406" actId="1076"/>
          <ac:spMkLst>
            <pc:docMk/>
            <pc:sldMk cId="2215528273" sldId="1715"/>
            <ac:spMk id="56" creationId="{B7DFBE8B-F5D6-4CFA-9A4B-6F68B93856D1}"/>
          </ac:spMkLst>
        </pc:spChg>
        <pc:spChg chg="mod topLvl">
          <ac:chgData name="Yash Ratanpal" userId="5db668b1-93e7-4c08-9786-4ed81315a653" providerId="ADAL" clId="{35CE40C1-3F8C-4A88-9CD7-233EB173ACA1}" dt="2021-08-01T06:30:15.724" v="406" actId="1076"/>
          <ac:spMkLst>
            <pc:docMk/>
            <pc:sldMk cId="2215528273" sldId="1715"/>
            <ac:spMk id="57" creationId="{EB84AF79-D3EF-4A21-A499-3732A4E68BCE}"/>
          </ac:spMkLst>
        </pc:spChg>
        <pc:spChg chg="mod topLvl">
          <ac:chgData name="Yash Ratanpal" userId="5db668b1-93e7-4c08-9786-4ed81315a653" providerId="ADAL" clId="{35CE40C1-3F8C-4A88-9CD7-233EB173ACA1}" dt="2021-08-01T06:30:15.724" v="406" actId="1076"/>
          <ac:spMkLst>
            <pc:docMk/>
            <pc:sldMk cId="2215528273" sldId="1715"/>
            <ac:spMk id="58" creationId="{D179174A-1C83-4082-AFE1-52A074F99BE1}"/>
          </ac:spMkLst>
        </pc:spChg>
        <pc:spChg chg="mod topLvl">
          <ac:chgData name="Yash Ratanpal" userId="5db668b1-93e7-4c08-9786-4ed81315a653" providerId="ADAL" clId="{35CE40C1-3F8C-4A88-9CD7-233EB173ACA1}" dt="2021-08-01T06:30:15.724" v="406" actId="1076"/>
          <ac:spMkLst>
            <pc:docMk/>
            <pc:sldMk cId="2215528273" sldId="1715"/>
            <ac:spMk id="60" creationId="{FD8FC113-5929-41A2-9F10-3B17A7DCA1CF}"/>
          </ac:spMkLst>
        </pc:spChg>
        <pc:spChg chg="mod topLvl">
          <ac:chgData name="Yash Ratanpal" userId="5db668b1-93e7-4c08-9786-4ed81315a653" providerId="ADAL" clId="{35CE40C1-3F8C-4A88-9CD7-233EB173ACA1}" dt="2021-08-01T06:30:15.724" v="406" actId="1076"/>
          <ac:spMkLst>
            <pc:docMk/>
            <pc:sldMk cId="2215528273" sldId="1715"/>
            <ac:spMk id="61" creationId="{42FFACC3-92A6-4F5D-9438-8C375BE01744}"/>
          </ac:spMkLst>
        </pc:spChg>
        <pc:spChg chg="mod">
          <ac:chgData name="Yash Ratanpal" userId="5db668b1-93e7-4c08-9786-4ed81315a653" providerId="ADAL" clId="{35CE40C1-3F8C-4A88-9CD7-233EB173ACA1}" dt="2021-08-01T06:30:15.724" v="406" actId="1076"/>
          <ac:spMkLst>
            <pc:docMk/>
            <pc:sldMk cId="2215528273" sldId="1715"/>
            <ac:spMk id="62" creationId="{F3379764-C291-49D5-9520-E7B8836D2684}"/>
          </ac:spMkLst>
        </pc:spChg>
        <pc:grpChg chg="add del mod topLvl">
          <ac:chgData name="Yash Ratanpal" userId="5db668b1-93e7-4c08-9786-4ed81315a653" providerId="ADAL" clId="{35CE40C1-3F8C-4A88-9CD7-233EB173ACA1}" dt="2021-08-01T06:26:33.657" v="366" actId="165"/>
          <ac:grpSpMkLst>
            <pc:docMk/>
            <pc:sldMk cId="2215528273" sldId="1715"/>
            <ac:grpSpMk id="4" creationId="{28962042-F700-47B2-81EC-02983BED11FD}"/>
          </ac:grpSpMkLst>
        </pc:grpChg>
        <pc:grpChg chg="add del mod">
          <ac:chgData name="Yash Ratanpal" userId="5db668b1-93e7-4c08-9786-4ed81315a653" providerId="ADAL" clId="{35CE40C1-3F8C-4A88-9CD7-233EB173ACA1}" dt="2021-08-01T06:26:29.672" v="363" actId="165"/>
          <ac:grpSpMkLst>
            <pc:docMk/>
            <pc:sldMk cId="2215528273" sldId="1715"/>
            <ac:grpSpMk id="5" creationId="{EB413632-E886-42AA-B2B4-2AE9E9FC424E}"/>
          </ac:grpSpMkLst>
        </pc:grpChg>
        <pc:grpChg chg="add mod">
          <ac:chgData name="Yash Ratanpal" userId="5db668b1-93e7-4c08-9786-4ed81315a653" providerId="ADAL" clId="{35CE40C1-3F8C-4A88-9CD7-233EB173ACA1}" dt="2021-08-01T06:30:08.139" v="404" actId="1076"/>
          <ac:grpSpMkLst>
            <pc:docMk/>
            <pc:sldMk cId="2215528273" sldId="1715"/>
            <ac:grpSpMk id="6" creationId="{FDBAD6D0-6299-4B6F-B6BF-315B4F9B0A0A}"/>
          </ac:grpSpMkLst>
        </pc:grpChg>
        <pc:grpChg chg="del mod">
          <ac:chgData name="Yash Ratanpal" userId="5db668b1-93e7-4c08-9786-4ed81315a653" providerId="ADAL" clId="{35CE40C1-3F8C-4A88-9CD7-233EB173ACA1}" dt="2021-08-01T06:28:23.174" v="389" actId="165"/>
          <ac:grpSpMkLst>
            <pc:docMk/>
            <pc:sldMk cId="2215528273" sldId="1715"/>
            <ac:grpSpMk id="50" creationId="{1384CEA2-B369-4293-B48A-11D6EC874A13}"/>
          </ac:grpSpMkLst>
        </pc:grpChg>
        <pc:cxnChg chg="mod topLvl">
          <ac:chgData name="Yash Ratanpal" userId="5db668b1-93e7-4c08-9786-4ed81315a653" providerId="ADAL" clId="{35CE40C1-3F8C-4A88-9CD7-233EB173ACA1}" dt="2021-08-01T06:30:15.724" v="406" actId="1076"/>
          <ac:cxnSpMkLst>
            <pc:docMk/>
            <pc:sldMk cId="2215528273" sldId="1715"/>
            <ac:cxnSpMk id="59" creationId="{7E4C4578-94DE-4C1A-A4E9-FD5F68D92F36}"/>
          </ac:cxnSpMkLst>
        </pc:cxnChg>
        <pc:cxnChg chg="mod">
          <ac:chgData name="Yash Ratanpal" userId="5db668b1-93e7-4c08-9786-4ed81315a653" providerId="ADAL" clId="{35CE40C1-3F8C-4A88-9CD7-233EB173ACA1}" dt="2021-08-01T06:30:15.724" v="406" actId="1076"/>
          <ac:cxnSpMkLst>
            <pc:docMk/>
            <pc:sldMk cId="2215528273" sldId="1715"/>
            <ac:cxnSpMk id="63" creationId="{B53DD93F-0C8C-44C3-BA96-23459CC6ACBD}"/>
          </ac:cxnSpMkLst>
        </pc:cxnChg>
      </pc:sldChg>
      <pc:sldChg chg="addSp delSp modSp mod">
        <pc:chgData name="Yash Ratanpal" userId="5db668b1-93e7-4c08-9786-4ed81315a653" providerId="ADAL" clId="{35CE40C1-3F8C-4A88-9CD7-233EB173ACA1}" dt="2021-08-01T07:08:57.029" v="1313" actId="207"/>
        <pc:sldMkLst>
          <pc:docMk/>
          <pc:sldMk cId="2852442038" sldId="1716"/>
        </pc:sldMkLst>
        <pc:spChg chg="add mod">
          <ac:chgData name="Yash Ratanpal" userId="5db668b1-93e7-4c08-9786-4ed81315a653" providerId="ADAL" clId="{35CE40C1-3F8C-4A88-9CD7-233EB173ACA1}" dt="2021-08-01T07:00:30.123" v="1181" actId="20577"/>
          <ac:spMkLst>
            <pc:docMk/>
            <pc:sldMk cId="2852442038" sldId="1716"/>
            <ac:spMk id="19" creationId="{1B9AA2DB-61E0-49BA-AF23-C8B08B010241}"/>
          </ac:spMkLst>
        </pc:spChg>
        <pc:spChg chg="mod">
          <ac:chgData name="Yash Ratanpal" userId="5db668b1-93e7-4c08-9786-4ed81315a653" providerId="ADAL" clId="{35CE40C1-3F8C-4A88-9CD7-233EB173ACA1}" dt="2021-08-01T07:08:21.960" v="1307" actId="208"/>
          <ac:spMkLst>
            <pc:docMk/>
            <pc:sldMk cId="2852442038" sldId="1716"/>
            <ac:spMk id="23" creationId="{D743DBE5-DFF3-483D-A751-278CE50DE4ED}"/>
          </ac:spMkLst>
        </pc:spChg>
        <pc:spChg chg="mod">
          <ac:chgData name="Yash Ratanpal" userId="5db668b1-93e7-4c08-9786-4ed81315a653" providerId="ADAL" clId="{35CE40C1-3F8C-4A88-9CD7-233EB173ACA1}" dt="2021-08-01T07:08:23.920" v="1308" actId="208"/>
          <ac:spMkLst>
            <pc:docMk/>
            <pc:sldMk cId="2852442038" sldId="1716"/>
            <ac:spMk id="24" creationId="{E59D15B9-A0B1-4F81-A0E5-FD553BA1A6A1}"/>
          </ac:spMkLst>
        </pc:spChg>
        <pc:spChg chg="mod">
          <ac:chgData name="Yash Ratanpal" userId="5db668b1-93e7-4c08-9786-4ed81315a653" providerId="ADAL" clId="{35CE40C1-3F8C-4A88-9CD7-233EB173ACA1}" dt="2021-08-01T07:08:27.884" v="1309" actId="207"/>
          <ac:spMkLst>
            <pc:docMk/>
            <pc:sldMk cId="2852442038" sldId="1716"/>
            <ac:spMk id="25" creationId="{82F9AFB2-5274-4918-9F81-0C30D3615DC4}"/>
          </ac:spMkLst>
        </pc:spChg>
        <pc:spChg chg="add del mod">
          <ac:chgData name="Yash Ratanpal" userId="5db668b1-93e7-4c08-9786-4ed81315a653" providerId="ADAL" clId="{35CE40C1-3F8C-4A88-9CD7-233EB173ACA1}" dt="2021-08-01T07:07:45.619" v="1303" actId="478"/>
          <ac:spMkLst>
            <pc:docMk/>
            <pc:sldMk cId="2852442038" sldId="1716"/>
            <ac:spMk id="26" creationId="{5292AF2B-A272-4FE0-AD02-2DDA7EF56B05}"/>
          </ac:spMkLst>
        </pc:spChg>
        <pc:spChg chg="mod topLvl">
          <ac:chgData name="Yash Ratanpal" userId="5db668b1-93e7-4c08-9786-4ed81315a653" providerId="ADAL" clId="{35CE40C1-3F8C-4A88-9CD7-233EB173ACA1}" dt="2021-08-01T07:08:08.995" v="1305" actId="165"/>
          <ac:spMkLst>
            <pc:docMk/>
            <pc:sldMk cId="2852442038" sldId="1716"/>
            <ac:spMk id="43" creationId="{28F12DB3-5E17-4A2E-8CD7-E7FE6CFEEA1A}"/>
          </ac:spMkLst>
        </pc:spChg>
        <pc:spChg chg="del mod">
          <ac:chgData name="Yash Ratanpal" userId="5db668b1-93e7-4c08-9786-4ed81315a653" providerId="ADAL" clId="{35CE40C1-3F8C-4A88-9CD7-233EB173ACA1}" dt="2021-08-01T07:05:33.144" v="1269" actId="478"/>
          <ac:spMkLst>
            <pc:docMk/>
            <pc:sldMk cId="2852442038" sldId="1716"/>
            <ac:spMk id="44" creationId="{1D5CABBC-B9D7-43FE-BAF2-967FBD3CA56F}"/>
          </ac:spMkLst>
        </pc:spChg>
        <pc:spChg chg="mod topLvl">
          <ac:chgData name="Yash Ratanpal" userId="5db668b1-93e7-4c08-9786-4ed81315a653" providerId="ADAL" clId="{35CE40C1-3F8C-4A88-9CD7-233EB173ACA1}" dt="2021-08-01T07:08:08.995" v="1305" actId="165"/>
          <ac:spMkLst>
            <pc:docMk/>
            <pc:sldMk cId="2852442038" sldId="1716"/>
            <ac:spMk id="45" creationId="{85F7B22A-DCDA-44ED-9213-DCC940BA1809}"/>
          </ac:spMkLst>
        </pc:spChg>
        <pc:spChg chg="mod topLvl">
          <ac:chgData name="Yash Ratanpal" userId="5db668b1-93e7-4c08-9786-4ed81315a653" providerId="ADAL" clId="{35CE40C1-3F8C-4A88-9CD7-233EB173ACA1}" dt="2021-08-01T07:08:08.995" v="1305" actId="165"/>
          <ac:spMkLst>
            <pc:docMk/>
            <pc:sldMk cId="2852442038" sldId="1716"/>
            <ac:spMk id="46" creationId="{115A3267-EED6-48B2-84D8-827EB8743749}"/>
          </ac:spMkLst>
        </pc:spChg>
        <pc:spChg chg="mod topLvl">
          <ac:chgData name="Yash Ratanpal" userId="5db668b1-93e7-4c08-9786-4ed81315a653" providerId="ADAL" clId="{35CE40C1-3F8C-4A88-9CD7-233EB173ACA1}" dt="2021-08-01T07:08:08.995" v="1305" actId="165"/>
          <ac:spMkLst>
            <pc:docMk/>
            <pc:sldMk cId="2852442038" sldId="1716"/>
            <ac:spMk id="47" creationId="{12EBFA2B-5618-46EC-9684-7C00BE6D844C}"/>
          </ac:spMkLst>
        </pc:spChg>
        <pc:spChg chg="mod topLvl">
          <ac:chgData name="Yash Ratanpal" userId="5db668b1-93e7-4c08-9786-4ed81315a653" providerId="ADAL" clId="{35CE40C1-3F8C-4A88-9CD7-233EB173ACA1}" dt="2021-08-01T07:08:51.998" v="1310" actId="207"/>
          <ac:spMkLst>
            <pc:docMk/>
            <pc:sldMk cId="2852442038" sldId="1716"/>
            <ac:spMk id="48" creationId="{CBB2BEF8-A294-4FAD-9C29-91BB30540BB9}"/>
          </ac:spMkLst>
        </pc:spChg>
        <pc:spChg chg="mod topLvl">
          <ac:chgData name="Yash Ratanpal" userId="5db668b1-93e7-4c08-9786-4ed81315a653" providerId="ADAL" clId="{35CE40C1-3F8C-4A88-9CD7-233EB173ACA1}" dt="2021-08-01T07:08:53.580" v="1311" actId="207"/>
          <ac:spMkLst>
            <pc:docMk/>
            <pc:sldMk cId="2852442038" sldId="1716"/>
            <ac:spMk id="49" creationId="{6380BC44-03A3-4639-A468-BFAB5216472C}"/>
          </ac:spMkLst>
        </pc:spChg>
        <pc:spChg chg="mod topLvl">
          <ac:chgData name="Yash Ratanpal" userId="5db668b1-93e7-4c08-9786-4ed81315a653" providerId="ADAL" clId="{35CE40C1-3F8C-4A88-9CD7-233EB173ACA1}" dt="2021-08-01T07:08:56.227" v="1312" actId="207"/>
          <ac:spMkLst>
            <pc:docMk/>
            <pc:sldMk cId="2852442038" sldId="1716"/>
            <ac:spMk id="50" creationId="{20ADA8D3-9484-493A-86C5-4A2979C87BF6}"/>
          </ac:spMkLst>
        </pc:spChg>
        <pc:spChg chg="del mod">
          <ac:chgData name="Yash Ratanpal" userId="5db668b1-93e7-4c08-9786-4ed81315a653" providerId="ADAL" clId="{35CE40C1-3F8C-4A88-9CD7-233EB173ACA1}" dt="2021-08-01T07:04:28.938" v="1183" actId="478"/>
          <ac:spMkLst>
            <pc:docMk/>
            <pc:sldMk cId="2852442038" sldId="1716"/>
            <ac:spMk id="51" creationId="{DCBE9243-9541-48D7-A415-FBB389F888FC}"/>
          </ac:spMkLst>
        </pc:spChg>
        <pc:spChg chg="mod topLvl">
          <ac:chgData name="Yash Ratanpal" userId="5db668b1-93e7-4c08-9786-4ed81315a653" providerId="ADAL" clId="{35CE40C1-3F8C-4A88-9CD7-233EB173ACA1}" dt="2021-08-01T07:08:57.029" v="1313" actId="207"/>
          <ac:spMkLst>
            <pc:docMk/>
            <pc:sldMk cId="2852442038" sldId="1716"/>
            <ac:spMk id="52" creationId="{0C7D1C5B-767A-4452-980B-189DFCBCAA4A}"/>
          </ac:spMkLst>
        </pc:spChg>
        <pc:grpChg chg="add del mod">
          <ac:chgData name="Yash Ratanpal" userId="5db668b1-93e7-4c08-9786-4ed81315a653" providerId="ADAL" clId="{35CE40C1-3F8C-4A88-9CD7-233EB173ACA1}" dt="2021-08-01T07:08:08.995" v="1305" actId="165"/>
          <ac:grpSpMkLst>
            <pc:docMk/>
            <pc:sldMk cId="2852442038" sldId="1716"/>
            <ac:grpSpMk id="4" creationId="{03995AFE-8CEE-460E-AB32-A704CAFAA2CF}"/>
          </ac:grpSpMkLst>
        </pc:grpChg>
        <pc:grpChg chg="mod topLvl">
          <ac:chgData name="Yash Ratanpal" userId="5db668b1-93e7-4c08-9786-4ed81315a653" providerId="ADAL" clId="{35CE40C1-3F8C-4A88-9CD7-233EB173ACA1}" dt="2021-08-01T07:08:08.995" v="1305" actId="165"/>
          <ac:grpSpMkLst>
            <pc:docMk/>
            <pc:sldMk cId="2852442038" sldId="1716"/>
            <ac:grpSpMk id="22" creationId="{BD3F259C-CF3C-4086-9446-7AD517DBBF00}"/>
          </ac:grpSpMkLst>
        </pc:grpChg>
      </pc:sldChg>
      <pc:sldChg chg="addSp delSp modSp mod">
        <pc:chgData name="Yash Ratanpal" userId="5db668b1-93e7-4c08-9786-4ed81315a653" providerId="ADAL" clId="{35CE40C1-3F8C-4A88-9CD7-233EB173ACA1}" dt="2021-08-01T10:44:40.032" v="6278" actId="20577"/>
        <pc:sldMkLst>
          <pc:docMk/>
          <pc:sldMk cId="1933103214" sldId="1718"/>
        </pc:sldMkLst>
        <pc:spChg chg="del">
          <ac:chgData name="Yash Ratanpal" userId="5db668b1-93e7-4c08-9786-4ed81315a653" providerId="ADAL" clId="{35CE40C1-3F8C-4A88-9CD7-233EB173ACA1}" dt="2021-08-01T09:59:12.170" v="4123" actId="478"/>
          <ac:spMkLst>
            <pc:docMk/>
            <pc:sldMk cId="1933103214" sldId="1718"/>
            <ac:spMk id="12" creationId="{14089CA9-BEE7-4F25-97FD-EE66A4F6E6CF}"/>
          </ac:spMkLst>
        </pc:spChg>
        <pc:spChg chg="mod topLvl">
          <ac:chgData name="Yash Ratanpal" userId="5db668b1-93e7-4c08-9786-4ed81315a653" providerId="ADAL" clId="{35CE40C1-3F8C-4A88-9CD7-233EB173ACA1}" dt="2021-08-01T10:42:47.435" v="6147" actId="20577"/>
          <ac:spMkLst>
            <pc:docMk/>
            <pc:sldMk cId="1933103214" sldId="1718"/>
            <ac:spMk id="15" creationId="{650CC48F-F2EB-4824-9871-A93CA3C01D61}"/>
          </ac:spMkLst>
        </pc:spChg>
        <pc:spChg chg="mod topLvl">
          <ac:chgData name="Yash Ratanpal" userId="5db668b1-93e7-4c08-9786-4ed81315a653" providerId="ADAL" clId="{35CE40C1-3F8C-4A88-9CD7-233EB173ACA1}" dt="2021-08-01T10:42:52.352" v="6157" actId="20577"/>
          <ac:spMkLst>
            <pc:docMk/>
            <pc:sldMk cId="1933103214" sldId="1718"/>
            <ac:spMk id="16" creationId="{706AE89B-1B81-4471-8FFE-2974CE028A5C}"/>
          </ac:spMkLst>
        </pc:spChg>
        <pc:spChg chg="mod topLvl">
          <ac:chgData name="Yash Ratanpal" userId="5db668b1-93e7-4c08-9786-4ed81315a653" providerId="ADAL" clId="{35CE40C1-3F8C-4A88-9CD7-233EB173ACA1}" dt="2021-08-01T10:43:14.157" v="6209" actId="20577"/>
          <ac:spMkLst>
            <pc:docMk/>
            <pc:sldMk cId="1933103214" sldId="1718"/>
            <ac:spMk id="17" creationId="{70D9B273-F26F-4336-9CED-6C9AB3FDA5F9}"/>
          </ac:spMkLst>
        </pc:spChg>
        <pc:spChg chg="mod topLvl">
          <ac:chgData name="Yash Ratanpal" userId="5db668b1-93e7-4c08-9786-4ed81315a653" providerId="ADAL" clId="{35CE40C1-3F8C-4A88-9CD7-233EB173ACA1}" dt="2021-08-01T10:03:11.762" v="4158" actId="164"/>
          <ac:spMkLst>
            <pc:docMk/>
            <pc:sldMk cId="1933103214" sldId="1718"/>
            <ac:spMk id="18" creationId="{216E5AE8-BA46-4D57-8F69-2DCF8B2B2B75}"/>
          </ac:spMkLst>
        </pc:spChg>
        <pc:spChg chg="mod topLvl">
          <ac:chgData name="Yash Ratanpal" userId="5db668b1-93e7-4c08-9786-4ed81315a653" providerId="ADAL" clId="{35CE40C1-3F8C-4A88-9CD7-233EB173ACA1}" dt="2021-08-01T10:03:11.762" v="4158" actId="164"/>
          <ac:spMkLst>
            <pc:docMk/>
            <pc:sldMk cId="1933103214" sldId="1718"/>
            <ac:spMk id="21" creationId="{E6C5AC35-9306-4C69-9AD3-E9D88D57F189}"/>
          </ac:spMkLst>
        </pc:spChg>
        <pc:spChg chg="mod topLvl">
          <ac:chgData name="Yash Ratanpal" userId="5db668b1-93e7-4c08-9786-4ed81315a653" providerId="ADAL" clId="{35CE40C1-3F8C-4A88-9CD7-233EB173ACA1}" dt="2021-08-01T10:03:11.762" v="4158" actId="164"/>
          <ac:spMkLst>
            <pc:docMk/>
            <pc:sldMk cId="1933103214" sldId="1718"/>
            <ac:spMk id="22" creationId="{57036218-09D3-4459-AE93-C94C73DA58CC}"/>
          </ac:spMkLst>
        </pc:spChg>
        <pc:spChg chg="mod topLvl">
          <ac:chgData name="Yash Ratanpal" userId="5db668b1-93e7-4c08-9786-4ed81315a653" providerId="ADAL" clId="{35CE40C1-3F8C-4A88-9CD7-233EB173ACA1}" dt="2021-08-01T10:03:11.762" v="4158" actId="164"/>
          <ac:spMkLst>
            <pc:docMk/>
            <pc:sldMk cId="1933103214" sldId="1718"/>
            <ac:spMk id="23" creationId="{D54FC816-514D-4D0E-90F5-9FE06CCD1A2E}"/>
          </ac:spMkLst>
        </pc:spChg>
        <pc:spChg chg="mod topLvl">
          <ac:chgData name="Yash Ratanpal" userId="5db668b1-93e7-4c08-9786-4ed81315a653" providerId="ADAL" clId="{35CE40C1-3F8C-4A88-9CD7-233EB173ACA1}" dt="2021-08-01T10:03:11.762" v="4158" actId="164"/>
          <ac:spMkLst>
            <pc:docMk/>
            <pc:sldMk cId="1933103214" sldId="1718"/>
            <ac:spMk id="24" creationId="{B4D23A4F-F962-4413-89A1-B94C9F5F6200}"/>
          </ac:spMkLst>
        </pc:spChg>
        <pc:spChg chg="mod topLvl">
          <ac:chgData name="Yash Ratanpal" userId="5db668b1-93e7-4c08-9786-4ed81315a653" providerId="ADAL" clId="{35CE40C1-3F8C-4A88-9CD7-233EB173ACA1}" dt="2021-08-01T10:03:11.762" v="4158" actId="164"/>
          <ac:spMkLst>
            <pc:docMk/>
            <pc:sldMk cId="1933103214" sldId="1718"/>
            <ac:spMk id="25" creationId="{05DE81B4-1F4F-4C4B-9B13-B17F530DA1A6}"/>
          </ac:spMkLst>
        </pc:spChg>
        <pc:spChg chg="add mod">
          <ac:chgData name="Yash Ratanpal" userId="5db668b1-93e7-4c08-9786-4ed81315a653" providerId="ADAL" clId="{35CE40C1-3F8C-4A88-9CD7-233EB173ACA1}" dt="2021-08-01T10:04:34.182" v="4169" actId="14100"/>
          <ac:spMkLst>
            <pc:docMk/>
            <pc:sldMk cId="1933103214" sldId="1718"/>
            <ac:spMk id="26" creationId="{03BF0A6E-0F70-42E8-AEA3-A8CA1A4D4654}"/>
          </ac:spMkLst>
        </pc:spChg>
        <pc:spChg chg="add del mod">
          <ac:chgData name="Yash Ratanpal" userId="5db668b1-93e7-4c08-9786-4ed81315a653" providerId="ADAL" clId="{35CE40C1-3F8C-4A88-9CD7-233EB173ACA1}" dt="2021-08-01T10:06:47.432" v="4184"/>
          <ac:spMkLst>
            <pc:docMk/>
            <pc:sldMk cId="1933103214" sldId="1718"/>
            <ac:spMk id="27" creationId="{F27F503A-37DF-463D-A46E-C075526AE437}"/>
          </ac:spMkLst>
        </pc:spChg>
        <pc:spChg chg="add del mod">
          <ac:chgData name="Yash Ratanpal" userId="5db668b1-93e7-4c08-9786-4ed81315a653" providerId="ADAL" clId="{35CE40C1-3F8C-4A88-9CD7-233EB173ACA1}" dt="2021-08-01T10:06:54.943" v="4187" actId="478"/>
          <ac:spMkLst>
            <pc:docMk/>
            <pc:sldMk cId="1933103214" sldId="1718"/>
            <ac:spMk id="28" creationId="{A6E82DCB-F35E-46FA-9936-98A73F8F7E60}"/>
          </ac:spMkLst>
        </pc:spChg>
        <pc:spChg chg="mod topLvl">
          <ac:chgData name="Yash Ratanpal" userId="5db668b1-93e7-4c08-9786-4ed81315a653" providerId="ADAL" clId="{35CE40C1-3F8C-4A88-9CD7-233EB173ACA1}" dt="2021-08-01T10:37:42.077" v="5594" actId="12"/>
          <ac:spMkLst>
            <pc:docMk/>
            <pc:sldMk cId="1933103214" sldId="1718"/>
            <ac:spMk id="32" creationId="{C5A8675D-79F7-4F40-ABE6-2AF182EECBB6}"/>
          </ac:spMkLst>
        </pc:spChg>
        <pc:spChg chg="mod topLvl">
          <ac:chgData name="Yash Ratanpal" userId="5db668b1-93e7-4c08-9786-4ed81315a653" providerId="ADAL" clId="{35CE40C1-3F8C-4A88-9CD7-233EB173ACA1}" dt="2021-08-01T10:44:24.818" v="6273" actId="6549"/>
          <ac:spMkLst>
            <pc:docMk/>
            <pc:sldMk cId="1933103214" sldId="1718"/>
            <ac:spMk id="33" creationId="{106D25D8-2A02-41C7-A1B5-D05A49486ECD}"/>
          </ac:spMkLst>
        </pc:spChg>
        <pc:spChg chg="mod topLvl">
          <ac:chgData name="Yash Ratanpal" userId="5db668b1-93e7-4c08-9786-4ed81315a653" providerId="ADAL" clId="{35CE40C1-3F8C-4A88-9CD7-233EB173ACA1}" dt="2021-08-01T10:44:40.032" v="6278" actId="20577"/>
          <ac:spMkLst>
            <pc:docMk/>
            <pc:sldMk cId="1933103214" sldId="1718"/>
            <ac:spMk id="34" creationId="{E374C64E-6E6D-4DED-8157-CFC491DE6E2C}"/>
          </ac:spMkLst>
        </pc:spChg>
        <pc:spChg chg="mod topLvl">
          <ac:chgData name="Yash Ratanpal" userId="5db668b1-93e7-4c08-9786-4ed81315a653" providerId="ADAL" clId="{35CE40C1-3F8C-4A88-9CD7-233EB173ACA1}" dt="2021-08-01T10:03:11.762" v="4158" actId="164"/>
          <ac:spMkLst>
            <pc:docMk/>
            <pc:sldMk cId="1933103214" sldId="1718"/>
            <ac:spMk id="35" creationId="{BDE23C67-F2C2-4949-8600-7920BFA91457}"/>
          </ac:spMkLst>
        </pc:spChg>
        <pc:spChg chg="mod topLvl">
          <ac:chgData name="Yash Ratanpal" userId="5db668b1-93e7-4c08-9786-4ed81315a653" providerId="ADAL" clId="{35CE40C1-3F8C-4A88-9CD7-233EB173ACA1}" dt="2021-08-01T10:03:11.762" v="4158" actId="164"/>
          <ac:spMkLst>
            <pc:docMk/>
            <pc:sldMk cId="1933103214" sldId="1718"/>
            <ac:spMk id="36" creationId="{ECDF5ECD-537A-495A-9BA9-EA5B6FA6B1DB}"/>
          </ac:spMkLst>
        </pc:spChg>
        <pc:spChg chg="mod topLvl">
          <ac:chgData name="Yash Ratanpal" userId="5db668b1-93e7-4c08-9786-4ed81315a653" providerId="ADAL" clId="{35CE40C1-3F8C-4A88-9CD7-233EB173ACA1}" dt="2021-08-01T10:03:11.762" v="4158" actId="164"/>
          <ac:spMkLst>
            <pc:docMk/>
            <pc:sldMk cId="1933103214" sldId="1718"/>
            <ac:spMk id="37" creationId="{9C2FA233-EEDD-46E7-B72F-C1C42DBFBBE3}"/>
          </ac:spMkLst>
        </pc:spChg>
        <pc:grpChg chg="add mod">
          <ac:chgData name="Yash Ratanpal" userId="5db668b1-93e7-4c08-9786-4ed81315a653" providerId="ADAL" clId="{35CE40C1-3F8C-4A88-9CD7-233EB173ACA1}" dt="2021-08-01T10:03:38.432" v="4168" actId="1036"/>
          <ac:grpSpMkLst>
            <pc:docMk/>
            <pc:sldMk cId="1933103214" sldId="1718"/>
            <ac:grpSpMk id="4" creationId="{19BAF88D-9F73-4241-BF3B-C073DA1DB7D2}"/>
          </ac:grpSpMkLst>
        </pc:grpChg>
        <pc:grpChg chg="add del mod">
          <ac:chgData name="Yash Ratanpal" userId="5db668b1-93e7-4c08-9786-4ed81315a653" providerId="ADAL" clId="{35CE40C1-3F8C-4A88-9CD7-233EB173ACA1}" dt="2021-08-01T10:03:33.335" v="4165" actId="165"/>
          <ac:grpSpMkLst>
            <pc:docMk/>
            <pc:sldMk cId="1933103214" sldId="1718"/>
            <ac:grpSpMk id="5" creationId="{C11F9B76-40F8-479F-BF6E-7438773EDC11}"/>
          </ac:grpSpMkLst>
        </pc:grpChg>
        <pc:grpChg chg="del mod">
          <ac:chgData name="Yash Ratanpal" userId="5db668b1-93e7-4c08-9786-4ed81315a653" providerId="ADAL" clId="{35CE40C1-3F8C-4A88-9CD7-233EB173ACA1}" dt="2021-08-01T09:59:38.159" v="4129" actId="165"/>
          <ac:grpSpMkLst>
            <pc:docMk/>
            <pc:sldMk cId="1933103214" sldId="1718"/>
            <ac:grpSpMk id="13" creationId="{72A41D7B-8649-4007-A5FA-AD6A791A4E4D}"/>
          </ac:grpSpMkLst>
        </pc:grpChg>
        <pc:grpChg chg="del mod topLvl">
          <ac:chgData name="Yash Ratanpal" userId="5db668b1-93e7-4c08-9786-4ed81315a653" providerId="ADAL" clId="{35CE40C1-3F8C-4A88-9CD7-233EB173ACA1}" dt="2021-08-01T10:03:08.167" v="4157" actId="165"/>
          <ac:grpSpMkLst>
            <pc:docMk/>
            <pc:sldMk cId="1933103214" sldId="1718"/>
            <ac:grpSpMk id="14" creationId="{620D4E4F-8806-403B-AF66-4B488F234C7A}"/>
          </ac:grpSpMkLst>
        </pc:grpChg>
      </pc:sldChg>
      <pc:sldChg chg="modSp del mod">
        <pc:chgData name="Yash Ratanpal" userId="5db668b1-93e7-4c08-9786-4ed81315a653" providerId="ADAL" clId="{35CE40C1-3F8C-4A88-9CD7-233EB173ACA1}" dt="2021-08-01T07:14:04.210" v="1339" actId="47"/>
        <pc:sldMkLst>
          <pc:docMk/>
          <pc:sldMk cId="1229414437" sldId="1719"/>
        </pc:sldMkLst>
        <pc:spChg chg="mod">
          <ac:chgData name="Yash Ratanpal" userId="5db668b1-93e7-4c08-9786-4ed81315a653" providerId="ADAL" clId="{35CE40C1-3F8C-4A88-9CD7-233EB173ACA1}" dt="2021-08-01T07:10:50.540" v="1333" actId="20577"/>
          <ac:spMkLst>
            <pc:docMk/>
            <pc:sldMk cId="1229414437" sldId="1719"/>
            <ac:spMk id="29" creationId="{3BB125DB-D1A7-4BBE-AC67-EFAC8CEC466C}"/>
          </ac:spMkLst>
        </pc:spChg>
      </pc:sldChg>
      <pc:sldChg chg="addSp delSp modSp del mod">
        <pc:chgData name="Yash Ratanpal" userId="5db668b1-93e7-4c08-9786-4ed81315a653" providerId="ADAL" clId="{35CE40C1-3F8C-4A88-9CD7-233EB173ACA1}" dt="2021-08-09T19:37:57.436" v="17475" actId="47"/>
        <pc:sldMkLst>
          <pc:docMk/>
          <pc:sldMk cId="4288182040" sldId="1722"/>
        </pc:sldMkLst>
        <pc:spChg chg="del">
          <ac:chgData name="Yash Ratanpal" userId="5db668b1-93e7-4c08-9786-4ed81315a653" providerId="ADAL" clId="{35CE40C1-3F8C-4A88-9CD7-233EB173ACA1}" dt="2021-08-09T19:12:37.053" v="15490" actId="478"/>
          <ac:spMkLst>
            <pc:docMk/>
            <pc:sldMk cId="4288182040" sldId="1722"/>
            <ac:spMk id="3" creationId="{00000000-0000-0000-0000-000000000000}"/>
          </ac:spMkLst>
        </pc:spChg>
        <pc:spChg chg="add mod">
          <ac:chgData name="Yash Ratanpal" userId="5db668b1-93e7-4c08-9786-4ed81315a653" providerId="ADAL" clId="{35CE40C1-3F8C-4A88-9CD7-233EB173ACA1}" dt="2021-08-09T19:21:32.639" v="15642" actId="20577"/>
          <ac:spMkLst>
            <pc:docMk/>
            <pc:sldMk cId="4288182040" sldId="1722"/>
            <ac:spMk id="24" creationId="{EEDF321D-65E5-4E2C-94A3-CA6E25D2B4E1}"/>
          </ac:spMkLst>
        </pc:spChg>
        <pc:spChg chg="add mod">
          <ac:chgData name="Yash Ratanpal" userId="5db668b1-93e7-4c08-9786-4ed81315a653" providerId="ADAL" clId="{35CE40C1-3F8C-4A88-9CD7-233EB173ACA1}" dt="2021-08-09T19:29:56.430" v="16716" actId="20577"/>
          <ac:spMkLst>
            <pc:docMk/>
            <pc:sldMk cId="4288182040" sldId="1722"/>
            <ac:spMk id="25" creationId="{154178BC-23D4-4CD2-BDD2-A40047BDC58F}"/>
          </ac:spMkLst>
        </pc:spChg>
        <pc:spChg chg="mod">
          <ac:chgData name="Yash Ratanpal" userId="5db668b1-93e7-4c08-9786-4ed81315a653" providerId="ADAL" clId="{35CE40C1-3F8C-4A88-9CD7-233EB173ACA1}" dt="2021-08-09T19:16:34.818" v="15581" actId="207"/>
          <ac:spMkLst>
            <pc:docMk/>
            <pc:sldMk cId="4288182040" sldId="1722"/>
            <ac:spMk id="31" creationId="{55535C11-75F3-49F4-A663-C02EBD884F9E}"/>
          </ac:spMkLst>
        </pc:spChg>
        <pc:spChg chg="add mod">
          <ac:chgData name="Yash Ratanpal" userId="5db668b1-93e7-4c08-9786-4ed81315a653" providerId="ADAL" clId="{35CE40C1-3F8C-4A88-9CD7-233EB173ACA1}" dt="2021-08-09T19:32:00.734" v="17037" actId="33524"/>
          <ac:spMkLst>
            <pc:docMk/>
            <pc:sldMk cId="4288182040" sldId="1722"/>
            <ac:spMk id="32" creationId="{4D382AFD-FC41-405A-B827-5609772C9CE5}"/>
          </ac:spMkLst>
        </pc:spChg>
        <pc:spChg chg="add mod">
          <ac:chgData name="Yash Ratanpal" userId="5db668b1-93e7-4c08-9786-4ed81315a653" providerId="ADAL" clId="{35CE40C1-3F8C-4A88-9CD7-233EB173ACA1}" dt="2021-08-09T19:32:34.890" v="17139" actId="20577"/>
          <ac:spMkLst>
            <pc:docMk/>
            <pc:sldMk cId="4288182040" sldId="1722"/>
            <ac:spMk id="33" creationId="{8AB58FA2-47C8-44FB-A70E-3CB21A5052AF}"/>
          </ac:spMkLst>
        </pc:spChg>
        <pc:spChg chg="add del mod">
          <ac:chgData name="Yash Ratanpal" userId="5db668b1-93e7-4c08-9786-4ed81315a653" providerId="ADAL" clId="{35CE40C1-3F8C-4A88-9CD7-233EB173ACA1}" dt="2021-08-09T19:27:31.107" v="16253" actId="478"/>
          <ac:spMkLst>
            <pc:docMk/>
            <pc:sldMk cId="4288182040" sldId="1722"/>
            <ac:spMk id="34" creationId="{67E7B379-51B1-4A97-A490-5E5304651B8C}"/>
          </ac:spMkLst>
        </pc:spChg>
        <pc:spChg chg="add del mod">
          <ac:chgData name="Yash Ratanpal" userId="5db668b1-93e7-4c08-9786-4ed81315a653" providerId="ADAL" clId="{35CE40C1-3F8C-4A88-9CD7-233EB173ACA1}" dt="2021-08-09T19:27:31.107" v="16253" actId="478"/>
          <ac:spMkLst>
            <pc:docMk/>
            <pc:sldMk cId="4288182040" sldId="1722"/>
            <ac:spMk id="35" creationId="{68C82D85-2DAF-40EA-B8A0-BD5E877D5C98}"/>
          </ac:spMkLst>
        </pc:spChg>
        <pc:spChg chg="add del mod">
          <ac:chgData name="Yash Ratanpal" userId="5db668b1-93e7-4c08-9786-4ed81315a653" providerId="ADAL" clId="{35CE40C1-3F8C-4A88-9CD7-233EB173ACA1}" dt="2021-08-09T19:27:31.107" v="16253" actId="478"/>
          <ac:spMkLst>
            <pc:docMk/>
            <pc:sldMk cId="4288182040" sldId="1722"/>
            <ac:spMk id="36" creationId="{7882614F-1F38-418C-8CA7-C71C36316D0B}"/>
          </ac:spMkLst>
        </pc:spChg>
        <pc:spChg chg="add del mod">
          <ac:chgData name="Yash Ratanpal" userId="5db668b1-93e7-4c08-9786-4ed81315a653" providerId="ADAL" clId="{35CE40C1-3F8C-4A88-9CD7-233EB173ACA1}" dt="2021-08-09T19:27:31.107" v="16253" actId="478"/>
          <ac:spMkLst>
            <pc:docMk/>
            <pc:sldMk cId="4288182040" sldId="1722"/>
            <ac:spMk id="37" creationId="{9F920F26-D34A-45F9-B946-21A4FBC0D66D}"/>
          </ac:spMkLst>
        </pc:spChg>
        <pc:spChg chg="mod">
          <ac:chgData name="Yash Ratanpal" userId="5db668b1-93e7-4c08-9786-4ed81315a653" providerId="ADAL" clId="{35CE40C1-3F8C-4A88-9CD7-233EB173ACA1}" dt="2021-08-09T19:16:34.818" v="15581" actId="207"/>
          <ac:spMkLst>
            <pc:docMk/>
            <pc:sldMk cId="4288182040" sldId="1722"/>
            <ac:spMk id="38" creationId="{245C8DF8-30A6-4B19-BE95-7A8E024E5C27}"/>
          </ac:spMkLst>
        </pc:spChg>
        <pc:spChg chg="mod">
          <ac:chgData name="Yash Ratanpal" userId="5db668b1-93e7-4c08-9786-4ed81315a653" providerId="ADAL" clId="{35CE40C1-3F8C-4A88-9CD7-233EB173ACA1}" dt="2021-08-09T19:16:34.818" v="15581" actId="207"/>
          <ac:spMkLst>
            <pc:docMk/>
            <pc:sldMk cId="4288182040" sldId="1722"/>
            <ac:spMk id="39" creationId="{1C0D6623-7194-460B-A0C5-780B4420DF22}"/>
          </ac:spMkLst>
        </pc:spChg>
        <pc:spChg chg="mod">
          <ac:chgData name="Yash Ratanpal" userId="5db668b1-93e7-4c08-9786-4ed81315a653" providerId="ADAL" clId="{35CE40C1-3F8C-4A88-9CD7-233EB173ACA1}" dt="2021-08-09T19:16:34.818" v="15581" actId="207"/>
          <ac:spMkLst>
            <pc:docMk/>
            <pc:sldMk cId="4288182040" sldId="1722"/>
            <ac:spMk id="40" creationId="{E0F956C4-60C6-41F3-A419-61DF8FD9B3DC}"/>
          </ac:spMkLst>
        </pc:spChg>
        <pc:spChg chg="mod">
          <ac:chgData name="Yash Ratanpal" userId="5db668b1-93e7-4c08-9786-4ed81315a653" providerId="ADAL" clId="{35CE40C1-3F8C-4A88-9CD7-233EB173ACA1}" dt="2021-08-09T19:16:11.877" v="15579" actId="207"/>
          <ac:spMkLst>
            <pc:docMk/>
            <pc:sldMk cId="4288182040" sldId="1722"/>
            <ac:spMk id="41" creationId="{E921A1AA-DBEE-41B7-B897-E8D2CF51C345}"/>
          </ac:spMkLst>
        </pc:spChg>
        <pc:spChg chg="mod">
          <ac:chgData name="Yash Ratanpal" userId="5db668b1-93e7-4c08-9786-4ed81315a653" providerId="ADAL" clId="{35CE40C1-3F8C-4A88-9CD7-233EB173ACA1}" dt="2021-08-09T19:16:11.877" v="15579" actId="207"/>
          <ac:spMkLst>
            <pc:docMk/>
            <pc:sldMk cId="4288182040" sldId="1722"/>
            <ac:spMk id="42" creationId="{E17C0559-A481-48D3-8211-62FCA3410060}"/>
          </ac:spMkLst>
        </pc:spChg>
        <pc:spChg chg="mod">
          <ac:chgData name="Yash Ratanpal" userId="5db668b1-93e7-4c08-9786-4ed81315a653" providerId="ADAL" clId="{35CE40C1-3F8C-4A88-9CD7-233EB173ACA1}" dt="2021-08-09T19:16:11.877" v="15579" actId="207"/>
          <ac:spMkLst>
            <pc:docMk/>
            <pc:sldMk cId="4288182040" sldId="1722"/>
            <ac:spMk id="43" creationId="{F0410424-8012-4734-AE3F-36AA2A593BBA}"/>
          </ac:spMkLst>
        </pc:spChg>
        <pc:spChg chg="mod">
          <ac:chgData name="Yash Ratanpal" userId="5db668b1-93e7-4c08-9786-4ed81315a653" providerId="ADAL" clId="{35CE40C1-3F8C-4A88-9CD7-233EB173ACA1}" dt="2021-08-09T19:16:11.877" v="15579" actId="207"/>
          <ac:spMkLst>
            <pc:docMk/>
            <pc:sldMk cId="4288182040" sldId="1722"/>
            <ac:spMk id="44" creationId="{70567136-357A-426C-B867-FED04B2BA383}"/>
          </ac:spMkLst>
        </pc:spChg>
        <pc:spChg chg="mod">
          <ac:chgData name="Yash Ratanpal" userId="5db668b1-93e7-4c08-9786-4ed81315a653" providerId="ADAL" clId="{35CE40C1-3F8C-4A88-9CD7-233EB173ACA1}" dt="2021-08-09T19:28:27.587" v="16400" actId="20577"/>
          <ac:spMkLst>
            <pc:docMk/>
            <pc:sldMk cId="4288182040" sldId="1722"/>
            <ac:spMk id="45" creationId="{8F37BF69-8CE0-47C9-B7B4-135029BF3446}"/>
          </ac:spMkLst>
        </pc:spChg>
        <pc:spChg chg="del mod">
          <ac:chgData name="Yash Ratanpal" userId="5db668b1-93e7-4c08-9786-4ed81315a653" providerId="ADAL" clId="{35CE40C1-3F8C-4A88-9CD7-233EB173ACA1}" dt="2021-08-09T19:15:02.921" v="15561" actId="478"/>
          <ac:spMkLst>
            <pc:docMk/>
            <pc:sldMk cId="4288182040" sldId="1722"/>
            <ac:spMk id="46" creationId="{63083E40-7133-4B09-9B75-1FA14ED28BA6}"/>
          </ac:spMkLst>
        </pc:spChg>
        <pc:spChg chg="del mod">
          <ac:chgData name="Yash Ratanpal" userId="5db668b1-93e7-4c08-9786-4ed81315a653" providerId="ADAL" clId="{35CE40C1-3F8C-4A88-9CD7-233EB173ACA1}" dt="2021-08-09T19:15:08.539" v="15564" actId="478"/>
          <ac:spMkLst>
            <pc:docMk/>
            <pc:sldMk cId="4288182040" sldId="1722"/>
            <ac:spMk id="47" creationId="{0C6D603B-5619-471F-A557-F8DDB4D1FFEE}"/>
          </ac:spMkLst>
        </pc:spChg>
        <pc:spChg chg="del">
          <ac:chgData name="Yash Ratanpal" userId="5db668b1-93e7-4c08-9786-4ed81315a653" providerId="ADAL" clId="{35CE40C1-3F8C-4A88-9CD7-233EB173ACA1}" dt="2021-08-09T19:12:53.146" v="15530" actId="478"/>
          <ac:spMkLst>
            <pc:docMk/>
            <pc:sldMk cId="4288182040" sldId="1722"/>
            <ac:spMk id="48" creationId="{CDB3F676-349C-4475-8874-32B38348CA6E}"/>
          </ac:spMkLst>
        </pc:spChg>
        <pc:spChg chg="del mod">
          <ac:chgData name="Yash Ratanpal" userId="5db668b1-93e7-4c08-9786-4ed81315a653" providerId="ADAL" clId="{35CE40C1-3F8C-4A88-9CD7-233EB173ACA1}" dt="2021-08-09T19:15:04.564" v="15562" actId="478"/>
          <ac:spMkLst>
            <pc:docMk/>
            <pc:sldMk cId="4288182040" sldId="1722"/>
            <ac:spMk id="49" creationId="{B060F468-16DA-430D-8026-F9DCEDECCA26}"/>
          </ac:spMkLst>
        </pc:spChg>
        <pc:spChg chg="del mod">
          <ac:chgData name="Yash Ratanpal" userId="5db668b1-93e7-4c08-9786-4ed81315a653" providerId="ADAL" clId="{35CE40C1-3F8C-4A88-9CD7-233EB173ACA1}" dt="2021-08-09T19:15:01.587" v="15560" actId="478"/>
          <ac:spMkLst>
            <pc:docMk/>
            <pc:sldMk cId="4288182040" sldId="1722"/>
            <ac:spMk id="50" creationId="{DC196956-6B36-4EF0-985B-DCDC2692A6FD}"/>
          </ac:spMkLst>
        </pc:spChg>
        <pc:spChg chg="del mod">
          <ac:chgData name="Yash Ratanpal" userId="5db668b1-93e7-4c08-9786-4ed81315a653" providerId="ADAL" clId="{35CE40C1-3F8C-4A88-9CD7-233EB173ACA1}" dt="2021-08-09T19:15:05.852" v="15563" actId="478"/>
          <ac:spMkLst>
            <pc:docMk/>
            <pc:sldMk cId="4288182040" sldId="1722"/>
            <ac:spMk id="51" creationId="{64D9C3BA-943A-47E9-B48F-F6B661059B53}"/>
          </ac:spMkLst>
        </pc:spChg>
        <pc:spChg chg="mod">
          <ac:chgData name="Yash Ratanpal" userId="5db668b1-93e7-4c08-9786-4ed81315a653" providerId="ADAL" clId="{35CE40C1-3F8C-4A88-9CD7-233EB173ACA1}" dt="2021-08-09T19:16:59.994" v="15585" actId="207"/>
          <ac:spMkLst>
            <pc:docMk/>
            <pc:sldMk cId="4288182040" sldId="1722"/>
            <ac:spMk id="53" creationId="{77E46A32-8258-4884-9D22-0ACF05F7286D}"/>
          </ac:spMkLst>
        </pc:spChg>
        <pc:spChg chg="mod">
          <ac:chgData name="Yash Ratanpal" userId="5db668b1-93e7-4c08-9786-4ed81315a653" providerId="ADAL" clId="{35CE40C1-3F8C-4A88-9CD7-233EB173ACA1}" dt="2021-08-09T19:16:59.994" v="15585" actId="207"/>
          <ac:spMkLst>
            <pc:docMk/>
            <pc:sldMk cId="4288182040" sldId="1722"/>
            <ac:spMk id="54" creationId="{30D92392-3749-47FA-8DED-56A0B80A6520}"/>
          </ac:spMkLst>
        </pc:spChg>
        <pc:spChg chg="mod">
          <ac:chgData name="Yash Ratanpal" userId="5db668b1-93e7-4c08-9786-4ed81315a653" providerId="ADAL" clId="{35CE40C1-3F8C-4A88-9CD7-233EB173ACA1}" dt="2021-08-09T19:16:59.994" v="15585" actId="207"/>
          <ac:spMkLst>
            <pc:docMk/>
            <pc:sldMk cId="4288182040" sldId="1722"/>
            <ac:spMk id="56" creationId="{0ACFC4E0-6811-4CC1-A3EE-E70B5F455180}"/>
          </ac:spMkLst>
        </pc:spChg>
        <pc:spChg chg="mod">
          <ac:chgData name="Yash Ratanpal" userId="5db668b1-93e7-4c08-9786-4ed81315a653" providerId="ADAL" clId="{35CE40C1-3F8C-4A88-9CD7-233EB173ACA1}" dt="2021-08-09T19:16:59.994" v="15585" actId="207"/>
          <ac:spMkLst>
            <pc:docMk/>
            <pc:sldMk cId="4288182040" sldId="1722"/>
            <ac:spMk id="57" creationId="{D3E21358-10F1-4BE3-8C74-678DF810724F}"/>
          </ac:spMkLst>
        </pc:spChg>
        <pc:spChg chg="add del mod">
          <ac:chgData name="Yash Ratanpal" userId="5db668b1-93e7-4c08-9786-4ed81315a653" providerId="ADAL" clId="{35CE40C1-3F8C-4A88-9CD7-233EB173ACA1}" dt="2021-08-09T19:20:40.950" v="15620" actId="478"/>
          <ac:spMkLst>
            <pc:docMk/>
            <pc:sldMk cId="4288182040" sldId="1722"/>
            <ac:spMk id="58" creationId="{57A02CBB-D25D-499D-A2EE-A56984A7EDA6}"/>
          </ac:spMkLst>
        </pc:spChg>
        <pc:spChg chg="add del mod">
          <ac:chgData name="Yash Ratanpal" userId="5db668b1-93e7-4c08-9786-4ed81315a653" providerId="ADAL" clId="{35CE40C1-3F8C-4A88-9CD7-233EB173ACA1}" dt="2021-08-09T19:20:40.230" v="15619" actId="478"/>
          <ac:spMkLst>
            <pc:docMk/>
            <pc:sldMk cId="4288182040" sldId="1722"/>
            <ac:spMk id="59" creationId="{CB4B3306-525C-4660-B333-AED806ABAA90}"/>
          </ac:spMkLst>
        </pc:spChg>
        <pc:spChg chg="add mod">
          <ac:chgData name="Yash Ratanpal" userId="5db668b1-93e7-4c08-9786-4ed81315a653" providerId="ADAL" clId="{35CE40C1-3F8C-4A88-9CD7-233EB173ACA1}" dt="2021-08-09T19:29:05.570" v="16544" actId="20577"/>
          <ac:spMkLst>
            <pc:docMk/>
            <pc:sldMk cId="4288182040" sldId="1722"/>
            <ac:spMk id="60" creationId="{729B6CF5-D5E7-440D-BDBC-C8463B81AE93}"/>
          </ac:spMkLst>
        </pc:spChg>
        <pc:spChg chg="add mod">
          <ac:chgData name="Yash Ratanpal" userId="5db668b1-93e7-4c08-9786-4ed81315a653" providerId="ADAL" clId="{35CE40C1-3F8C-4A88-9CD7-233EB173ACA1}" dt="2021-08-09T19:30:12.540" v="16725" actId="20577"/>
          <ac:spMkLst>
            <pc:docMk/>
            <pc:sldMk cId="4288182040" sldId="1722"/>
            <ac:spMk id="61" creationId="{6FACB367-ACD8-4494-9368-25A3A450C428}"/>
          </ac:spMkLst>
        </pc:spChg>
        <pc:spChg chg="add mod">
          <ac:chgData name="Yash Ratanpal" userId="5db668b1-93e7-4c08-9786-4ed81315a653" providerId="ADAL" clId="{35CE40C1-3F8C-4A88-9CD7-233EB173ACA1}" dt="2021-08-09T19:32:11.076" v="17043" actId="20577"/>
          <ac:spMkLst>
            <pc:docMk/>
            <pc:sldMk cId="4288182040" sldId="1722"/>
            <ac:spMk id="62" creationId="{ABAA9FED-1F29-42EA-9654-C06972C5750F}"/>
          </ac:spMkLst>
        </pc:spChg>
        <pc:spChg chg="add mod">
          <ac:chgData name="Yash Ratanpal" userId="5db668b1-93e7-4c08-9786-4ed81315a653" providerId="ADAL" clId="{35CE40C1-3F8C-4A88-9CD7-233EB173ACA1}" dt="2021-08-09T19:27:36.946" v="16255" actId="1076"/>
          <ac:spMkLst>
            <pc:docMk/>
            <pc:sldMk cId="4288182040" sldId="1722"/>
            <ac:spMk id="63" creationId="{7B2EFFAE-9F06-4E7F-B4AE-04D99DD46CC1}"/>
          </ac:spMkLst>
        </pc:spChg>
        <pc:grpChg chg="add mod">
          <ac:chgData name="Yash Ratanpal" userId="5db668b1-93e7-4c08-9786-4ed81315a653" providerId="ADAL" clId="{35CE40C1-3F8C-4A88-9CD7-233EB173ACA1}" dt="2021-08-09T19:17:22.345" v="15591" actId="1076"/>
          <ac:grpSpMkLst>
            <pc:docMk/>
            <pc:sldMk cId="4288182040" sldId="1722"/>
            <ac:grpSpMk id="4" creationId="{B00C07FD-4B2D-4EAA-9A69-5A54009721B6}"/>
          </ac:grpSpMkLst>
        </pc:grpChg>
        <pc:grpChg chg="del">
          <ac:chgData name="Yash Ratanpal" userId="5db668b1-93e7-4c08-9786-4ed81315a653" providerId="ADAL" clId="{35CE40C1-3F8C-4A88-9CD7-233EB173ACA1}" dt="2021-08-09T19:13:28.192" v="15537" actId="165"/>
          <ac:grpSpMkLst>
            <pc:docMk/>
            <pc:sldMk cId="4288182040" sldId="1722"/>
            <ac:grpSpMk id="26" creationId="{559F7B96-5A2B-4E8B-AF7C-4FA160B6FDBB}"/>
          </ac:grpSpMkLst>
        </pc:grpChg>
        <pc:grpChg chg="del mod topLvl">
          <ac:chgData name="Yash Ratanpal" userId="5db668b1-93e7-4c08-9786-4ed81315a653" providerId="ADAL" clId="{35CE40C1-3F8C-4A88-9CD7-233EB173ACA1}" dt="2021-08-09T19:16:48.259" v="15582" actId="478"/>
          <ac:grpSpMkLst>
            <pc:docMk/>
            <pc:sldMk cId="4288182040" sldId="1722"/>
            <ac:grpSpMk id="27" creationId="{44156A67-F202-4980-8709-326F9886F43B}"/>
          </ac:grpSpMkLst>
        </pc:grpChg>
        <pc:grpChg chg="del mod topLvl">
          <ac:chgData name="Yash Ratanpal" userId="5db668b1-93e7-4c08-9786-4ed81315a653" providerId="ADAL" clId="{35CE40C1-3F8C-4A88-9CD7-233EB173ACA1}" dt="2021-08-09T19:16:48.259" v="15582" actId="478"/>
          <ac:grpSpMkLst>
            <pc:docMk/>
            <pc:sldMk cId="4288182040" sldId="1722"/>
            <ac:grpSpMk id="28" creationId="{F6822EDF-8173-4502-8DA4-8AAB18E0F1A1}"/>
          </ac:grpSpMkLst>
        </pc:grpChg>
        <pc:grpChg chg="mod topLvl">
          <ac:chgData name="Yash Ratanpal" userId="5db668b1-93e7-4c08-9786-4ed81315a653" providerId="ADAL" clId="{35CE40C1-3F8C-4A88-9CD7-233EB173ACA1}" dt="2021-08-09T19:17:12.167" v="15586" actId="164"/>
          <ac:grpSpMkLst>
            <pc:docMk/>
            <pc:sldMk cId="4288182040" sldId="1722"/>
            <ac:grpSpMk id="29" creationId="{4BBC6193-D5DA-48B4-BA10-A427854430A1}"/>
          </ac:grpSpMkLst>
        </pc:grpChg>
        <pc:grpChg chg="mod topLvl">
          <ac:chgData name="Yash Ratanpal" userId="5db668b1-93e7-4c08-9786-4ed81315a653" providerId="ADAL" clId="{35CE40C1-3F8C-4A88-9CD7-233EB173ACA1}" dt="2021-08-09T19:17:12.167" v="15586" actId="164"/>
          <ac:grpSpMkLst>
            <pc:docMk/>
            <pc:sldMk cId="4288182040" sldId="1722"/>
            <ac:grpSpMk id="30" creationId="{CBF9F020-DA5A-48F6-A084-C6164940BC1F}"/>
          </ac:grpSpMkLst>
        </pc:grpChg>
        <pc:grpChg chg="add mod">
          <ac:chgData name="Yash Ratanpal" userId="5db668b1-93e7-4c08-9786-4ed81315a653" providerId="ADAL" clId="{35CE40C1-3F8C-4A88-9CD7-233EB173ACA1}" dt="2021-08-09T19:17:12.167" v="15586" actId="164"/>
          <ac:grpSpMkLst>
            <pc:docMk/>
            <pc:sldMk cId="4288182040" sldId="1722"/>
            <ac:grpSpMk id="52" creationId="{9B2053DD-69E7-48F3-9A04-F8CF63AAFD78}"/>
          </ac:grpSpMkLst>
        </pc:grpChg>
        <pc:grpChg chg="add mod">
          <ac:chgData name="Yash Ratanpal" userId="5db668b1-93e7-4c08-9786-4ed81315a653" providerId="ADAL" clId="{35CE40C1-3F8C-4A88-9CD7-233EB173ACA1}" dt="2021-08-09T19:17:12.167" v="15586" actId="164"/>
          <ac:grpSpMkLst>
            <pc:docMk/>
            <pc:sldMk cId="4288182040" sldId="1722"/>
            <ac:grpSpMk id="55" creationId="{8AE3EF66-F9D1-4512-880A-1BB355F420B3}"/>
          </ac:grpSpMkLst>
        </pc:grpChg>
      </pc:sldChg>
      <pc:sldChg chg="addSp delSp modSp mod">
        <pc:chgData name="Yash Ratanpal" userId="5db668b1-93e7-4c08-9786-4ed81315a653" providerId="ADAL" clId="{35CE40C1-3F8C-4A88-9CD7-233EB173ACA1}" dt="2021-08-07T09:16:32.113" v="6446" actId="1076"/>
        <pc:sldMkLst>
          <pc:docMk/>
          <pc:sldMk cId="31760108" sldId="1725"/>
        </pc:sldMkLst>
        <pc:spChg chg="mod">
          <ac:chgData name="Yash Ratanpal" userId="5db668b1-93e7-4c08-9786-4ed81315a653" providerId="ADAL" clId="{35CE40C1-3F8C-4A88-9CD7-233EB173ACA1}" dt="2021-08-07T09:12:04.363" v="6337" actId="1036"/>
          <ac:spMkLst>
            <pc:docMk/>
            <pc:sldMk cId="31760108" sldId="1725"/>
            <ac:spMk id="4" creationId="{CCD4D0DD-3AD1-4BB4-9FAA-449DDA84DB3F}"/>
          </ac:spMkLst>
        </pc:spChg>
        <pc:spChg chg="mod">
          <ac:chgData name="Yash Ratanpal" userId="5db668b1-93e7-4c08-9786-4ed81315a653" providerId="ADAL" clId="{35CE40C1-3F8C-4A88-9CD7-233EB173ACA1}" dt="2021-08-07T09:12:04.363" v="6337" actId="1036"/>
          <ac:spMkLst>
            <pc:docMk/>
            <pc:sldMk cId="31760108" sldId="1725"/>
            <ac:spMk id="52" creationId="{D426CD51-8884-485C-B1D6-B49A3EBE2C96}"/>
          </ac:spMkLst>
        </pc:spChg>
        <pc:spChg chg="add mod">
          <ac:chgData name="Yash Ratanpal" userId="5db668b1-93e7-4c08-9786-4ed81315a653" providerId="ADAL" clId="{35CE40C1-3F8C-4A88-9CD7-233EB173ACA1}" dt="2021-08-07T09:13:22.629" v="6439" actId="207"/>
          <ac:spMkLst>
            <pc:docMk/>
            <pc:sldMk cId="31760108" sldId="1725"/>
            <ac:spMk id="57" creationId="{BE0562D5-E78F-462F-BF89-6505FC30DD39}"/>
          </ac:spMkLst>
        </pc:spChg>
        <pc:spChg chg="mod">
          <ac:chgData name="Yash Ratanpal" userId="5db668b1-93e7-4c08-9786-4ed81315a653" providerId="ADAL" clId="{35CE40C1-3F8C-4A88-9CD7-233EB173ACA1}" dt="2021-08-07T09:12:04.363" v="6337" actId="1036"/>
          <ac:spMkLst>
            <pc:docMk/>
            <pc:sldMk cId="31760108" sldId="1725"/>
            <ac:spMk id="67" creationId="{25370BD6-8939-4C02-B583-D3036DC6852E}"/>
          </ac:spMkLst>
        </pc:spChg>
        <pc:spChg chg="mod">
          <ac:chgData name="Yash Ratanpal" userId="5db668b1-93e7-4c08-9786-4ed81315a653" providerId="ADAL" clId="{35CE40C1-3F8C-4A88-9CD7-233EB173ACA1}" dt="2021-08-07T09:13:28.827" v="6440" actId="20577"/>
          <ac:spMkLst>
            <pc:docMk/>
            <pc:sldMk cId="31760108" sldId="1725"/>
            <ac:spMk id="69" creationId="{E9B90832-5753-4BC4-94AE-8D62BF034EF7}"/>
          </ac:spMkLst>
        </pc:spChg>
        <pc:spChg chg="mod">
          <ac:chgData name="Yash Ratanpal" userId="5db668b1-93e7-4c08-9786-4ed81315a653" providerId="ADAL" clId="{35CE40C1-3F8C-4A88-9CD7-233EB173ACA1}" dt="2021-08-07T09:13:31.280" v="6441" actId="20577"/>
          <ac:spMkLst>
            <pc:docMk/>
            <pc:sldMk cId="31760108" sldId="1725"/>
            <ac:spMk id="115" creationId="{4F26BE46-7C80-41EA-ADB4-4A23B6AE6F45}"/>
          </ac:spMkLst>
        </pc:spChg>
        <pc:spChg chg="mod">
          <ac:chgData name="Yash Ratanpal" userId="5db668b1-93e7-4c08-9786-4ed81315a653" providerId="ADAL" clId="{35CE40C1-3F8C-4A88-9CD7-233EB173ACA1}" dt="2021-08-07T09:12:04.363" v="6337" actId="1036"/>
          <ac:spMkLst>
            <pc:docMk/>
            <pc:sldMk cId="31760108" sldId="1725"/>
            <ac:spMk id="116" creationId="{1F023FFC-1411-4EED-B7AC-5B2E1AD3FB00}"/>
          </ac:spMkLst>
        </pc:spChg>
        <pc:spChg chg="mod">
          <ac:chgData name="Yash Ratanpal" userId="5db668b1-93e7-4c08-9786-4ed81315a653" providerId="ADAL" clId="{35CE40C1-3F8C-4A88-9CD7-233EB173ACA1}" dt="2021-08-07T09:12:04.363" v="6337" actId="1036"/>
          <ac:spMkLst>
            <pc:docMk/>
            <pc:sldMk cId="31760108" sldId="1725"/>
            <ac:spMk id="157" creationId="{B9B65B1D-D934-4FBE-9601-6B1EA2FDB9EE}"/>
          </ac:spMkLst>
        </pc:spChg>
        <pc:spChg chg="mod">
          <ac:chgData name="Yash Ratanpal" userId="5db668b1-93e7-4c08-9786-4ed81315a653" providerId="ADAL" clId="{35CE40C1-3F8C-4A88-9CD7-233EB173ACA1}" dt="2021-08-07T09:12:04.363" v="6337" actId="1036"/>
          <ac:spMkLst>
            <pc:docMk/>
            <pc:sldMk cId="31760108" sldId="1725"/>
            <ac:spMk id="184" creationId="{788A32B9-3519-4F27-B87A-10D6BA1D8794}"/>
          </ac:spMkLst>
        </pc:spChg>
        <pc:spChg chg="mod">
          <ac:chgData name="Yash Ratanpal" userId="5db668b1-93e7-4c08-9786-4ed81315a653" providerId="ADAL" clId="{35CE40C1-3F8C-4A88-9CD7-233EB173ACA1}" dt="2021-08-07T09:12:04.363" v="6337" actId="1036"/>
          <ac:spMkLst>
            <pc:docMk/>
            <pc:sldMk cId="31760108" sldId="1725"/>
            <ac:spMk id="185" creationId="{1ED2DFF6-D395-437D-BC40-B99A8344DF31}"/>
          </ac:spMkLst>
        </pc:spChg>
        <pc:grpChg chg="mod">
          <ac:chgData name="Yash Ratanpal" userId="5db668b1-93e7-4c08-9786-4ed81315a653" providerId="ADAL" clId="{35CE40C1-3F8C-4A88-9CD7-233EB173ACA1}" dt="2021-08-07T09:12:04.363" v="6337" actId="1036"/>
          <ac:grpSpMkLst>
            <pc:docMk/>
            <pc:sldMk cId="31760108" sldId="1725"/>
            <ac:grpSpMk id="11" creationId="{738B0C55-F8FA-44CA-A50F-A379876CF3FB}"/>
          </ac:grpSpMkLst>
        </pc:grpChg>
        <pc:grpChg chg="mod">
          <ac:chgData name="Yash Ratanpal" userId="5db668b1-93e7-4c08-9786-4ed81315a653" providerId="ADAL" clId="{35CE40C1-3F8C-4A88-9CD7-233EB173ACA1}" dt="2021-08-07T09:12:04.363" v="6337" actId="1036"/>
          <ac:grpSpMkLst>
            <pc:docMk/>
            <pc:sldMk cId="31760108" sldId="1725"/>
            <ac:grpSpMk id="149" creationId="{B4B16D95-AA2B-4C16-9EC8-EE2FEF87D292}"/>
          </ac:grpSpMkLst>
        </pc:grpChg>
        <pc:graphicFrameChg chg="add del mod">
          <ac:chgData name="Yash Ratanpal" userId="5db668b1-93e7-4c08-9786-4ed81315a653" providerId="ADAL" clId="{35CE40C1-3F8C-4A88-9CD7-233EB173ACA1}" dt="2021-08-07T09:09:20.218" v="6284" actId="478"/>
          <ac:graphicFrameMkLst>
            <pc:docMk/>
            <pc:sldMk cId="31760108" sldId="1725"/>
            <ac:graphicFrameMk id="5" creationId="{00E49A3B-CBE8-414A-BEA9-614EEE250345}"/>
          </ac:graphicFrameMkLst>
        </pc:graphicFrameChg>
        <pc:graphicFrameChg chg="add del mod">
          <ac:chgData name="Yash Ratanpal" userId="5db668b1-93e7-4c08-9786-4ed81315a653" providerId="ADAL" clId="{35CE40C1-3F8C-4A88-9CD7-233EB173ACA1}" dt="2021-08-07T09:09:35.688" v="6286" actId="478"/>
          <ac:graphicFrameMkLst>
            <pc:docMk/>
            <pc:sldMk cId="31760108" sldId="1725"/>
            <ac:graphicFrameMk id="6" creationId="{D564AC79-F84B-4713-A7AD-184ABAE29316}"/>
          </ac:graphicFrameMkLst>
        </pc:graphicFrameChg>
        <pc:graphicFrameChg chg="add del mod">
          <ac:chgData name="Yash Ratanpal" userId="5db668b1-93e7-4c08-9786-4ed81315a653" providerId="ADAL" clId="{35CE40C1-3F8C-4A88-9CD7-233EB173ACA1}" dt="2021-08-07T09:10:02.032" v="6288" actId="478"/>
          <ac:graphicFrameMkLst>
            <pc:docMk/>
            <pc:sldMk cId="31760108" sldId="1725"/>
            <ac:graphicFrameMk id="7" creationId="{DC6E5EDF-D8E2-4B0C-818B-CBE4740B2BE4}"/>
          </ac:graphicFrameMkLst>
        </pc:graphicFrameChg>
        <pc:graphicFrameChg chg="add del mod">
          <ac:chgData name="Yash Ratanpal" userId="5db668b1-93e7-4c08-9786-4ed81315a653" providerId="ADAL" clId="{35CE40C1-3F8C-4A88-9CD7-233EB173ACA1}" dt="2021-08-07T09:14:25.748" v="6443" actId="478"/>
          <ac:graphicFrameMkLst>
            <pc:docMk/>
            <pc:sldMk cId="31760108" sldId="1725"/>
            <ac:graphicFrameMk id="8" creationId="{595997E0-0736-4A99-B5FC-C29F183EB837}"/>
          </ac:graphicFrameMkLst>
        </pc:graphicFrameChg>
        <pc:graphicFrameChg chg="add mod">
          <ac:chgData name="Yash Ratanpal" userId="5db668b1-93e7-4c08-9786-4ed81315a653" providerId="ADAL" clId="{35CE40C1-3F8C-4A88-9CD7-233EB173ACA1}" dt="2021-08-07T09:16:32.113" v="6446" actId="1076"/>
          <ac:graphicFrameMkLst>
            <pc:docMk/>
            <pc:sldMk cId="31760108" sldId="1725"/>
            <ac:graphicFrameMk id="13" creationId="{2D76259B-9354-499B-A4B7-89CA484F7613}"/>
          </ac:graphicFrameMkLst>
        </pc:graphicFrameChg>
        <pc:cxnChg chg="add del mod">
          <ac:chgData name="Yash Ratanpal" userId="5db668b1-93e7-4c08-9786-4ed81315a653" providerId="ADAL" clId="{35CE40C1-3F8C-4A88-9CD7-233EB173ACA1}" dt="2021-08-07T09:12:54.667" v="6426" actId="478"/>
          <ac:cxnSpMkLst>
            <pc:docMk/>
            <pc:sldMk cId="31760108" sldId="1725"/>
            <ac:cxnSpMk id="58" creationId="{25C412C8-E6D5-43CE-B678-48DF05E88353}"/>
          </ac:cxnSpMkLst>
        </pc:cxnChg>
      </pc:sldChg>
      <pc:sldChg chg="modSp mod ord">
        <pc:chgData name="Yash Ratanpal" userId="5db668b1-93e7-4c08-9786-4ed81315a653" providerId="ADAL" clId="{35CE40C1-3F8C-4A88-9CD7-233EB173ACA1}" dt="2021-08-07T13:09:17.765" v="7289"/>
        <pc:sldMkLst>
          <pc:docMk/>
          <pc:sldMk cId="3125260409" sldId="1732"/>
        </pc:sldMkLst>
        <pc:spChg chg="mod">
          <ac:chgData name="Yash Ratanpal" userId="5db668b1-93e7-4c08-9786-4ed81315a653" providerId="ADAL" clId="{35CE40C1-3F8C-4A88-9CD7-233EB173ACA1}" dt="2021-08-07T13:09:17.765" v="7289"/>
          <ac:spMkLst>
            <pc:docMk/>
            <pc:sldMk cId="3125260409" sldId="1732"/>
            <ac:spMk id="3" creationId="{00000000-0000-0000-0000-000000000000}"/>
          </ac:spMkLst>
        </pc:spChg>
      </pc:sldChg>
      <pc:sldChg chg="modSp mod">
        <pc:chgData name="Yash Ratanpal" userId="5db668b1-93e7-4c08-9786-4ed81315a653" providerId="ADAL" clId="{35CE40C1-3F8C-4A88-9CD7-233EB173ACA1}" dt="2021-08-01T06:54:24.032" v="1132" actId="20577"/>
        <pc:sldMkLst>
          <pc:docMk/>
          <pc:sldMk cId="152757834" sldId="1735"/>
        </pc:sldMkLst>
        <pc:spChg chg="mod">
          <ac:chgData name="Yash Ratanpal" userId="5db668b1-93e7-4c08-9786-4ed81315a653" providerId="ADAL" clId="{35CE40C1-3F8C-4A88-9CD7-233EB173ACA1}" dt="2021-08-01T06:54:20.150" v="1125" actId="20577"/>
          <ac:spMkLst>
            <pc:docMk/>
            <pc:sldMk cId="152757834" sldId="1735"/>
            <ac:spMk id="3" creationId="{00000000-0000-0000-0000-000000000000}"/>
          </ac:spMkLst>
        </pc:spChg>
        <pc:spChg chg="mod">
          <ac:chgData name="Yash Ratanpal" userId="5db668b1-93e7-4c08-9786-4ed81315a653" providerId="ADAL" clId="{35CE40C1-3F8C-4A88-9CD7-233EB173ACA1}" dt="2021-08-01T06:54:24.032" v="1132" actId="20577"/>
          <ac:spMkLst>
            <pc:docMk/>
            <pc:sldMk cId="152757834" sldId="1735"/>
            <ac:spMk id="66" creationId="{8A75C82D-1106-40F1-87E0-69CEB56E22AB}"/>
          </ac:spMkLst>
        </pc:spChg>
      </pc:sldChg>
      <pc:sldChg chg="addSp delSp modSp add mod delAnim modAnim">
        <pc:chgData name="Yash Ratanpal" userId="5db668b1-93e7-4c08-9786-4ed81315a653" providerId="ADAL" clId="{35CE40C1-3F8C-4A88-9CD7-233EB173ACA1}" dt="2021-08-01T06:53:51.892" v="1102" actId="1076"/>
        <pc:sldMkLst>
          <pc:docMk/>
          <pc:sldMk cId="633645246" sldId="1736"/>
        </pc:sldMkLst>
        <pc:spChg chg="mod">
          <ac:chgData name="Yash Ratanpal" userId="5db668b1-93e7-4c08-9786-4ed81315a653" providerId="ADAL" clId="{35CE40C1-3F8C-4A88-9CD7-233EB173ACA1}" dt="2021-08-01T06:53:51.892" v="1102" actId="1076"/>
          <ac:spMkLst>
            <pc:docMk/>
            <pc:sldMk cId="633645246" sldId="1736"/>
            <ac:spMk id="24" creationId="{3B3B2715-203A-4F18-BDFB-F540E4BE0F20}"/>
          </ac:spMkLst>
        </pc:spChg>
        <pc:spChg chg="add mod">
          <ac:chgData name="Yash Ratanpal" userId="5db668b1-93e7-4c08-9786-4ed81315a653" providerId="ADAL" clId="{35CE40C1-3F8C-4A88-9CD7-233EB173ACA1}" dt="2021-08-01T06:53:51.892" v="1102" actId="1076"/>
          <ac:spMkLst>
            <pc:docMk/>
            <pc:sldMk cId="633645246" sldId="1736"/>
            <ac:spMk id="31" creationId="{562B3D8B-A017-4B13-A3D4-E6B9180A0441}"/>
          </ac:spMkLst>
        </pc:spChg>
        <pc:spChg chg="add mod">
          <ac:chgData name="Yash Ratanpal" userId="5db668b1-93e7-4c08-9786-4ed81315a653" providerId="ADAL" clId="{35CE40C1-3F8C-4A88-9CD7-233EB173ACA1}" dt="2021-08-01T06:53:51.892" v="1102" actId="1076"/>
          <ac:spMkLst>
            <pc:docMk/>
            <pc:sldMk cId="633645246" sldId="1736"/>
            <ac:spMk id="32" creationId="{4A3B9600-494C-4B8D-BDFE-4C257031D931}"/>
          </ac:spMkLst>
        </pc:spChg>
        <pc:spChg chg="del">
          <ac:chgData name="Yash Ratanpal" userId="5db668b1-93e7-4c08-9786-4ed81315a653" providerId="ADAL" clId="{35CE40C1-3F8C-4A88-9CD7-233EB173ACA1}" dt="2021-08-01T06:37:32.920" v="687" actId="478"/>
          <ac:spMkLst>
            <pc:docMk/>
            <pc:sldMk cId="633645246" sldId="1736"/>
            <ac:spMk id="44" creationId="{18D053E3-4D72-4F40-88C0-89CD6BCF7587}"/>
          </ac:spMkLst>
        </pc:spChg>
        <pc:spChg chg="mod">
          <ac:chgData name="Yash Ratanpal" userId="5db668b1-93e7-4c08-9786-4ed81315a653" providerId="ADAL" clId="{35CE40C1-3F8C-4A88-9CD7-233EB173ACA1}" dt="2021-08-01T06:39:26.505" v="781" actId="20577"/>
          <ac:spMkLst>
            <pc:docMk/>
            <pc:sldMk cId="633645246" sldId="1736"/>
            <ac:spMk id="45" creationId="{8E1DEEED-B1FA-4B32-9931-0C2EBE54E346}"/>
          </ac:spMkLst>
        </pc:spChg>
        <pc:spChg chg="mod">
          <ac:chgData name="Yash Ratanpal" userId="5db668b1-93e7-4c08-9786-4ed81315a653" providerId="ADAL" clId="{35CE40C1-3F8C-4A88-9CD7-233EB173ACA1}" dt="2021-08-01T06:45:28.354" v="873" actId="20577"/>
          <ac:spMkLst>
            <pc:docMk/>
            <pc:sldMk cId="633645246" sldId="1736"/>
            <ac:spMk id="46" creationId="{A8911ADE-9082-4A9A-9F9A-8655EFB53F07}"/>
          </ac:spMkLst>
        </pc:spChg>
        <pc:spChg chg="mod">
          <ac:chgData name="Yash Ratanpal" userId="5db668b1-93e7-4c08-9786-4ed81315a653" providerId="ADAL" clId="{35CE40C1-3F8C-4A88-9CD7-233EB173ACA1}" dt="2021-08-01T06:39:43.954" v="784" actId="20577"/>
          <ac:spMkLst>
            <pc:docMk/>
            <pc:sldMk cId="633645246" sldId="1736"/>
            <ac:spMk id="47" creationId="{B87476C1-D7DC-4DF0-874E-BFD6A69181EE}"/>
          </ac:spMkLst>
        </pc:spChg>
        <pc:spChg chg="del mod">
          <ac:chgData name="Yash Ratanpal" userId="5db668b1-93e7-4c08-9786-4ed81315a653" providerId="ADAL" clId="{35CE40C1-3F8C-4A88-9CD7-233EB173ACA1}" dt="2021-08-01T06:37:52.764" v="692" actId="478"/>
          <ac:spMkLst>
            <pc:docMk/>
            <pc:sldMk cId="633645246" sldId="1736"/>
            <ac:spMk id="48" creationId="{D816A941-F97F-4757-93AA-DC184ADE6307}"/>
          </ac:spMkLst>
        </pc:spChg>
        <pc:spChg chg="del">
          <ac:chgData name="Yash Ratanpal" userId="5db668b1-93e7-4c08-9786-4ed81315a653" providerId="ADAL" clId="{35CE40C1-3F8C-4A88-9CD7-233EB173ACA1}" dt="2021-08-01T06:37:53.330" v="693" actId="478"/>
          <ac:spMkLst>
            <pc:docMk/>
            <pc:sldMk cId="633645246" sldId="1736"/>
            <ac:spMk id="49" creationId="{0B312508-1040-4C29-9458-D3731BBA9DC2}"/>
          </ac:spMkLst>
        </pc:spChg>
        <pc:spChg chg="mod">
          <ac:chgData name="Yash Ratanpal" userId="5db668b1-93e7-4c08-9786-4ed81315a653" providerId="ADAL" clId="{35CE40C1-3F8C-4A88-9CD7-233EB173ACA1}" dt="2021-08-01T06:49:35.083" v="1058" actId="164"/>
          <ac:spMkLst>
            <pc:docMk/>
            <pc:sldMk cId="633645246" sldId="1736"/>
            <ac:spMk id="51" creationId="{2882A36E-C2B9-40C4-B9D3-FD4CEB00AC12}"/>
          </ac:spMkLst>
        </pc:spChg>
        <pc:spChg chg="mod">
          <ac:chgData name="Yash Ratanpal" userId="5db668b1-93e7-4c08-9786-4ed81315a653" providerId="ADAL" clId="{35CE40C1-3F8C-4A88-9CD7-233EB173ACA1}" dt="2021-08-01T06:49:35.083" v="1058" actId="164"/>
          <ac:spMkLst>
            <pc:docMk/>
            <pc:sldMk cId="633645246" sldId="1736"/>
            <ac:spMk id="52" creationId="{67C708B9-E023-4596-912F-A37ABCA6F32C}"/>
          </ac:spMkLst>
        </pc:spChg>
        <pc:spChg chg="mod">
          <ac:chgData name="Yash Ratanpal" userId="5db668b1-93e7-4c08-9786-4ed81315a653" providerId="ADAL" clId="{35CE40C1-3F8C-4A88-9CD7-233EB173ACA1}" dt="2021-08-01T06:49:35.083" v="1058" actId="164"/>
          <ac:spMkLst>
            <pc:docMk/>
            <pc:sldMk cId="633645246" sldId="1736"/>
            <ac:spMk id="53" creationId="{33E2A43A-DF57-4BD3-8020-5D96B1CAE513}"/>
          </ac:spMkLst>
        </pc:spChg>
        <pc:spChg chg="mod">
          <ac:chgData name="Yash Ratanpal" userId="5db668b1-93e7-4c08-9786-4ed81315a653" providerId="ADAL" clId="{35CE40C1-3F8C-4A88-9CD7-233EB173ACA1}" dt="2021-08-01T06:49:35.083" v="1058" actId="164"/>
          <ac:spMkLst>
            <pc:docMk/>
            <pc:sldMk cId="633645246" sldId="1736"/>
            <ac:spMk id="54" creationId="{F74BB39E-3679-4257-9F8C-EE6952AFC26C}"/>
          </ac:spMkLst>
        </pc:spChg>
        <pc:spChg chg="mod">
          <ac:chgData name="Yash Ratanpal" userId="5db668b1-93e7-4c08-9786-4ed81315a653" providerId="ADAL" clId="{35CE40C1-3F8C-4A88-9CD7-233EB173ACA1}" dt="2021-08-01T06:49:35.083" v="1058" actId="164"/>
          <ac:spMkLst>
            <pc:docMk/>
            <pc:sldMk cId="633645246" sldId="1736"/>
            <ac:spMk id="55" creationId="{0B47A598-4304-4C4D-B131-7D0010A41170}"/>
          </ac:spMkLst>
        </pc:spChg>
        <pc:spChg chg="mod">
          <ac:chgData name="Yash Ratanpal" userId="5db668b1-93e7-4c08-9786-4ed81315a653" providerId="ADAL" clId="{35CE40C1-3F8C-4A88-9CD7-233EB173ACA1}" dt="2021-08-01T06:49:35.083" v="1058" actId="164"/>
          <ac:spMkLst>
            <pc:docMk/>
            <pc:sldMk cId="633645246" sldId="1736"/>
            <ac:spMk id="56" creationId="{B7DFBE8B-F5D6-4CFA-9A4B-6F68B93856D1}"/>
          </ac:spMkLst>
        </pc:spChg>
        <pc:spChg chg="mod">
          <ac:chgData name="Yash Ratanpal" userId="5db668b1-93e7-4c08-9786-4ed81315a653" providerId="ADAL" clId="{35CE40C1-3F8C-4A88-9CD7-233EB173ACA1}" dt="2021-08-01T06:49:35.083" v="1058" actId="164"/>
          <ac:spMkLst>
            <pc:docMk/>
            <pc:sldMk cId="633645246" sldId="1736"/>
            <ac:spMk id="57" creationId="{EB84AF79-D3EF-4A21-A499-3732A4E68BCE}"/>
          </ac:spMkLst>
        </pc:spChg>
        <pc:spChg chg="mod">
          <ac:chgData name="Yash Ratanpal" userId="5db668b1-93e7-4c08-9786-4ed81315a653" providerId="ADAL" clId="{35CE40C1-3F8C-4A88-9CD7-233EB173ACA1}" dt="2021-08-01T06:49:35.083" v="1058" actId="164"/>
          <ac:spMkLst>
            <pc:docMk/>
            <pc:sldMk cId="633645246" sldId="1736"/>
            <ac:spMk id="58" creationId="{D179174A-1C83-4082-AFE1-52A074F99BE1}"/>
          </ac:spMkLst>
        </pc:spChg>
        <pc:spChg chg="mod">
          <ac:chgData name="Yash Ratanpal" userId="5db668b1-93e7-4c08-9786-4ed81315a653" providerId="ADAL" clId="{35CE40C1-3F8C-4A88-9CD7-233EB173ACA1}" dt="2021-08-01T06:49:35.083" v="1058" actId="164"/>
          <ac:spMkLst>
            <pc:docMk/>
            <pc:sldMk cId="633645246" sldId="1736"/>
            <ac:spMk id="60" creationId="{FD8FC113-5929-41A2-9F10-3B17A7DCA1CF}"/>
          </ac:spMkLst>
        </pc:spChg>
        <pc:spChg chg="mod">
          <ac:chgData name="Yash Ratanpal" userId="5db668b1-93e7-4c08-9786-4ed81315a653" providerId="ADAL" clId="{35CE40C1-3F8C-4A88-9CD7-233EB173ACA1}" dt="2021-08-01T06:49:35.083" v="1058" actId="164"/>
          <ac:spMkLst>
            <pc:docMk/>
            <pc:sldMk cId="633645246" sldId="1736"/>
            <ac:spMk id="61" creationId="{42FFACC3-92A6-4F5D-9438-8C375BE01744}"/>
          </ac:spMkLst>
        </pc:spChg>
        <pc:spChg chg="mod">
          <ac:chgData name="Yash Ratanpal" userId="5db668b1-93e7-4c08-9786-4ed81315a653" providerId="ADAL" clId="{35CE40C1-3F8C-4A88-9CD7-233EB173ACA1}" dt="2021-08-01T06:49:35.083" v="1058" actId="164"/>
          <ac:spMkLst>
            <pc:docMk/>
            <pc:sldMk cId="633645246" sldId="1736"/>
            <ac:spMk id="62" creationId="{F3379764-C291-49D5-9520-E7B8836D2684}"/>
          </ac:spMkLst>
        </pc:spChg>
        <pc:grpChg chg="add mod">
          <ac:chgData name="Yash Ratanpal" userId="5db668b1-93e7-4c08-9786-4ed81315a653" providerId="ADAL" clId="{35CE40C1-3F8C-4A88-9CD7-233EB173ACA1}" dt="2021-08-01T06:53:51.892" v="1102" actId="1076"/>
          <ac:grpSpMkLst>
            <pc:docMk/>
            <pc:sldMk cId="633645246" sldId="1736"/>
            <ac:grpSpMk id="4" creationId="{77592CCD-259E-4905-B50F-DA2CC46DFCFF}"/>
          </ac:grpSpMkLst>
        </pc:grpChg>
        <pc:grpChg chg="add mod">
          <ac:chgData name="Yash Ratanpal" userId="5db668b1-93e7-4c08-9786-4ed81315a653" providerId="ADAL" clId="{35CE40C1-3F8C-4A88-9CD7-233EB173ACA1}" dt="2021-08-01T06:53:51.892" v="1102" actId="1076"/>
          <ac:grpSpMkLst>
            <pc:docMk/>
            <pc:sldMk cId="633645246" sldId="1736"/>
            <ac:grpSpMk id="5" creationId="{A77A5B1D-0B8C-4508-9DA9-19704EAE587E}"/>
          </ac:grpSpMkLst>
        </pc:grpChg>
        <pc:grpChg chg="mod">
          <ac:chgData name="Yash Ratanpal" userId="5db668b1-93e7-4c08-9786-4ed81315a653" providerId="ADAL" clId="{35CE40C1-3F8C-4A88-9CD7-233EB173ACA1}" dt="2021-08-01T06:53:51.892" v="1102" actId="1076"/>
          <ac:grpSpMkLst>
            <pc:docMk/>
            <pc:sldMk cId="633645246" sldId="1736"/>
            <ac:grpSpMk id="6" creationId="{FDBAD6D0-6299-4B6F-B6BF-315B4F9B0A0A}"/>
          </ac:grpSpMkLst>
        </pc:grpChg>
        <pc:cxnChg chg="mod">
          <ac:chgData name="Yash Ratanpal" userId="5db668b1-93e7-4c08-9786-4ed81315a653" providerId="ADAL" clId="{35CE40C1-3F8C-4A88-9CD7-233EB173ACA1}" dt="2021-08-01T06:49:35.083" v="1058" actId="164"/>
          <ac:cxnSpMkLst>
            <pc:docMk/>
            <pc:sldMk cId="633645246" sldId="1736"/>
            <ac:cxnSpMk id="59" creationId="{7E4C4578-94DE-4C1A-A4E9-FD5F68D92F36}"/>
          </ac:cxnSpMkLst>
        </pc:cxnChg>
        <pc:cxnChg chg="mod">
          <ac:chgData name="Yash Ratanpal" userId="5db668b1-93e7-4c08-9786-4ed81315a653" providerId="ADAL" clId="{35CE40C1-3F8C-4A88-9CD7-233EB173ACA1}" dt="2021-08-01T06:49:35.083" v="1058" actId="164"/>
          <ac:cxnSpMkLst>
            <pc:docMk/>
            <pc:sldMk cId="633645246" sldId="1736"/>
            <ac:cxnSpMk id="63" creationId="{B53DD93F-0C8C-44C3-BA96-23459CC6ACBD}"/>
          </ac:cxnSpMkLst>
        </pc:cxnChg>
      </pc:sldChg>
      <pc:sldChg chg="addSp delSp modSp add del mod">
        <pc:chgData name="Yash Ratanpal" userId="5db668b1-93e7-4c08-9786-4ed81315a653" providerId="ADAL" clId="{35CE40C1-3F8C-4A88-9CD7-233EB173ACA1}" dt="2021-08-01T08:37:54.393" v="2373" actId="47"/>
        <pc:sldMkLst>
          <pc:docMk/>
          <pc:sldMk cId="4283758684" sldId="1737"/>
        </pc:sldMkLst>
        <pc:spChg chg="mod">
          <ac:chgData name="Yash Ratanpal" userId="5db668b1-93e7-4c08-9786-4ed81315a653" providerId="ADAL" clId="{35CE40C1-3F8C-4A88-9CD7-233EB173ACA1}" dt="2021-08-01T08:32:29.256" v="2276" actId="20577"/>
          <ac:spMkLst>
            <pc:docMk/>
            <pc:sldMk cId="4283758684" sldId="1737"/>
            <ac:spMk id="3" creationId="{00000000-0000-0000-0000-000000000000}"/>
          </ac:spMkLst>
        </pc:spChg>
        <pc:spChg chg="mod">
          <ac:chgData name="Yash Ratanpal" userId="5db668b1-93e7-4c08-9786-4ed81315a653" providerId="ADAL" clId="{35CE40C1-3F8C-4A88-9CD7-233EB173ACA1}" dt="2021-08-01T07:59:02.894" v="1387"/>
          <ac:spMkLst>
            <pc:docMk/>
            <pc:sldMk cId="4283758684" sldId="1737"/>
            <ac:spMk id="14" creationId="{741207AF-39DE-4A06-B787-8BF23F2A5FEF}"/>
          </ac:spMkLst>
        </pc:spChg>
        <pc:spChg chg="mod">
          <ac:chgData name="Yash Ratanpal" userId="5db668b1-93e7-4c08-9786-4ed81315a653" providerId="ADAL" clId="{35CE40C1-3F8C-4A88-9CD7-233EB173ACA1}" dt="2021-08-01T07:59:02.894" v="1387"/>
          <ac:spMkLst>
            <pc:docMk/>
            <pc:sldMk cId="4283758684" sldId="1737"/>
            <ac:spMk id="15" creationId="{9C77B7F2-CC56-4299-9208-AB67F3947246}"/>
          </ac:spMkLst>
        </pc:spChg>
        <pc:spChg chg="add del mod topLvl">
          <ac:chgData name="Yash Ratanpal" userId="5db668b1-93e7-4c08-9786-4ed81315a653" providerId="ADAL" clId="{35CE40C1-3F8C-4A88-9CD7-233EB173ACA1}" dt="2021-08-01T08:15:20.169" v="1857" actId="478"/>
          <ac:spMkLst>
            <pc:docMk/>
            <pc:sldMk cId="4283758684" sldId="1737"/>
            <ac:spMk id="17" creationId="{4F771E9B-DA69-4AE6-A607-076ED42D29A7}"/>
          </ac:spMkLst>
        </pc:spChg>
        <pc:spChg chg="add del mod topLvl">
          <ac:chgData name="Yash Ratanpal" userId="5db668b1-93e7-4c08-9786-4ed81315a653" providerId="ADAL" clId="{35CE40C1-3F8C-4A88-9CD7-233EB173ACA1}" dt="2021-08-01T08:15:20.169" v="1857" actId="478"/>
          <ac:spMkLst>
            <pc:docMk/>
            <pc:sldMk cId="4283758684" sldId="1737"/>
            <ac:spMk id="18" creationId="{4B6A9C38-E611-4AB5-BBCD-D69A57BE016B}"/>
          </ac:spMkLst>
        </pc:spChg>
        <pc:spChg chg="mod">
          <ac:chgData name="Yash Ratanpal" userId="5db668b1-93e7-4c08-9786-4ed81315a653" providerId="ADAL" clId="{35CE40C1-3F8C-4A88-9CD7-233EB173ACA1}" dt="2021-08-01T07:54:10.095" v="1364" actId="165"/>
          <ac:spMkLst>
            <pc:docMk/>
            <pc:sldMk cId="4283758684" sldId="1737"/>
            <ac:spMk id="20" creationId="{865C0C48-4075-4336-A81A-D9AC29ECDA91}"/>
          </ac:spMkLst>
        </pc:spChg>
        <pc:spChg chg="add del mod topLvl">
          <ac:chgData name="Yash Ratanpal" userId="5db668b1-93e7-4c08-9786-4ed81315a653" providerId="ADAL" clId="{35CE40C1-3F8C-4A88-9CD7-233EB173ACA1}" dt="2021-08-01T08:12:37.100" v="1833" actId="478"/>
          <ac:spMkLst>
            <pc:docMk/>
            <pc:sldMk cId="4283758684" sldId="1737"/>
            <ac:spMk id="21" creationId="{BED99D1C-65C6-4C83-8ECF-195456F6BB93}"/>
          </ac:spMkLst>
        </pc:spChg>
        <pc:spChg chg="add del mod topLvl">
          <ac:chgData name="Yash Ratanpal" userId="5db668b1-93e7-4c08-9786-4ed81315a653" providerId="ADAL" clId="{35CE40C1-3F8C-4A88-9CD7-233EB173ACA1}" dt="2021-08-01T08:12:37.100" v="1833" actId="478"/>
          <ac:spMkLst>
            <pc:docMk/>
            <pc:sldMk cId="4283758684" sldId="1737"/>
            <ac:spMk id="22" creationId="{C7248CEB-7B1B-4669-860C-428C06915749}"/>
          </ac:spMkLst>
        </pc:spChg>
        <pc:spChg chg="add del mod topLvl">
          <ac:chgData name="Yash Ratanpal" userId="5db668b1-93e7-4c08-9786-4ed81315a653" providerId="ADAL" clId="{35CE40C1-3F8C-4A88-9CD7-233EB173ACA1}" dt="2021-08-01T08:12:38.425" v="1834" actId="478"/>
          <ac:spMkLst>
            <pc:docMk/>
            <pc:sldMk cId="4283758684" sldId="1737"/>
            <ac:spMk id="23" creationId="{083F6648-B050-4487-B34D-1B931C60F0F7}"/>
          </ac:spMkLst>
        </pc:spChg>
        <pc:spChg chg="add del mod topLvl">
          <ac:chgData name="Yash Ratanpal" userId="5db668b1-93e7-4c08-9786-4ed81315a653" providerId="ADAL" clId="{35CE40C1-3F8C-4A88-9CD7-233EB173ACA1}" dt="2021-08-01T08:12:38.425" v="1834" actId="478"/>
          <ac:spMkLst>
            <pc:docMk/>
            <pc:sldMk cId="4283758684" sldId="1737"/>
            <ac:spMk id="24" creationId="{8057AFF3-608D-4735-8343-C1B7DFEA05A2}"/>
          </ac:spMkLst>
        </pc:spChg>
        <pc:spChg chg="add del mod topLvl">
          <ac:chgData name="Yash Ratanpal" userId="5db668b1-93e7-4c08-9786-4ed81315a653" providerId="ADAL" clId="{35CE40C1-3F8C-4A88-9CD7-233EB173ACA1}" dt="2021-08-01T08:15:20.169" v="1857" actId="478"/>
          <ac:spMkLst>
            <pc:docMk/>
            <pc:sldMk cId="4283758684" sldId="1737"/>
            <ac:spMk id="25" creationId="{60167BE1-FD3F-46D7-9D2E-95189B5CC074}"/>
          </ac:spMkLst>
        </pc:spChg>
        <pc:spChg chg="mod">
          <ac:chgData name="Yash Ratanpal" userId="5db668b1-93e7-4c08-9786-4ed81315a653" providerId="ADAL" clId="{35CE40C1-3F8C-4A88-9CD7-233EB173ACA1}" dt="2021-08-01T07:54:10.095" v="1364" actId="165"/>
          <ac:spMkLst>
            <pc:docMk/>
            <pc:sldMk cId="4283758684" sldId="1737"/>
            <ac:spMk id="26" creationId="{0DF6B87C-8AC8-42FE-AFA8-0A0B6D6FE6CC}"/>
          </ac:spMkLst>
        </pc:spChg>
        <pc:spChg chg="mod">
          <ac:chgData name="Yash Ratanpal" userId="5db668b1-93e7-4c08-9786-4ed81315a653" providerId="ADAL" clId="{35CE40C1-3F8C-4A88-9CD7-233EB173ACA1}" dt="2021-08-01T07:54:10.095" v="1364" actId="165"/>
          <ac:spMkLst>
            <pc:docMk/>
            <pc:sldMk cId="4283758684" sldId="1737"/>
            <ac:spMk id="27" creationId="{6ED1533C-4521-4EEE-A65E-E0DB0B7F6FC7}"/>
          </ac:spMkLst>
        </pc:spChg>
        <pc:spChg chg="mod">
          <ac:chgData name="Yash Ratanpal" userId="5db668b1-93e7-4c08-9786-4ed81315a653" providerId="ADAL" clId="{35CE40C1-3F8C-4A88-9CD7-233EB173ACA1}" dt="2021-08-01T07:54:10.095" v="1364" actId="165"/>
          <ac:spMkLst>
            <pc:docMk/>
            <pc:sldMk cId="4283758684" sldId="1737"/>
            <ac:spMk id="28" creationId="{B43E4497-A34D-4B7E-A83D-CE143C0E6257}"/>
          </ac:spMkLst>
        </pc:spChg>
        <pc:spChg chg="del mod topLvl">
          <ac:chgData name="Yash Ratanpal" userId="5db668b1-93e7-4c08-9786-4ed81315a653" providerId="ADAL" clId="{35CE40C1-3F8C-4A88-9CD7-233EB173ACA1}" dt="2021-08-01T07:58:04.495" v="1386" actId="478"/>
          <ac:spMkLst>
            <pc:docMk/>
            <pc:sldMk cId="4283758684" sldId="1737"/>
            <ac:spMk id="29" creationId="{3BB125DB-D1A7-4BBE-AC67-EFAC8CEC466C}"/>
          </ac:spMkLst>
        </pc:spChg>
        <pc:spChg chg="add del mod topLvl">
          <ac:chgData name="Yash Ratanpal" userId="5db668b1-93e7-4c08-9786-4ed81315a653" providerId="ADAL" clId="{35CE40C1-3F8C-4A88-9CD7-233EB173ACA1}" dt="2021-08-01T08:15:20.169" v="1857" actId="478"/>
          <ac:spMkLst>
            <pc:docMk/>
            <pc:sldMk cId="4283758684" sldId="1737"/>
            <ac:spMk id="32" creationId="{2E2D0046-E72D-4C8A-AE79-4D689E2C4BCD}"/>
          </ac:spMkLst>
        </pc:spChg>
        <pc:spChg chg="del mod topLvl">
          <ac:chgData name="Yash Ratanpal" userId="5db668b1-93e7-4c08-9786-4ed81315a653" providerId="ADAL" clId="{35CE40C1-3F8C-4A88-9CD7-233EB173ACA1}" dt="2021-08-01T08:12:56.450" v="1850" actId="478"/>
          <ac:spMkLst>
            <pc:docMk/>
            <pc:sldMk cId="4283758684" sldId="1737"/>
            <ac:spMk id="34" creationId="{3FA6FF94-BA94-4489-A8DF-1CB0A6446D03}"/>
          </ac:spMkLst>
        </pc:spChg>
        <pc:spChg chg="del mod topLvl">
          <ac:chgData name="Yash Ratanpal" userId="5db668b1-93e7-4c08-9786-4ed81315a653" providerId="ADAL" clId="{35CE40C1-3F8C-4A88-9CD7-233EB173ACA1}" dt="2021-08-01T08:12:56.450" v="1850" actId="478"/>
          <ac:spMkLst>
            <pc:docMk/>
            <pc:sldMk cId="4283758684" sldId="1737"/>
            <ac:spMk id="35" creationId="{B68BF8E7-ED0B-429A-ADB8-F433490C30C7}"/>
          </ac:spMkLst>
        </pc:spChg>
        <pc:spChg chg="del mod topLvl">
          <ac:chgData name="Yash Ratanpal" userId="5db668b1-93e7-4c08-9786-4ed81315a653" providerId="ADAL" clId="{35CE40C1-3F8C-4A88-9CD7-233EB173ACA1}" dt="2021-08-01T08:12:56.450" v="1850" actId="478"/>
          <ac:spMkLst>
            <pc:docMk/>
            <pc:sldMk cId="4283758684" sldId="1737"/>
            <ac:spMk id="36" creationId="{E277617C-8E67-4676-824E-AA09B409BBC0}"/>
          </ac:spMkLst>
        </pc:spChg>
        <pc:spChg chg="del mod topLvl">
          <ac:chgData name="Yash Ratanpal" userId="5db668b1-93e7-4c08-9786-4ed81315a653" providerId="ADAL" clId="{35CE40C1-3F8C-4A88-9CD7-233EB173ACA1}" dt="2021-08-01T08:12:56.450" v="1850" actId="478"/>
          <ac:spMkLst>
            <pc:docMk/>
            <pc:sldMk cId="4283758684" sldId="1737"/>
            <ac:spMk id="37" creationId="{4143C5B6-28D4-460F-97DC-A62F1CFDC05C}"/>
          </ac:spMkLst>
        </pc:spChg>
        <pc:spChg chg="del mod topLvl">
          <ac:chgData name="Yash Ratanpal" userId="5db668b1-93e7-4c08-9786-4ed81315a653" providerId="ADAL" clId="{35CE40C1-3F8C-4A88-9CD7-233EB173ACA1}" dt="2021-08-01T08:12:56.450" v="1850" actId="478"/>
          <ac:spMkLst>
            <pc:docMk/>
            <pc:sldMk cId="4283758684" sldId="1737"/>
            <ac:spMk id="38" creationId="{11906DA3-44AB-44F1-A300-7F928626CFA3}"/>
          </ac:spMkLst>
        </pc:spChg>
        <pc:spChg chg="del mod topLvl">
          <ac:chgData name="Yash Ratanpal" userId="5db668b1-93e7-4c08-9786-4ed81315a653" providerId="ADAL" clId="{35CE40C1-3F8C-4A88-9CD7-233EB173ACA1}" dt="2021-08-01T08:12:56.450" v="1850" actId="478"/>
          <ac:spMkLst>
            <pc:docMk/>
            <pc:sldMk cId="4283758684" sldId="1737"/>
            <ac:spMk id="39" creationId="{4EA58503-CCE0-4331-8681-07FB4E0FEBBC}"/>
          </ac:spMkLst>
        </pc:spChg>
        <pc:spChg chg="add mod">
          <ac:chgData name="Yash Ratanpal" userId="5db668b1-93e7-4c08-9786-4ed81315a653" providerId="ADAL" clId="{35CE40C1-3F8C-4A88-9CD7-233EB173ACA1}" dt="2021-08-01T08:15:40.464" v="1865" actId="1076"/>
          <ac:spMkLst>
            <pc:docMk/>
            <pc:sldMk cId="4283758684" sldId="1737"/>
            <ac:spMk id="40" creationId="{179E3CA3-8533-4BB4-86DE-C6CCE02412C0}"/>
          </ac:spMkLst>
        </pc:spChg>
        <pc:spChg chg="add del mod">
          <ac:chgData name="Yash Ratanpal" userId="5db668b1-93e7-4c08-9786-4ed81315a653" providerId="ADAL" clId="{35CE40C1-3F8C-4A88-9CD7-233EB173ACA1}" dt="2021-08-01T08:15:20.169" v="1857" actId="478"/>
          <ac:spMkLst>
            <pc:docMk/>
            <pc:sldMk cId="4283758684" sldId="1737"/>
            <ac:spMk id="41" creationId="{81136E58-39C1-4AED-A189-00A70DC760F9}"/>
          </ac:spMkLst>
        </pc:spChg>
        <pc:spChg chg="add del mod">
          <ac:chgData name="Yash Ratanpal" userId="5db668b1-93e7-4c08-9786-4ed81315a653" providerId="ADAL" clId="{35CE40C1-3F8C-4A88-9CD7-233EB173ACA1}" dt="2021-08-01T08:15:20.169" v="1857" actId="478"/>
          <ac:spMkLst>
            <pc:docMk/>
            <pc:sldMk cId="4283758684" sldId="1737"/>
            <ac:spMk id="42" creationId="{847B9F7F-EBD8-4398-9C2A-EE93CD04F21F}"/>
          </ac:spMkLst>
        </pc:spChg>
        <pc:spChg chg="add mod topLvl">
          <ac:chgData name="Yash Ratanpal" userId="5db668b1-93e7-4c08-9786-4ed81315a653" providerId="ADAL" clId="{35CE40C1-3F8C-4A88-9CD7-233EB173ACA1}" dt="2021-08-01T08:18:14.661" v="2006" actId="20577"/>
          <ac:spMkLst>
            <pc:docMk/>
            <pc:sldMk cId="4283758684" sldId="1737"/>
            <ac:spMk id="43" creationId="{8A1C7188-F23C-485F-87A4-C0C7B84CD4A8}"/>
          </ac:spMkLst>
        </pc:spChg>
        <pc:spChg chg="add mod topLvl">
          <ac:chgData name="Yash Ratanpal" userId="5db668b1-93e7-4c08-9786-4ed81315a653" providerId="ADAL" clId="{35CE40C1-3F8C-4A88-9CD7-233EB173ACA1}" dt="2021-08-01T08:17:38.968" v="1960" actId="164"/>
          <ac:spMkLst>
            <pc:docMk/>
            <pc:sldMk cId="4283758684" sldId="1737"/>
            <ac:spMk id="44" creationId="{9BBB7B13-383C-4502-9A8E-3B19DA2FDCA9}"/>
          </ac:spMkLst>
        </pc:spChg>
        <pc:spChg chg="mod topLvl">
          <ac:chgData name="Yash Ratanpal" userId="5db668b1-93e7-4c08-9786-4ed81315a653" providerId="ADAL" clId="{35CE40C1-3F8C-4A88-9CD7-233EB173ACA1}" dt="2021-08-01T08:30:12.693" v="2246" actId="20577"/>
          <ac:spMkLst>
            <pc:docMk/>
            <pc:sldMk cId="4283758684" sldId="1737"/>
            <ac:spMk id="47" creationId="{C5B57EDF-1D06-4820-B1E8-2DEDB249EBEA}"/>
          </ac:spMkLst>
        </pc:spChg>
        <pc:spChg chg="mod topLvl">
          <ac:chgData name="Yash Ratanpal" userId="5db668b1-93e7-4c08-9786-4ed81315a653" providerId="ADAL" clId="{35CE40C1-3F8C-4A88-9CD7-233EB173ACA1}" dt="2021-08-01T08:26:22.146" v="2176" actId="20577"/>
          <ac:spMkLst>
            <pc:docMk/>
            <pc:sldMk cId="4283758684" sldId="1737"/>
            <ac:spMk id="48" creationId="{C157145E-68D7-4295-A19C-23CB81AB6294}"/>
          </ac:spMkLst>
        </pc:spChg>
        <pc:spChg chg="mod topLvl">
          <ac:chgData name="Yash Ratanpal" userId="5db668b1-93e7-4c08-9786-4ed81315a653" providerId="ADAL" clId="{35CE40C1-3F8C-4A88-9CD7-233EB173ACA1}" dt="2021-08-01T08:30:14.787" v="2247" actId="20577"/>
          <ac:spMkLst>
            <pc:docMk/>
            <pc:sldMk cId="4283758684" sldId="1737"/>
            <ac:spMk id="49" creationId="{0E4AED46-C976-441C-B2ED-0D352B3E6847}"/>
          </ac:spMkLst>
        </pc:spChg>
        <pc:spChg chg="mod topLvl">
          <ac:chgData name="Yash Ratanpal" userId="5db668b1-93e7-4c08-9786-4ed81315a653" providerId="ADAL" clId="{35CE40C1-3F8C-4A88-9CD7-233EB173ACA1}" dt="2021-08-01T08:30:51.094" v="2249" actId="14100"/>
          <ac:spMkLst>
            <pc:docMk/>
            <pc:sldMk cId="4283758684" sldId="1737"/>
            <ac:spMk id="50" creationId="{47D496DD-AF55-471A-8B85-C78DB66F85EC}"/>
          </ac:spMkLst>
        </pc:spChg>
        <pc:spChg chg="mod topLvl">
          <ac:chgData name="Yash Ratanpal" userId="5db668b1-93e7-4c08-9786-4ed81315a653" providerId="ADAL" clId="{35CE40C1-3F8C-4A88-9CD7-233EB173ACA1}" dt="2021-08-01T08:17:47.395" v="1962" actId="164"/>
          <ac:spMkLst>
            <pc:docMk/>
            <pc:sldMk cId="4283758684" sldId="1737"/>
            <ac:spMk id="51" creationId="{BBAD7030-2E2A-4F81-8192-D3E761C92A2D}"/>
          </ac:spMkLst>
        </pc:spChg>
        <pc:spChg chg="mod topLvl">
          <ac:chgData name="Yash Ratanpal" userId="5db668b1-93e7-4c08-9786-4ed81315a653" providerId="ADAL" clId="{35CE40C1-3F8C-4A88-9CD7-233EB173ACA1}" dt="2021-08-01T08:17:47.395" v="1962" actId="164"/>
          <ac:spMkLst>
            <pc:docMk/>
            <pc:sldMk cId="4283758684" sldId="1737"/>
            <ac:spMk id="52" creationId="{BF799F85-665E-4340-8CBC-D3694D5DC30B}"/>
          </ac:spMkLst>
        </pc:spChg>
        <pc:spChg chg="mod topLvl">
          <ac:chgData name="Yash Ratanpal" userId="5db668b1-93e7-4c08-9786-4ed81315a653" providerId="ADAL" clId="{35CE40C1-3F8C-4A88-9CD7-233EB173ACA1}" dt="2021-08-01T08:17:38.968" v="1960" actId="164"/>
          <ac:spMkLst>
            <pc:docMk/>
            <pc:sldMk cId="4283758684" sldId="1737"/>
            <ac:spMk id="53" creationId="{42A810E2-FCE4-422F-8A56-C3C29C3FFC97}"/>
          </ac:spMkLst>
        </pc:spChg>
        <pc:spChg chg="mod topLvl">
          <ac:chgData name="Yash Ratanpal" userId="5db668b1-93e7-4c08-9786-4ed81315a653" providerId="ADAL" clId="{35CE40C1-3F8C-4A88-9CD7-233EB173ACA1}" dt="2021-08-01T08:17:38.968" v="1960" actId="164"/>
          <ac:spMkLst>
            <pc:docMk/>
            <pc:sldMk cId="4283758684" sldId="1737"/>
            <ac:spMk id="54" creationId="{A2B329FF-DC18-40CD-921D-A21A7DCE82A9}"/>
          </ac:spMkLst>
        </pc:spChg>
        <pc:spChg chg="mod topLvl">
          <ac:chgData name="Yash Ratanpal" userId="5db668b1-93e7-4c08-9786-4ed81315a653" providerId="ADAL" clId="{35CE40C1-3F8C-4A88-9CD7-233EB173ACA1}" dt="2021-08-01T08:17:38.968" v="1960" actId="164"/>
          <ac:spMkLst>
            <pc:docMk/>
            <pc:sldMk cId="4283758684" sldId="1737"/>
            <ac:spMk id="55" creationId="{5E83EBD2-B907-4CBC-9711-1C6EE647BCCB}"/>
          </ac:spMkLst>
        </pc:spChg>
        <pc:spChg chg="mod topLvl">
          <ac:chgData name="Yash Ratanpal" userId="5db668b1-93e7-4c08-9786-4ed81315a653" providerId="ADAL" clId="{35CE40C1-3F8C-4A88-9CD7-233EB173ACA1}" dt="2021-08-01T08:17:38.968" v="1960" actId="164"/>
          <ac:spMkLst>
            <pc:docMk/>
            <pc:sldMk cId="4283758684" sldId="1737"/>
            <ac:spMk id="56" creationId="{702695D3-87F7-4CA4-8494-65EDECD2B554}"/>
          </ac:spMkLst>
        </pc:spChg>
        <pc:spChg chg="mod topLvl">
          <ac:chgData name="Yash Ratanpal" userId="5db668b1-93e7-4c08-9786-4ed81315a653" providerId="ADAL" clId="{35CE40C1-3F8C-4A88-9CD7-233EB173ACA1}" dt="2021-08-01T08:17:38.968" v="1960" actId="164"/>
          <ac:spMkLst>
            <pc:docMk/>
            <pc:sldMk cId="4283758684" sldId="1737"/>
            <ac:spMk id="57" creationId="{9F0C2506-F2AC-42D1-8E60-74BBC5EC3091}"/>
          </ac:spMkLst>
        </pc:spChg>
        <pc:spChg chg="mod topLvl">
          <ac:chgData name="Yash Ratanpal" userId="5db668b1-93e7-4c08-9786-4ed81315a653" providerId="ADAL" clId="{35CE40C1-3F8C-4A88-9CD7-233EB173ACA1}" dt="2021-08-01T08:17:38.968" v="1960" actId="164"/>
          <ac:spMkLst>
            <pc:docMk/>
            <pc:sldMk cId="4283758684" sldId="1737"/>
            <ac:spMk id="58" creationId="{A681AA56-6395-42A0-BFFF-EDA1D2DF212E}"/>
          </ac:spMkLst>
        </pc:spChg>
        <pc:spChg chg="del mod topLvl">
          <ac:chgData name="Yash Ratanpal" userId="5db668b1-93e7-4c08-9786-4ed81315a653" providerId="ADAL" clId="{35CE40C1-3F8C-4A88-9CD7-233EB173ACA1}" dt="2021-08-01T08:32:04.384" v="2252" actId="478"/>
          <ac:spMkLst>
            <pc:docMk/>
            <pc:sldMk cId="4283758684" sldId="1737"/>
            <ac:spMk id="59" creationId="{BA905ED6-77FF-4404-9256-0D78FBB13EB6}"/>
          </ac:spMkLst>
        </pc:spChg>
        <pc:spChg chg="mod topLvl">
          <ac:chgData name="Yash Ratanpal" userId="5db668b1-93e7-4c08-9786-4ed81315a653" providerId="ADAL" clId="{35CE40C1-3F8C-4A88-9CD7-233EB173ACA1}" dt="2021-08-01T08:17:47.395" v="1962" actId="164"/>
          <ac:spMkLst>
            <pc:docMk/>
            <pc:sldMk cId="4283758684" sldId="1737"/>
            <ac:spMk id="60" creationId="{76B4BE8A-A73B-4B26-BC1B-936AA620205A}"/>
          </ac:spMkLst>
        </pc:spChg>
        <pc:spChg chg="mod topLvl">
          <ac:chgData name="Yash Ratanpal" userId="5db668b1-93e7-4c08-9786-4ed81315a653" providerId="ADAL" clId="{35CE40C1-3F8C-4A88-9CD7-233EB173ACA1}" dt="2021-08-01T08:17:47.395" v="1962" actId="164"/>
          <ac:spMkLst>
            <pc:docMk/>
            <pc:sldMk cId="4283758684" sldId="1737"/>
            <ac:spMk id="61" creationId="{4F539299-F878-42E7-B34A-F8D1FEB20D21}"/>
          </ac:spMkLst>
        </pc:spChg>
        <pc:spChg chg="mod topLvl">
          <ac:chgData name="Yash Ratanpal" userId="5db668b1-93e7-4c08-9786-4ed81315a653" providerId="ADAL" clId="{35CE40C1-3F8C-4A88-9CD7-233EB173ACA1}" dt="2021-08-01T08:17:47.395" v="1962" actId="164"/>
          <ac:spMkLst>
            <pc:docMk/>
            <pc:sldMk cId="4283758684" sldId="1737"/>
            <ac:spMk id="62" creationId="{B2654BB8-C2E6-499A-B148-90B211EF1DCE}"/>
          </ac:spMkLst>
        </pc:spChg>
        <pc:spChg chg="mod topLvl">
          <ac:chgData name="Yash Ratanpal" userId="5db668b1-93e7-4c08-9786-4ed81315a653" providerId="ADAL" clId="{35CE40C1-3F8C-4A88-9CD7-233EB173ACA1}" dt="2021-08-01T08:17:38.968" v="1960" actId="164"/>
          <ac:spMkLst>
            <pc:docMk/>
            <pc:sldMk cId="4283758684" sldId="1737"/>
            <ac:spMk id="63" creationId="{E7D69ACA-C741-460F-8240-727229FD8706}"/>
          </ac:spMkLst>
        </pc:spChg>
        <pc:spChg chg="mod topLvl">
          <ac:chgData name="Yash Ratanpal" userId="5db668b1-93e7-4c08-9786-4ed81315a653" providerId="ADAL" clId="{35CE40C1-3F8C-4A88-9CD7-233EB173ACA1}" dt="2021-08-01T08:17:38.968" v="1960" actId="164"/>
          <ac:spMkLst>
            <pc:docMk/>
            <pc:sldMk cId="4283758684" sldId="1737"/>
            <ac:spMk id="64" creationId="{6B63B8E9-30D3-47FB-8850-D76232DAFB8A}"/>
          </ac:spMkLst>
        </pc:spChg>
        <pc:spChg chg="mod topLvl">
          <ac:chgData name="Yash Ratanpal" userId="5db668b1-93e7-4c08-9786-4ed81315a653" providerId="ADAL" clId="{35CE40C1-3F8C-4A88-9CD7-233EB173ACA1}" dt="2021-08-01T08:17:38.968" v="1960" actId="164"/>
          <ac:spMkLst>
            <pc:docMk/>
            <pc:sldMk cId="4283758684" sldId="1737"/>
            <ac:spMk id="65" creationId="{86801FB7-9087-41C0-ABCC-41323F7050F1}"/>
          </ac:spMkLst>
        </pc:spChg>
        <pc:spChg chg="mod">
          <ac:chgData name="Yash Ratanpal" userId="5db668b1-93e7-4c08-9786-4ed81315a653" providerId="ADAL" clId="{35CE40C1-3F8C-4A88-9CD7-233EB173ACA1}" dt="2021-08-01T08:32:10.025" v="2253"/>
          <ac:spMkLst>
            <pc:docMk/>
            <pc:sldMk cId="4283758684" sldId="1737"/>
            <ac:spMk id="67" creationId="{BB1A00E8-9757-4BD6-807F-8C242F0270EF}"/>
          </ac:spMkLst>
        </pc:spChg>
        <pc:spChg chg="mod">
          <ac:chgData name="Yash Ratanpal" userId="5db668b1-93e7-4c08-9786-4ed81315a653" providerId="ADAL" clId="{35CE40C1-3F8C-4A88-9CD7-233EB173ACA1}" dt="2021-08-01T08:32:10.025" v="2253"/>
          <ac:spMkLst>
            <pc:docMk/>
            <pc:sldMk cId="4283758684" sldId="1737"/>
            <ac:spMk id="68" creationId="{D349D4EE-0D8D-42C4-A733-7DEDE16E98CA}"/>
          </ac:spMkLst>
        </pc:spChg>
        <pc:spChg chg="mod">
          <ac:chgData name="Yash Ratanpal" userId="5db668b1-93e7-4c08-9786-4ed81315a653" providerId="ADAL" clId="{35CE40C1-3F8C-4A88-9CD7-233EB173ACA1}" dt="2021-08-01T08:32:10.025" v="2253"/>
          <ac:spMkLst>
            <pc:docMk/>
            <pc:sldMk cId="4283758684" sldId="1737"/>
            <ac:spMk id="69" creationId="{B236C7FF-65EC-47CE-B9D8-E6F6741C2CB4}"/>
          </ac:spMkLst>
        </pc:spChg>
        <pc:spChg chg="mod">
          <ac:chgData name="Yash Ratanpal" userId="5db668b1-93e7-4c08-9786-4ed81315a653" providerId="ADAL" clId="{35CE40C1-3F8C-4A88-9CD7-233EB173ACA1}" dt="2021-08-01T08:32:10.025" v="2253"/>
          <ac:spMkLst>
            <pc:docMk/>
            <pc:sldMk cId="4283758684" sldId="1737"/>
            <ac:spMk id="70" creationId="{501B3CDF-2560-4480-9CA7-928D2D26BB45}"/>
          </ac:spMkLst>
        </pc:spChg>
        <pc:spChg chg="mod">
          <ac:chgData name="Yash Ratanpal" userId="5db668b1-93e7-4c08-9786-4ed81315a653" providerId="ADAL" clId="{35CE40C1-3F8C-4A88-9CD7-233EB173ACA1}" dt="2021-08-01T08:32:10.025" v="2253"/>
          <ac:spMkLst>
            <pc:docMk/>
            <pc:sldMk cId="4283758684" sldId="1737"/>
            <ac:spMk id="71" creationId="{4FA1367D-4829-4446-A470-51DBD07BCF17}"/>
          </ac:spMkLst>
        </pc:spChg>
        <pc:spChg chg="mod">
          <ac:chgData name="Yash Ratanpal" userId="5db668b1-93e7-4c08-9786-4ed81315a653" providerId="ADAL" clId="{35CE40C1-3F8C-4A88-9CD7-233EB173ACA1}" dt="2021-08-01T08:32:10.025" v="2253"/>
          <ac:spMkLst>
            <pc:docMk/>
            <pc:sldMk cId="4283758684" sldId="1737"/>
            <ac:spMk id="72" creationId="{7AC57098-96C1-42E8-9BE4-135D875F42A8}"/>
          </ac:spMkLst>
        </pc:spChg>
        <pc:spChg chg="mod">
          <ac:chgData name="Yash Ratanpal" userId="5db668b1-93e7-4c08-9786-4ed81315a653" providerId="ADAL" clId="{35CE40C1-3F8C-4A88-9CD7-233EB173ACA1}" dt="2021-08-01T08:32:10.025" v="2253"/>
          <ac:spMkLst>
            <pc:docMk/>
            <pc:sldMk cId="4283758684" sldId="1737"/>
            <ac:spMk id="73" creationId="{850ACEFE-A965-478F-AE7A-91477AE0A2FA}"/>
          </ac:spMkLst>
        </pc:spChg>
        <pc:spChg chg="mod">
          <ac:chgData name="Yash Ratanpal" userId="5db668b1-93e7-4c08-9786-4ed81315a653" providerId="ADAL" clId="{35CE40C1-3F8C-4A88-9CD7-233EB173ACA1}" dt="2021-08-01T08:32:10.025" v="2253"/>
          <ac:spMkLst>
            <pc:docMk/>
            <pc:sldMk cId="4283758684" sldId="1737"/>
            <ac:spMk id="74" creationId="{936E17C4-0184-4A5F-AED4-7B47C6CC9D31}"/>
          </ac:spMkLst>
        </pc:spChg>
        <pc:spChg chg="mod">
          <ac:chgData name="Yash Ratanpal" userId="5db668b1-93e7-4c08-9786-4ed81315a653" providerId="ADAL" clId="{35CE40C1-3F8C-4A88-9CD7-233EB173ACA1}" dt="2021-08-01T08:32:10.025" v="2253"/>
          <ac:spMkLst>
            <pc:docMk/>
            <pc:sldMk cId="4283758684" sldId="1737"/>
            <ac:spMk id="75" creationId="{1E883012-E31B-41D4-B886-A2EBDD9C6948}"/>
          </ac:spMkLst>
        </pc:spChg>
        <pc:spChg chg="mod">
          <ac:chgData name="Yash Ratanpal" userId="5db668b1-93e7-4c08-9786-4ed81315a653" providerId="ADAL" clId="{35CE40C1-3F8C-4A88-9CD7-233EB173ACA1}" dt="2021-08-01T08:32:10.025" v="2253"/>
          <ac:spMkLst>
            <pc:docMk/>
            <pc:sldMk cId="4283758684" sldId="1737"/>
            <ac:spMk id="76" creationId="{31EBF271-44CC-464B-A590-4211156FD4E8}"/>
          </ac:spMkLst>
        </pc:spChg>
        <pc:spChg chg="mod">
          <ac:chgData name="Yash Ratanpal" userId="5db668b1-93e7-4c08-9786-4ed81315a653" providerId="ADAL" clId="{35CE40C1-3F8C-4A88-9CD7-233EB173ACA1}" dt="2021-08-01T08:32:10.025" v="2253"/>
          <ac:spMkLst>
            <pc:docMk/>
            <pc:sldMk cId="4283758684" sldId="1737"/>
            <ac:spMk id="77" creationId="{03BA614A-E529-42C1-B4DA-92DBBB3560A4}"/>
          </ac:spMkLst>
        </pc:spChg>
        <pc:spChg chg="mod">
          <ac:chgData name="Yash Ratanpal" userId="5db668b1-93e7-4c08-9786-4ed81315a653" providerId="ADAL" clId="{35CE40C1-3F8C-4A88-9CD7-233EB173ACA1}" dt="2021-08-01T08:32:10.025" v="2253"/>
          <ac:spMkLst>
            <pc:docMk/>
            <pc:sldMk cId="4283758684" sldId="1737"/>
            <ac:spMk id="78" creationId="{F05D8323-B20E-4555-BBB6-13E354953DAD}"/>
          </ac:spMkLst>
        </pc:spChg>
        <pc:spChg chg="mod">
          <ac:chgData name="Yash Ratanpal" userId="5db668b1-93e7-4c08-9786-4ed81315a653" providerId="ADAL" clId="{35CE40C1-3F8C-4A88-9CD7-233EB173ACA1}" dt="2021-08-01T08:32:10.025" v="2253"/>
          <ac:spMkLst>
            <pc:docMk/>
            <pc:sldMk cId="4283758684" sldId="1737"/>
            <ac:spMk id="79" creationId="{6CF4913B-8504-40E1-9974-A9EEA93EFB31}"/>
          </ac:spMkLst>
        </pc:spChg>
        <pc:spChg chg="mod">
          <ac:chgData name="Yash Ratanpal" userId="5db668b1-93e7-4c08-9786-4ed81315a653" providerId="ADAL" clId="{35CE40C1-3F8C-4A88-9CD7-233EB173ACA1}" dt="2021-08-01T08:32:10.025" v="2253"/>
          <ac:spMkLst>
            <pc:docMk/>
            <pc:sldMk cId="4283758684" sldId="1737"/>
            <ac:spMk id="80" creationId="{7316689E-5F01-49E2-A18A-56889A11AF75}"/>
          </ac:spMkLst>
        </pc:spChg>
        <pc:spChg chg="mod">
          <ac:chgData name="Yash Ratanpal" userId="5db668b1-93e7-4c08-9786-4ed81315a653" providerId="ADAL" clId="{35CE40C1-3F8C-4A88-9CD7-233EB173ACA1}" dt="2021-08-01T08:32:10.025" v="2253"/>
          <ac:spMkLst>
            <pc:docMk/>
            <pc:sldMk cId="4283758684" sldId="1737"/>
            <ac:spMk id="81" creationId="{755EC494-2296-45F1-822A-EC461B1675DE}"/>
          </ac:spMkLst>
        </pc:spChg>
        <pc:spChg chg="mod">
          <ac:chgData name="Yash Ratanpal" userId="5db668b1-93e7-4c08-9786-4ed81315a653" providerId="ADAL" clId="{35CE40C1-3F8C-4A88-9CD7-233EB173ACA1}" dt="2021-08-01T08:32:10.025" v="2253"/>
          <ac:spMkLst>
            <pc:docMk/>
            <pc:sldMk cId="4283758684" sldId="1737"/>
            <ac:spMk id="82" creationId="{88E98D83-74A8-4EF1-BE47-915AD6929D3E}"/>
          </ac:spMkLst>
        </pc:spChg>
        <pc:spChg chg="mod">
          <ac:chgData name="Yash Ratanpal" userId="5db668b1-93e7-4c08-9786-4ed81315a653" providerId="ADAL" clId="{35CE40C1-3F8C-4A88-9CD7-233EB173ACA1}" dt="2021-08-01T08:32:10.025" v="2253"/>
          <ac:spMkLst>
            <pc:docMk/>
            <pc:sldMk cId="4283758684" sldId="1737"/>
            <ac:spMk id="83" creationId="{B1EB2A72-9864-4B9B-8F55-B5BE3391E5A1}"/>
          </ac:spMkLst>
        </pc:spChg>
        <pc:spChg chg="mod">
          <ac:chgData name="Yash Ratanpal" userId="5db668b1-93e7-4c08-9786-4ed81315a653" providerId="ADAL" clId="{35CE40C1-3F8C-4A88-9CD7-233EB173ACA1}" dt="2021-08-01T08:32:10.025" v="2253"/>
          <ac:spMkLst>
            <pc:docMk/>
            <pc:sldMk cId="4283758684" sldId="1737"/>
            <ac:spMk id="84" creationId="{B6B42273-9877-4D5B-A1B0-49E13BADC560}"/>
          </ac:spMkLst>
        </pc:spChg>
        <pc:spChg chg="mod">
          <ac:chgData name="Yash Ratanpal" userId="5db668b1-93e7-4c08-9786-4ed81315a653" providerId="ADAL" clId="{35CE40C1-3F8C-4A88-9CD7-233EB173ACA1}" dt="2021-08-01T08:32:10.025" v="2253"/>
          <ac:spMkLst>
            <pc:docMk/>
            <pc:sldMk cId="4283758684" sldId="1737"/>
            <ac:spMk id="85" creationId="{7E25870F-D97E-4B28-A03B-3EAA9CCEFC96}"/>
          </ac:spMkLst>
        </pc:spChg>
        <pc:spChg chg="mod">
          <ac:chgData name="Yash Ratanpal" userId="5db668b1-93e7-4c08-9786-4ed81315a653" providerId="ADAL" clId="{35CE40C1-3F8C-4A88-9CD7-233EB173ACA1}" dt="2021-08-01T08:32:10.025" v="2253"/>
          <ac:spMkLst>
            <pc:docMk/>
            <pc:sldMk cId="4283758684" sldId="1737"/>
            <ac:spMk id="86" creationId="{03435F98-EBD5-40E8-BA45-F540850F46E1}"/>
          </ac:spMkLst>
        </pc:spChg>
        <pc:spChg chg="mod">
          <ac:chgData name="Yash Ratanpal" userId="5db668b1-93e7-4c08-9786-4ed81315a653" providerId="ADAL" clId="{35CE40C1-3F8C-4A88-9CD7-233EB173ACA1}" dt="2021-08-01T08:32:10.025" v="2253"/>
          <ac:spMkLst>
            <pc:docMk/>
            <pc:sldMk cId="4283758684" sldId="1737"/>
            <ac:spMk id="87" creationId="{AD638701-B737-48D1-AF7F-302B015545BB}"/>
          </ac:spMkLst>
        </pc:spChg>
        <pc:grpChg chg="add del mod">
          <ac:chgData name="Yash Ratanpal" userId="5db668b1-93e7-4c08-9786-4ed81315a653" providerId="ADAL" clId="{35CE40C1-3F8C-4A88-9CD7-233EB173ACA1}" dt="2021-08-01T07:54:10.095" v="1364" actId="165"/>
          <ac:grpSpMkLst>
            <pc:docMk/>
            <pc:sldMk cId="4283758684" sldId="1737"/>
            <ac:grpSpMk id="4" creationId="{F78938B7-9B7D-48F0-A91B-F41951187A4E}"/>
          </ac:grpSpMkLst>
        </pc:grpChg>
        <pc:grpChg chg="add del mod">
          <ac:chgData name="Yash Ratanpal" userId="5db668b1-93e7-4c08-9786-4ed81315a653" providerId="ADAL" clId="{35CE40C1-3F8C-4A88-9CD7-233EB173ACA1}" dt="2021-08-01T08:04:13.127" v="1432" actId="165"/>
          <ac:grpSpMkLst>
            <pc:docMk/>
            <pc:sldMk cId="4283758684" sldId="1737"/>
            <ac:grpSpMk id="5" creationId="{C902B843-592C-4946-9516-D1B2E212315F}"/>
          </ac:grpSpMkLst>
        </pc:grpChg>
        <pc:grpChg chg="add del mod">
          <ac:chgData name="Yash Ratanpal" userId="5db668b1-93e7-4c08-9786-4ed81315a653" providerId="ADAL" clId="{35CE40C1-3F8C-4A88-9CD7-233EB173ACA1}" dt="2021-08-01T08:04:53.721" v="1439" actId="165"/>
          <ac:grpSpMkLst>
            <pc:docMk/>
            <pc:sldMk cId="4283758684" sldId="1737"/>
            <ac:grpSpMk id="6" creationId="{E4BCF5BB-B74C-425F-A59A-12136E1A2707}"/>
          </ac:grpSpMkLst>
        </pc:grpChg>
        <pc:grpChg chg="add del mod">
          <ac:chgData name="Yash Ratanpal" userId="5db668b1-93e7-4c08-9786-4ed81315a653" providerId="ADAL" clId="{35CE40C1-3F8C-4A88-9CD7-233EB173ACA1}" dt="2021-08-01T08:07:30.665" v="1675" actId="165"/>
          <ac:grpSpMkLst>
            <pc:docMk/>
            <pc:sldMk cId="4283758684" sldId="1737"/>
            <ac:grpSpMk id="7" creationId="{9835CB14-B63C-438D-A40E-C9AC18C40597}"/>
          </ac:grpSpMkLst>
        </pc:grpChg>
        <pc:grpChg chg="add del mod">
          <ac:chgData name="Yash Ratanpal" userId="5db668b1-93e7-4c08-9786-4ed81315a653" providerId="ADAL" clId="{35CE40C1-3F8C-4A88-9CD7-233EB173ACA1}" dt="2021-08-01T08:15:48.548" v="1866" actId="165"/>
          <ac:grpSpMkLst>
            <pc:docMk/>
            <pc:sldMk cId="4283758684" sldId="1737"/>
            <ac:grpSpMk id="8" creationId="{1606CF06-6610-4B79-BA36-DFFEC0508D7A}"/>
          </ac:grpSpMkLst>
        </pc:grpChg>
        <pc:grpChg chg="add del mod">
          <ac:chgData name="Yash Ratanpal" userId="5db668b1-93e7-4c08-9786-4ed81315a653" providerId="ADAL" clId="{35CE40C1-3F8C-4A88-9CD7-233EB173ACA1}" dt="2021-08-01T08:32:04.384" v="2252" actId="478"/>
          <ac:grpSpMkLst>
            <pc:docMk/>
            <pc:sldMk cId="4283758684" sldId="1737"/>
            <ac:grpSpMk id="9" creationId="{A89148E0-1608-46DF-869E-043005203FAD}"/>
          </ac:grpSpMkLst>
        </pc:grpChg>
        <pc:grpChg chg="add del mod">
          <ac:chgData name="Yash Ratanpal" userId="5db668b1-93e7-4c08-9786-4ed81315a653" providerId="ADAL" clId="{35CE40C1-3F8C-4A88-9CD7-233EB173ACA1}" dt="2021-08-01T08:32:04.384" v="2252" actId="478"/>
          <ac:grpSpMkLst>
            <pc:docMk/>
            <pc:sldMk cId="4283758684" sldId="1737"/>
            <ac:grpSpMk id="10" creationId="{5D27247E-5F3A-446D-B81C-EE6F80742ECC}"/>
          </ac:grpSpMkLst>
        </pc:grpChg>
        <pc:grpChg chg="add del mod">
          <ac:chgData name="Yash Ratanpal" userId="5db668b1-93e7-4c08-9786-4ed81315a653" providerId="ADAL" clId="{35CE40C1-3F8C-4A88-9CD7-233EB173ACA1}" dt="2021-08-01T08:04:19.801" v="1433" actId="478"/>
          <ac:grpSpMkLst>
            <pc:docMk/>
            <pc:sldMk cId="4283758684" sldId="1737"/>
            <ac:grpSpMk id="13" creationId="{46BE2BA8-0434-402F-8D0F-311D9F5F568D}"/>
          </ac:grpSpMkLst>
        </pc:grpChg>
        <pc:grpChg chg="add del mod topLvl">
          <ac:chgData name="Yash Ratanpal" userId="5db668b1-93e7-4c08-9786-4ed81315a653" providerId="ADAL" clId="{35CE40C1-3F8C-4A88-9CD7-233EB173ACA1}" dt="2021-08-01T08:12:28.454" v="1830" actId="165"/>
          <ac:grpSpMkLst>
            <pc:docMk/>
            <pc:sldMk cId="4283758684" sldId="1737"/>
            <ac:grpSpMk id="16" creationId="{86CECBB3-B2D2-448C-9C2F-397BC8DFC51D}"/>
          </ac:grpSpMkLst>
        </pc:grpChg>
        <pc:grpChg chg="del mod topLvl">
          <ac:chgData name="Yash Ratanpal" userId="5db668b1-93e7-4c08-9786-4ed81315a653" providerId="ADAL" clId="{35CE40C1-3F8C-4A88-9CD7-233EB173ACA1}" dt="2021-08-01T07:58:04.495" v="1386" actId="478"/>
          <ac:grpSpMkLst>
            <pc:docMk/>
            <pc:sldMk cId="4283758684" sldId="1737"/>
            <ac:grpSpMk id="19" creationId="{FB0E80A9-6E50-4A96-9167-28F34C134D27}"/>
          </ac:grpSpMkLst>
        </pc:grpChg>
        <pc:grpChg chg="add del mod topLvl">
          <ac:chgData name="Yash Ratanpal" userId="5db668b1-93e7-4c08-9786-4ed81315a653" providerId="ADAL" clId="{35CE40C1-3F8C-4A88-9CD7-233EB173ACA1}" dt="2021-08-01T08:12:28.454" v="1830" actId="165"/>
          <ac:grpSpMkLst>
            <pc:docMk/>
            <pc:sldMk cId="4283758684" sldId="1737"/>
            <ac:grpSpMk id="33" creationId="{46BFE394-5122-4B20-A841-1317A2DE5948}"/>
          </ac:grpSpMkLst>
        </pc:grpChg>
        <pc:grpChg chg="add del mod topLvl">
          <ac:chgData name="Yash Ratanpal" userId="5db668b1-93e7-4c08-9786-4ed81315a653" providerId="ADAL" clId="{35CE40C1-3F8C-4A88-9CD7-233EB173ACA1}" dt="2021-08-01T08:16:15.934" v="1918" actId="165"/>
          <ac:grpSpMkLst>
            <pc:docMk/>
            <pc:sldMk cId="4283758684" sldId="1737"/>
            <ac:grpSpMk id="45" creationId="{39D9A6DB-F73B-4E2A-B85F-DE5B24F9B223}"/>
          </ac:grpSpMkLst>
        </pc:grpChg>
        <pc:grpChg chg="del mod topLvl">
          <ac:chgData name="Yash Ratanpal" userId="5db668b1-93e7-4c08-9786-4ed81315a653" providerId="ADAL" clId="{35CE40C1-3F8C-4A88-9CD7-233EB173ACA1}" dt="2021-08-01T08:17:34.446" v="1959" actId="165"/>
          <ac:grpSpMkLst>
            <pc:docMk/>
            <pc:sldMk cId="4283758684" sldId="1737"/>
            <ac:grpSpMk id="46" creationId="{EEA81C92-C370-4B95-A0BB-A7E8E3CAA70F}"/>
          </ac:grpSpMkLst>
        </pc:grpChg>
        <pc:grpChg chg="add mod">
          <ac:chgData name="Yash Ratanpal" userId="5db668b1-93e7-4c08-9786-4ed81315a653" providerId="ADAL" clId="{35CE40C1-3F8C-4A88-9CD7-233EB173ACA1}" dt="2021-08-01T08:32:12.810" v="2254" actId="14100"/>
          <ac:grpSpMkLst>
            <pc:docMk/>
            <pc:sldMk cId="4283758684" sldId="1737"/>
            <ac:grpSpMk id="66" creationId="{052BD7AE-428A-4699-899B-C7451A504FD6}"/>
          </ac:grpSpMkLst>
        </pc:grpChg>
        <pc:picChg chg="del mod topLvl">
          <ac:chgData name="Yash Ratanpal" userId="5db668b1-93e7-4c08-9786-4ed81315a653" providerId="ADAL" clId="{35CE40C1-3F8C-4A88-9CD7-233EB173ACA1}" dt="2021-08-01T07:58:04.495" v="1386" actId="478"/>
          <ac:picMkLst>
            <pc:docMk/>
            <pc:sldMk cId="4283758684" sldId="1737"/>
            <ac:picMk id="30" creationId="{2222DD06-CEDA-4BE9-A00E-019CE6484D33}"/>
          </ac:picMkLst>
        </pc:picChg>
        <pc:picChg chg="del mod topLvl">
          <ac:chgData name="Yash Ratanpal" userId="5db668b1-93e7-4c08-9786-4ed81315a653" providerId="ADAL" clId="{35CE40C1-3F8C-4A88-9CD7-233EB173ACA1}" dt="2021-08-01T07:58:04.495" v="1386" actId="478"/>
          <ac:picMkLst>
            <pc:docMk/>
            <pc:sldMk cId="4283758684" sldId="1737"/>
            <ac:picMk id="31" creationId="{50060262-F9CE-4483-B285-BFF1BF1842FA}"/>
          </ac:picMkLst>
        </pc:picChg>
      </pc:sldChg>
      <pc:sldChg chg="addSp delSp modSp add del mod">
        <pc:chgData name="Yash Ratanpal" userId="5db668b1-93e7-4c08-9786-4ed81315a653" providerId="ADAL" clId="{35CE40C1-3F8C-4A88-9CD7-233EB173ACA1}" dt="2021-08-01T07:53:59.976" v="1362" actId="47"/>
        <pc:sldMkLst>
          <pc:docMk/>
          <pc:sldMk cId="2959376703" sldId="1738"/>
        </pc:sldMkLst>
        <pc:spChg chg="mod">
          <ac:chgData name="Yash Ratanpal" userId="5db668b1-93e7-4c08-9786-4ed81315a653" providerId="ADAL" clId="{35CE40C1-3F8C-4A88-9CD7-233EB173ACA1}" dt="2021-08-01T07:14:21.346" v="1343" actId="165"/>
          <ac:spMkLst>
            <pc:docMk/>
            <pc:sldMk cId="2959376703" sldId="1738"/>
            <ac:spMk id="20" creationId="{865C0C48-4075-4336-A81A-D9AC29ECDA91}"/>
          </ac:spMkLst>
        </pc:spChg>
        <pc:spChg chg="mod">
          <ac:chgData name="Yash Ratanpal" userId="5db668b1-93e7-4c08-9786-4ed81315a653" providerId="ADAL" clId="{35CE40C1-3F8C-4A88-9CD7-233EB173ACA1}" dt="2021-08-01T07:14:21.346" v="1343" actId="165"/>
          <ac:spMkLst>
            <pc:docMk/>
            <pc:sldMk cId="2959376703" sldId="1738"/>
            <ac:spMk id="26" creationId="{0DF6B87C-8AC8-42FE-AFA8-0A0B6D6FE6CC}"/>
          </ac:spMkLst>
        </pc:spChg>
        <pc:spChg chg="del mod">
          <ac:chgData name="Yash Ratanpal" userId="5db668b1-93e7-4c08-9786-4ed81315a653" providerId="ADAL" clId="{35CE40C1-3F8C-4A88-9CD7-233EB173ACA1}" dt="2021-08-01T07:14:27.785" v="1349" actId="478"/>
          <ac:spMkLst>
            <pc:docMk/>
            <pc:sldMk cId="2959376703" sldId="1738"/>
            <ac:spMk id="27" creationId="{6ED1533C-4521-4EEE-A65E-E0DB0B7F6FC7}"/>
          </ac:spMkLst>
        </pc:spChg>
        <pc:spChg chg="del mod">
          <ac:chgData name="Yash Ratanpal" userId="5db668b1-93e7-4c08-9786-4ed81315a653" providerId="ADAL" clId="{35CE40C1-3F8C-4A88-9CD7-233EB173ACA1}" dt="2021-08-01T07:14:25.594" v="1347" actId="478"/>
          <ac:spMkLst>
            <pc:docMk/>
            <pc:sldMk cId="2959376703" sldId="1738"/>
            <ac:spMk id="28" creationId="{B43E4497-A34D-4B7E-A83D-CE143C0E6257}"/>
          </ac:spMkLst>
        </pc:spChg>
        <pc:spChg chg="mod topLvl">
          <ac:chgData name="Yash Ratanpal" userId="5db668b1-93e7-4c08-9786-4ed81315a653" providerId="ADAL" clId="{35CE40C1-3F8C-4A88-9CD7-233EB173ACA1}" dt="2021-08-01T07:14:57.436" v="1358" actId="122"/>
          <ac:spMkLst>
            <pc:docMk/>
            <pc:sldMk cId="2959376703" sldId="1738"/>
            <ac:spMk id="29" creationId="{3BB125DB-D1A7-4BBE-AC67-EFAC8CEC466C}"/>
          </ac:spMkLst>
        </pc:spChg>
        <pc:grpChg chg="del">
          <ac:chgData name="Yash Ratanpal" userId="5db668b1-93e7-4c08-9786-4ed81315a653" providerId="ADAL" clId="{35CE40C1-3F8C-4A88-9CD7-233EB173ACA1}" dt="2021-08-01T07:14:21.346" v="1343" actId="165"/>
          <ac:grpSpMkLst>
            <pc:docMk/>
            <pc:sldMk cId="2959376703" sldId="1738"/>
            <ac:grpSpMk id="4" creationId="{F78938B7-9B7D-48F0-A91B-F41951187A4E}"/>
          </ac:grpSpMkLst>
        </pc:grpChg>
        <pc:grpChg chg="add del mod topLvl">
          <ac:chgData name="Yash Ratanpal" userId="5db668b1-93e7-4c08-9786-4ed81315a653" providerId="ADAL" clId="{35CE40C1-3F8C-4A88-9CD7-233EB173ACA1}" dt="2021-08-01T07:14:36.013" v="1352" actId="1076"/>
          <ac:grpSpMkLst>
            <pc:docMk/>
            <pc:sldMk cId="2959376703" sldId="1738"/>
            <ac:grpSpMk id="19" creationId="{FB0E80A9-6E50-4A96-9167-28F34C134D27}"/>
          </ac:grpSpMkLst>
        </pc:grpChg>
        <pc:picChg chg="mod topLvl">
          <ac:chgData name="Yash Ratanpal" userId="5db668b1-93e7-4c08-9786-4ed81315a653" providerId="ADAL" clId="{35CE40C1-3F8C-4A88-9CD7-233EB173ACA1}" dt="2021-08-01T07:17:36.693" v="1360" actId="14100"/>
          <ac:picMkLst>
            <pc:docMk/>
            <pc:sldMk cId="2959376703" sldId="1738"/>
            <ac:picMk id="30" creationId="{2222DD06-CEDA-4BE9-A00E-019CE6484D33}"/>
          </ac:picMkLst>
        </pc:picChg>
        <pc:picChg chg="add del mod topLvl">
          <ac:chgData name="Yash Ratanpal" userId="5db668b1-93e7-4c08-9786-4ed81315a653" providerId="ADAL" clId="{35CE40C1-3F8C-4A88-9CD7-233EB173ACA1}" dt="2021-08-01T07:14:23.053" v="1344" actId="478"/>
          <ac:picMkLst>
            <pc:docMk/>
            <pc:sldMk cId="2959376703" sldId="1738"/>
            <ac:picMk id="31" creationId="{50060262-F9CE-4483-B285-BFF1BF1842FA}"/>
          </ac:picMkLst>
        </pc:picChg>
      </pc:sldChg>
      <pc:sldChg chg="modSp add mod">
        <pc:chgData name="Yash Ratanpal" userId="5db668b1-93e7-4c08-9786-4ed81315a653" providerId="ADAL" clId="{35CE40C1-3F8C-4A88-9CD7-233EB173ACA1}" dt="2021-08-01T08:18:31.198" v="2008" actId="207"/>
        <pc:sldMkLst>
          <pc:docMk/>
          <pc:sldMk cId="3779315297" sldId="1738"/>
        </pc:sldMkLst>
        <pc:spChg chg="mod">
          <ac:chgData name="Yash Ratanpal" userId="5db668b1-93e7-4c08-9786-4ed81315a653" providerId="ADAL" clId="{35CE40C1-3F8C-4A88-9CD7-233EB173ACA1}" dt="2021-08-01T08:18:29.940" v="2007" actId="207"/>
          <ac:spMkLst>
            <pc:docMk/>
            <pc:sldMk cId="3779315297" sldId="1738"/>
            <ac:spMk id="20" creationId="{865C0C48-4075-4336-A81A-D9AC29ECDA91}"/>
          </ac:spMkLst>
        </pc:spChg>
        <pc:spChg chg="mod">
          <ac:chgData name="Yash Ratanpal" userId="5db668b1-93e7-4c08-9786-4ed81315a653" providerId="ADAL" clId="{35CE40C1-3F8C-4A88-9CD7-233EB173ACA1}" dt="2021-08-01T08:18:31.198" v="2008" actId="207"/>
          <ac:spMkLst>
            <pc:docMk/>
            <pc:sldMk cId="3779315297" sldId="1738"/>
            <ac:spMk id="27" creationId="{6ED1533C-4521-4EEE-A65E-E0DB0B7F6FC7}"/>
          </ac:spMkLst>
        </pc:spChg>
        <pc:spChg chg="mod">
          <ac:chgData name="Yash Ratanpal" userId="5db668b1-93e7-4c08-9786-4ed81315a653" providerId="ADAL" clId="{35CE40C1-3F8C-4A88-9CD7-233EB173ACA1}" dt="2021-08-01T07:57:56.603" v="1385" actId="20577"/>
          <ac:spMkLst>
            <pc:docMk/>
            <pc:sldMk cId="3779315297" sldId="1738"/>
            <ac:spMk id="29" creationId="{3BB125DB-D1A7-4BBE-AC67-EFAC8CEC466C}"/>
          </ac:spMkLst>
        </pc:spChg>
      </pc:sldChg>
      <pc:sldChg chg="modSp del mod">
        <pc:chgData name="Yash Ratanpal" userId="5db668b1-93e7-4c08-9786-4ed81315a653" providerId="ADAL" clId="{35CE40C1-3F8C-4A88-9CD7-233EB173ACA1}" dt="2021-08-01T08:33:05.195" v="2297" actId="47"/>
        <pc:sldMkLst>
          <pc:docMk/>
          <pc:sldMk cId="680756666" sldId="1739"/>
        </pc:sldMkLst>
        <pc:spChg chg="mod">
          <ac:chgData name="Yash Ratanpal" userId="5db668b1-93e7-4c08-9786-4ed81315a653" providerId="ADAL" clId="{35CE40C1-3F8C-4A88-9CD7-233EB173ACA1}" dt="2021-08-01T08:31:42.941" v="2250"/>
          <ac:spMkLst>
            <pc:docMk/>
            <pc:sldMk cId="680756666" sldId="1739"/>
            <ac:spMk id="3" creationId="{00000000-0000-0000-0000-000000000000}"/>
          </ac:spMkLst>
        </pc:spChg>
      </pc:sldChg>
      <pc:sldChg chg="add del">
        <pc:chgData name="Yash Ratanpal" userId="5db668b1-93e7-4c08-9786-4ed81315a653" providerId="ADAL" clId="{35CE40C1-3F8C-4A88-9CD7-233EB173ACA1}" dt="2021-08-01T07:53:59.976" v="1362" actId="47"/>
        <pc:sldMkLst>
          <pc:docMk/>
          <pc:sldMk cId="1977437987" sldId="1739"/>
        </pc:sldMkLst>
      </pc:sldChg>
      <pc:sldChg chg="modSp add del mod">
        <pc:chgData name="Yash Ratanpal" userId="5db668b1-93e7-4c08-9786-4ed81315a653" providerId="ADAL" clId="{35CE40C1-3F8C-4A88-9CD7-233EB173ACA1}" dt="2021-08-01T08:37:51.502" v="2372" actId="47"/>
        <pc:sldMkLst>
          <pc:docMk/>
          <pc:sldMk cId="192955763" sldId="1740"/>
        </pc:sldMkLst>
        <pc:spChg chg="mod">
          <ac:chgData name="Yash Ratanpal" userId="5db668b1-93e7-4c08-9786-4ed81315a653" providerId="ADAL" clId="{35CE40C1-3F8C-4A88-9CD7-233EB173ACA1}" dt="2021-08-01T08:35:50.691" v="2303" actId="14100"/>
          <ac:spMkLst>
            <pc:docMk/>
            <pc:sldMk cId="192955763" sldId="1740"/>
            <ac:spMk id="50" creationId="{47D496DD-AF55-471A-8B85-C78DB66F85EC}"/>
          </ac:spMkLst>
        </pc:spChg>
      </pc:sldChg>
      <pc:sldChg chg="modSp add del mod">
        <pc:chgData name="Yash Ratanpal" userId="5db668b1-93e7-4c08-9786-4ed81315a653" providerId="ADAL" clId="{35CE40C1-3F8C-4A88-9CD7-233EB173ACA1}" dt="2021-08-01T08:37:54.997" v="2374" actId="47"/>
        <pc:sldMkLst>
          <pc:docMk/>
          <pc:sldMk cId="1189483208" sldId="1741"/>
        </pc:sldMkLst>
        <pc:spChg chg="mod">
          <ac:chgData name="Yash Ratanpal" userId="5db668b1-93e7-4c08-9786-4ed81315a653" providerId="ADAL" clId="{35CE40C1-3F8C-4A88-9CD7-233EB173ACA1}" dt="2021-08-01T08:32:36.218" v="2296" actId="20577"/>
          <ac:spMkLst>
            <pc:docMk/>
            <pc:sldMk cId="1189483208" sldId="1741"/>
            <ac:spMk id="3" creationId="{00000000-0000-0000-0000-000000000000}"/>
          </ac:spMkLst>
        </pc:spChg>
      </pc:sldChg>
      <pc:sldChg chg="addSp delSp modSp add mod">
        <pc:chgData name="Yash Ratanpal" userId="5db668b1-93e7-4c08-9786-4ed81315a653" providerId="ADAL" clId="{35CE40C1-3F8C-4A88-9CD7-233EB173ACA1}" dt="2021-08-01T09:07:13.353" v="3890" actId="20577"/>
        <pc:sldMkLst>
          <pc:docMk/>
          <pc:sldMk cId="3651165078" sldId="1742"/>
        </pc:sldMkLst>
        <pc:spChg chg="mod">
          <ac:chgData name="Yash Ratanpal" userId="5db668b1-93e7-4c08-9786-4ed81315a653" providerId="ADAL" clId="{35CE40C1-3F8C-4A88-9CD7-233EB173ACA1}" dt="2021-08-01T08:36:50.865" v="2310"/>
          <ac:spMkLst>
            <pc:docMk/>
            <pc:sldMk cId="3651165078" sldId="1742"/>
            <ac:spMk id="29" creationId="{7A70ED6C-3B65-49D8-8882-33B536091B52}"/>
          </ac:spMkLst>
        </pc:spChg>
        <pc:spChg chg="mod">
          <ac:chgData name="Yash Ratanpal" userId="5db668b1-93e7-4c08-9786-4ed81315a653" providerId="ADAL" clId="{35CE40C1-3F8C-4A88-9CD7-233EB173ACA1}" dt="2021-08-01T08:36:50.865" v="2310"/>
          <ac:spMkLst>
            <pc:docMk/>
            <pc:sldMk cId="3651165078" sldId="1742"/>
            <ac:spMk id="30" creationId="{1CEECFBB-B8DF-456D-A2DB-9809461B4EEC}"/>
          </ac:spMkLst>
        </pc:spChg>
        <pc:spChg chg="mod">
          <ac:chgData name="Yash Ratanpal" userId="5db668b1-93e7-4c08-9786-4ed81315a653" providerId="ADAL" clId="{35CE40C1-3F8C-4A88-9CD7-233EB173ACA1}" dt="2021-08-01T08:36:50.865" v="2310"/>
          <ac:spMkLst>
            <pc:docMk/>
            <pc:sldMk cId="3651165078" sldId="1742"/>
            <ac:spMk id="31" creationId="{97CE7FC4-6F1D-454F-9B10-6A693B044F48}"/>
          </ac:spMkLst>
        </pc:spChg>
        <pc:spChg chg="mod">
          <ac:chgData name="Yash Ratanpal" userId="5db668b1-93e7-4c08-9786-4ed81315a653" providerId="ADAL" clId="{35CE40C1-3F8C-4A88-9CD7-233EB173ACA1}" dt="2021-08-01T08:36:50.865" v="2310"/>
          <ac:spMkLst>
            <pc:docMk/>
            <pc:sldMk cId="3651165078" sldId="1742"/>
            <ac:spMk id="32" creationId="{FBF9931C-41DF-4DA7-BC0D-C96D7D1EF26E}"/>
          </ac:spMkLst>
        </pc:spChg>
        <pc:spChg chg="mod">
          <ac:chgData name="Yash Ratanpal" userId="5db668b1-93e7-4c08-9786-4ed81315a653" providerId="ADAL" clId="{35CE40C1-3F8C-4A88-9CD7-233EB173ACA1}" dt="2021-08-01T08:36:50.865" v="2310"/>
          <ac:spMkLst>
            <pc:docMk/>
            <pc:sldMk cId="3651165078" sldId="1742"/>
            <ac:spMk id="33" creationId="{3B8D00BF-0CDE-41BD-A442-14DDEA5D2A22}"/>
          </ac:spMkLst>
        </pc:spChg>
        <pc:spChg chg="mod">
          <ac:chgData name="Yash Ratanpal" userId="5db668b1-93e7-4c08-9786-4ed81315a653" providerId="ADAL" clId="{35CE40C1-3F8C-4A88-9CD7-233EB173ACA1}" dt="2021-08-01T08:36:50.865" v="2310"/>
          <ac:spMkLst>
            <pc:docMk/>
            <pc:sldMk cId="3651165078" sldId="1742"/>
            <ac:spMk id="34" creationId="{05067EA0-D51F-400A-9FF5-55F7C9E6EADE}"/>
          </ac:spMkLst>
        </pc:spChg>
        <pc:spChg chg="add del mod">
          <ac:chgData name="Yash Ratanpal" userId="5db668b1-93e7-4c08-9786-4ed81315a653" providerId="ADAL" clId="{35CE40C1-3F8C-4A88-9CD7-233EB173ACA1}" dt="2021-08-01T08:36:51.880" v="2311"/>
          <ac:spMkLst>
            <pc:docMk/>
            <pc:sldMk cId="3651165078" sldId="1742"/>
            <ac:spMk id="35" creationId="{06CE3A9F-79D9-4F99-8A72-58116328AC15}"/>
          </ac:spMkLst>
        </pc:spChg>
        <pc:spChg chg="add del mod">
          <ac:chgData name="Yash Ratanpal" userId="5db668b1-93e7-4c08-9786-4ed81315a653" providerId="ADAL" clId="{35CE40C1-3F8C-4A88-9CD7-233EB173ACA1}" dt="2021-08-01T08:36:51.880" v="2311"/>
          <ac:spMkLst>
            <pc:docMk/>
            <pc:sldMk cId="3651165078" sldId="1742"/>
            <ac:spMk id="36" creationId="{E07E3C5D-EF78-40D6-9274-F30B4A9F6568}"/>
          </ac:spMkLst>
        </pc:spChg>
        <pc:spChg chg="mod">
          <ac:chgData name="Yash Ratanpal" userId="5db668b1-93e7-4c08-9786-4ed81315a653" providerId="ADAL" clId="{35CE40C1-3F8C-4A88-9CD7-233EB173ACA1}" dt="2021-08-01T08:36:50.865" v="2310"/>
          <ac:spMkLst>
            <pc:docMk/>
            <pc:sldMk cId="3651165078" sldId="1742"/>
            <ac:spMk id="38" creationId="{2FC19B81-A283-42C6-8061-19BE51ED1EF2}"/>
          </ac:spMkLst>
        </pc:spChg>
        <pc:spChg chg="mod">
          <ac:chgData name="Yash Ratanpal" userId="5db668b1-93e7-4c08-9786-4ed81315a653" providerId="ADAL" clId="{35CE40C1-3F8C-4A88-9CD7-233EB173ACA1}" dt="2021-08-01T08:36:50.865" v="2310"/>
          <ac:spMkLst>
            <pc:docMk/>
            <pc:sldMk cId="3651165078" sldId="1742"/>
            <ac:spMk id="39" creationId="{D998509F-7336-4156-A66F-BC5DFB3AB775}"/>
          </ac:spMkLst>
        </pc:spChg>
        <pc:spChg chg="mod">
          <ac:chgData name="Yash Ratanpal" userId="5db668b1-93e7-4c08-9786-4ed81315a653" providerId="ADAL" clId="{35CE40C1-3F8C-4A88-9CD7-233EB173ACA1}" dt="2021-08-01T08:39:05.450" v="2434" actId="20577"/>
          <ac:spMkLst>
            <pc:docMk/>
            <pc:sldMk cId="3651165078" sldId="1742"/>
            <ac:spMk id="40" creationId="{179E3CA3-8533-4BB4-86DE-C6CCE02412C0}"/>
          </ac:spMkLst>
        </pc:spChg>
        <pc:spChg chg="mod">
          <ac:chgData name="Yash Ratanpal" userId="5db668b1-93e7-4c08-9786-4ed81315a653" providerId="ADAL" clId="{35CE40C1-3F8C-4A88-9CD7-233EB173ACA1}" dt="2021-08-01T08:36:50.865" v="2310"/>
          <ac:spMkLst>
            <pc:docMk/>
            <pc:sldMk cId="3651165078" sldId="1742"/>
            <ac:spMk id="41" creationId="{46A877E7-AFDE-4216-8EAA-76E3A7120D0B}"/>
          </ac:spMkLst>
        </pc:spChg>
        <pc:spChg chg="mod">
          <ac:chgData name="Yash Ratanpal" userId="5db668b1-93e7-4c08-9786-4ed81315a653" providerId="ADAL" clId="{35CE40C1-3F8C-4A88-9CD7-233EB173ACA1}" dt="2021-08-01T08:36:50.865" v="2310"/>
          <ac:spMkLst>
            <pc:docMk/>
            <pc:sldMk cId="3651165078" sldId="1742"/>
            <ac:spMk id="42" creationId="{BE83106B-7B5A-46C2-A49F-811AB50E5504}"/>
          </ac:spMkLst>
        </pc:spChg>
        <pc:spChg chg="del mod topLvl">
          <ac:chgData name="Yash Ratanpal" userId="5db668b1-93e7-4c08-9786-4ed81315a653" providerId="ADAL" clId="{35CE40C1-3F8C-4A88-9CD7-233EB173ACA1}" dt="2021-08-01T08:36:45.808" v="2309" actId="478"/>
          <ac:spMkLst>
            <pc:docMk/>
            <pc:sldMk cId="3651165078" sldId="1742"/>
            <ac:spMk id="43" creationId="{8A1C7188-F23C-485F-87A4-C0C7B84CD4A8}"/>
          </ac:spMkLst>
        </pc:spChg>
        <pc:spChg chg="del mod topLvl">
          <ac:chgData name="Yash Ratanpal" userId="5db668b1-93e7-4c08-9786-4ed81315a653" providerId="ADAL" clId="{35CE40C1-3F8C-4A88-9CD7-233EB173ACA1}" dt="2021-08-01T08:36:45.808" v="2309" actId="478"/>
          <ac:spMkLst>
            <pc:docMk/>
            <pc:sldMk cId="3651165078" sldId="1742"/>
            <ac:spMk id="44" creationId="{9BBB7B13-383C-4502-9A8E-3B19DA2FDCA9}"/>
          </ac:spMkLst>
        </pc:spChg>
        <pc:spChg chg="mod">
          <ac:chgData name="Yash Ratanpal" userId="5db668b1-93e7-4c08-9786-4ed81315a653" providerId="ADAL" clId="{35CE40C1-3F8C-4A88-9CD7-233EB173ACA1}" dt="2021-08-01T08:36:50.865" v="2310"/>
          <ac:spMkLst>
            <pc:docMk/>
            <pc:sldMk cId="3651165078" sldId="1742"/>
            <ac:spMk id="45" creationId="{28844CF2-2997-46D8-A910-7F1116C12A18}"/>
          </ac:spMkLst>
        </pc:spChg>
        <pc:spChg chg="mod">
          <ac:chgData name="Yash Ratanpal" userId="5db668b1-93e7-4c08-9786-4ed81315a653" providerId="ADAL" clId="{35CE40C1-3F8C-4A88-9CD7-233EB173ACA1}" dt="2021-08-01T08:36:50.865" v="2310"/>
          <ac:spMkLst>
            <pc:docMk/>
            <pc:sldMk cId="3651165078" sldId="1742"/>
            <ac:spMk id="46" creationId="{087854EE-8635-4291-A43A-6EA2E0850D80}"/>
          </ac:spMkLst>
        </pc:spChg>
        <pc:spChg chg="del mod topLvl">
          <ac:chgData name="Yash Ratanpal" userId="5db668b1-93e7-4c08-9786-4ed81315a653" providerId="ADAL" clId="{35CE40C1-3F8C-4A88-9CD7-233EB173ACA1}" dt="2021-08-01T08:36:32.467" v="2307" actId="478"/>
          <ac:spMkLst>
            <pc:docMk/>
            <pc:sldMk cId="3651165078" sldId="1742"/>
            <ac:spMk id="47" creationId="{C5B57EDF-1D06-4820-B1E8-2DEDB249EBEA}"/>
          </ac:spMkLst>
        </pc:spChg>
        <pc:spChg chg="del mod topLvl">
          <ac:chgData name="Yash Ratanpal" userId="5db668b1-93e7-4c08-9786-4ed81315a653" providerId="ADAL" clId="{35CE40C1-3F8C-4A88-9CD7-233EB173ACA1}" dt="2021-08-01T08:36:32.467" v="2307" actId="478"/>
          <ac:spMkLst>
            <pc:docMk/>
            <pc:sldMk cId="3651165078" sldId="1742"/>
            <ac:spMk id="48" creationId="{C157145E-68D7-4295-A19C-23CB81AB6294}"/>
          </ac:spMkLst>
        </pc:spChg>
        <pc:spChg chg="del mod topLvl">
          <ac:chgData name="Yash Ratanpal" userId="5db668b1-93e7-4c08-9786-4ed81315a653" providerId="ADAL" clId="{35CE40C1-3F8C-4A88-9CD7-233EB173ACA1}" dt="2021-08-01T08:36:32.467" v="2307" actId="478"/>
          <ac:spMkLst>
            <pc:docMk/>
            <pc:sldMk cId="3651165078" sldId="1742"/>
            <ac:spMk id="49" creationId="{0E4AED46-C976-441C-B2ED-0D352B3E6847}"/>
          </ac:spMkLst>
        </pc:spChg>
        <pc:spChg chg="del mod topLvl">
          <ac:chgData name="Yash Ratanpal" userId="5db668b1-93e7-4c08-9786-4ed81315a653" providerId="ADAL" clId="{35CE40C1-3F8C-4A88-9CD7-233EB173ACA1}" dt="2021-08-01T08:36:32.467" v="2307" actId="478"/>
          <ac:spMkLst>
            <pc:docMk/>
            <pc:sldMk cId="3651165078" sldId="1742"/>
            <ac:spMk id="50" creationId="{47D496DD-AF55-471A-8B85-C78DB66F85EC}"/>
          </ac:spMkLst>
        </pc:spChg>
        <pc:spChg chg="del mod topLvl">
          <ac:chgData name="Yash Ratanpal" userId="5db668b1-93e7-4c08-9786-4ed81315a653" providerId="ADAL" clId="{35CE40C1-3F8C-4A88-9CD7-233EB173ACA1}" dt="2021-08-01T08:36:32.467" v="2307" actId="478"/>
          <ac:spMkLst>
            <pc:docMk/>
            <pc:sldMk cId="3651165078" sldId="1742"/>
            <ac:spMk id="51" creationId="{BBAD7030-2E2A-4F81-8192-D3E761C92A2D}"/>
          </ac:spMkLst>
        </pc:spChg>
        <pc:spChg chg="del mod topLvl">
          <ac:chgData name="Yash Ratanpal" userId="5db668b1-93e7-4c08-9786-4ed81315a653" providerId="ADAL" clId="{35CE40C1-3F8C-4A88-9CD7-233EB173ACA1}" dt="2021-08-01T08:36:32.467" v="2307" actId="478"/>
          <ac:spMkLst>
            <pc:docMk/>
            <pc:sldMk cId="3651165078" sldId="1742"/>
            <ac:spMk id="52" creationId="{BF799F85-665E-4340-8CBC-D3694D5DC30B}"/>
          </ac:spMkLst>
        </pc:spChg>
        <pc:spChg chg="del mod topLvl">
          <ac:chgData name="Yash Ratanpal" userId="5db668b1-93e7-4c08-9786-4ed81315a653" providerId="ADAL" clId="{35CE40C1-3F8C-4A88-9CD7-233EB173ACA1}" dt="2021-08-01T08:36:32.467" v="2307" actId="478"/>
          <ac:spMkLst>
            <pc:docMk/>
            <pc:sldMk cId="3651165078" sldId="1742"/>
            <ac:spMk id="53" creationId="{42A810E2-FCE4-422F-8A56-C3C29C3FFC97}"/>
          </ac:spMkLst>
        </pc:spChg>
        <pc:spChg chg="del mod topLvl">
          <ac:chgData name="Yash Ratanpal" userId="5db668b1-93e7-4c08-9786-4ed81315a653" providerId="ADAL" clId="{35CE40C1-3F8C-4A88-9CD7-233EB173ACA1}" dt="2021-08-01T08:36:32.467" v="2307" actId="478"/>
          <ac:spMkLst>
            <pc:docMk/>
            <pc:sldMk cId="3651165078" sldId="1742"/>
            <ac:spMk id="54" creationId="{A2B329FF-DC18-40CD-921D-A21A7DCE82A9}"/>
          </ac:spMkLst>
        </pc:spChg>
        <pc:spChg chg="del mod topLvl">
          <ac:chgData name="Yash Ratanpal" userId="5db668b1-93e7-4c08-9786-4ed81315a653" providerId="ADAL" clId="{35CE40C1-3F8C-4A88-9CD7-233EB173ACA1}" dt="2021-08-01T08:36:32.467" v="2307" actId="478"/>
          <ac:spMkLst>
            <pc:docMk/>
            <pc:sldMk cId="3651165078" sldId="1742"/>
            <ac:spMk id="55" creationId="{5E83EBD2-B907-4CBC-9711-1C6EE647BCCB}"/>
          </ac:spMkLst>
        </pc:spChg>
        <pc:spChg chg="del mod topLvl">
          <ac:chgData name="Yash Ratanpal" userId="5db668b1-93e7-4c08-9786-4ed81315a653" providerId="ADAL" clId="{35CE40C1-3F8C-4A88-9CD7-233EB173ACA1}" dt="2021-08-01T08:36:32.467" v="2307" actId="478"/>
          <ac:spMkLst>
            <pc:docMk/>
            <pc:sldMk cId="3651165078" sldId="1742"/>
            <ac:spMk id="56" creationId="{702695D3-87F7-4CA4-8494-65EDECD2B554}"/>
          </ac:spMkLst>
        </pc:spChg>
        <pc:spChg chg="del mod topLvl">
          <ac:chgData name="Yash Ratanpal" userId="5db668b1-93e7-4c08-9786-4ed81315a653" providerId="ADAL" clId="{35CE40C1-3F8C-4A88-9CD7-233EB173ACA1}" dt="2021-08-01T08:36:32.467" v="2307" actId="478"/>
          <ac:spMkLst>
            <pc:docMk/>
            <pc:sldMk cId="3651165078" sldId="1742"/>
            <ac:spMk id="57" creationId="{9F0C2506-F2AC-42D1-8E60-74BBC5EC3091}"/>
          </ac:spMkLst>
        </pc:spChg>
        <pc:spChg chg="del mod topLvl">
          <ac:chgData name="Yash Ratanpal" userId="5db668b1-93e7-4c08-9786-4ed81315a653" providerId="ADAL" clId="{35CE40C1-3F8C-4A88-9CD7-233EB173ACA1}" dt="2021-08-01T08:36:32.467" v="2307" actId="478"/>
          <ac:spMkLst>
            <pc:docMk/>
            <pc:sldMk cId="3651165078" sldId="1742"/>
            <ac:spMk id="58" creationId="{A681AA56-6395-42A0-BFFF-EDA1D2DF212E}"/>
          </ac:spMkLst>
        </pc:spChg>
        <pc:spChg chg="del">
          <ac:chgData name="Yash Ratanpal" userId="5db668b1-93e7-4c08-9786-4ed81315a653" providerId="ADAL" clId="{35CE40C1-3F8C-4A88-9CD7-233EB173ACA1}" dt="2021-08-01T08:36:34.845" v="2308" actId="478"/>
          <ac:spMkLst>
            <pc:docMk/>
            <pc:sldMk cId="3651165078" sldId="1742"/>
            <ac:spMk id="59" creationId="{BA905ED6-77FF-4404-9256-0D78FBB13EB6}"/>
          </ac:spMkLst>
        </pc:spChg>
        <pc:spChg chg="del mod topLvl">
          <ac:chgData name="Yash Ratanpal" userId="5db668b1-93e7-4c08-9786-4ed81315a653" providerId="ADAL" clId="{35CE40C1-3F8C-4A88-9CD7-233EB173ACA1}" dt="2021-08-01T08:36:32.467" v="2307" actId="478"/>
          <ac:spMkLst>
            <pc:docMk/>
            <pc:sldMk cId="3651165078" sldId="1742"/>
            <ac:spMk id="60" creationId="{76B4BE8A-A73B-4B26-BC1B-936AA620205A}"/>
          </ac:spMkLst>
        </pc:spChg>
        <pc:spChg chg="del mod topLvl">
          <ac:chgData name="Yash Ratanpal" userId="5db668b1-93e7-4c08-9786-4ed81315a653" providerId="ADAL" clId="{35CE40C1-3F8C-4A88-9CD7-233EB173ACA1}" dt="2021-08-01T08:36:32.467" v="2307" actId="478"/>
          <ac:spMkLst>
            <pc:docMk/>
            <pc:sldMk cId="3651165078" sldId="1742"/>
            <ac:spMk id="61" creationId="{4F539299-F878-42E7-B34A-F8D1FEB20D21}"/>
          </ac:spMkLst>
        </pc:spChg>
        <pc:spChg chg="del mod topLvl">
          <ac:chgData name="Yash Ratanpal" userId="5db668b1-93e7-4c08-9786-4ed81315a653" providerId="ADAL" clId="{35CE40C1-3F8C-4A88-9CD7-233EB173ACA1}" dt="2021-08-01T08:36:32.467" v="2307" actId="478"/>
          <ac:spMkLst>
            <pc:docMk/>
            <pc:sldMk cId="3651165078" sldId="1742"/>
            <ac:spMk id="62" creationId="{B2654BB8-C2E6-499A-B148-90B211EF1DCE}"/>
          </ac:spMkLst>
        </pc:spChg>
        <pc:spChg chg="del mod topLvl">
          <ac:chgData name="Yash Ratanpal" userId="5db668b1-93e7-4c08-9786-4ed81315a653" providerId="ADAL" clId="{35CE40C1-3F8C-4A88-9CD7-233EB173ACA1}" dt="2021-08-01T08:36:32.467" v="2307" actId="478"/>
          <ac:spMkLst>
            <pc:docMk/>
            <pc:sldMk cId="3651165078" sldId="1742"/>
            <ac:spMk id="63" creationId="{E7D69ACA-C741-460F-8240-727229FD8706}"/>
          </ac:spMkLst>
        </pc:spChg>
        <pc:spChg chg="del mod topLvl">
          <ac:chgData name="Yash Ratanpal" userId="5db668b1-93e7-4c08-9786-4ed81315a653" providerId="ADAL" clId="{35CE40C1-3F8C-4A88-9CD7-233EB173ACA1}" dt="2021-08-01T08:36:32.467" v="2307" actId="478"/>
          <ac:spMkLst>
            <pc:docMk/>
            <pc:sldMk cId="3651165078" sldId="1742"/>
            <ac:spMk id="64" creationId="{6B63B8E9-30D3-47FB-8850-D76232DAFB8A}"/>
          </ac:spMkLst>
        </pc:spChg>
        <pc:spChg chg="del mod topLvl">
          <ac:chgData name="Yash Ratanpal" userId="5db668b1-93e7-4c08-9786-4ed81315a653" providerId="ADAL" clId="{35CE40C1-3F8C-4A88-9CD7-233EB173ACA1}" dt="2021-08-01T08:36:32.467" v="2307" actId="478"/>
          <ac:spMkLst>
            <pc:docMk/>
            <pc:sldMk cId="3651165078" sldId="1742"/>
            <ac:spMk id="65" creationId="{86801FB7-9087-41C0-ABCC-41323F7050F1}"/>
          </ac:spMkLst>
        </pc:spChg>
        <pc:spChg chg="mod topLvl">
          <ac:chgData name="Yash Ratanpal" userId="5db668b1-93e7-4c08-9786-4ed81315a653" providerId="ADAL" clId="{35CE40C1-3F8C-4A88-9CD7-233EB173ACA1}" dt="2021-08-01T08:44:07.959" v="2653" actId="1076"/>
          <ac:spMkLst>
            <pc:docMk/>
            <pc:sldMk cId="3651165078" sldId="1742"/>
            <ac:spMk id="67" creationId="{D75B7F2D-BBDA-4913-8852-84F2F6315DDC}"/>
          </ac:spMkLst>
        </pc:spChg>
        <pc:spChg chg="mod topLvl">
          <ac:chgData name="Yash Ratanpal" userId="5db668b1-93e7-4c08-9786-4ed81315a653" providerId="ADAL" clId="{35CE40C1-3F8C-4A88-9CD7-233EB173ACA1}" dt="2021-08-01T08:45:38.412" v="2749" actId="20577"/>
          <ac:spMkLst>
            <pc:docMk/>
            <pc:sldMk cId="3651165078" sldId="1742"/>
            <ac:spMk id="68" creationId="{50E06F09-1FAE-4182-AA26-8EA7728ED40B}"/>
          </ac:spMkLst>
        </pc:spChg>
        <pc:spChg chg="mod topLvl">
          <ac:chgData name="Yash Ratanpal" userId="5db668b1-93e7-4c08-9786-4ed81315a653" providerId="ADAL" clId="{35CE40C1-3F8C-4A88-9CD7-233EB173ACA1}" dt="2021-08-01T08:44:18.203" v="2654" actId="1076"/>
          <ac:spMkLst>
            <pc:docMk/>
            <pc:sldMk cId="3651165078" sldId="1742"/>
            <ac:spMk id="69" creationId="{991AF0AA-5A3D-4796-93A4-0402FE55BDB6}"/>
          </ac:spMkLst>
        </pc:spChg>
        <pc:spChg chg="mod topLvl">
          <ac:chgData name="Yash Ratanpal" userId="5db668b1-93e7-4c08-9786-4ed81315a653" providerId="ADAL" clId="{35CE40C1-3F8C-4A88-9CD7-233EB173ACA1}" dt="2021-08-01T08:44:18.203" v="2654" actId="1076"/>
          <ac:spMkLst>
            <pc:docMk/>
            <pc:sldMk cId="3651165078" sldId="1742"/>
            <ac:spMk id="70" creationId="{04AC36F3-C99E-47A4-BB76-E14BED64CDFE}"/>
          </ac:spMkLst>
        </pc:spChg>
        <pc:spChg chg="mod topLvl">
          <ac:chgData name="Yash Ratanpal" userId="5db668b1-93e7-4c08-9786-4ed81315a653" providerId="ADAL" clId="{35CE40C1-3F8C-4A88-9CD7-233EB173ACA1}" dt="2021-08-01T08:44:01.404" v="2651" actId="165"/>
          <ac:spMkLst>
            <pc:docMk/>
            <pc:sldMk cId="3651165078" sldId="1742"/>
            <ac:spMk id="71" creationId="{CCC796BA-0C3B-47D2-9A88-2480B2097C71}"/>
          </ac:spMkLst>
        </pc:spChg>
        <pc:spChg chg="mod topLvl">
          <ac:chgData name="Yash Ratanpal" userId="5db668b1-93e7-4c08-9786-4ed81315a653" providerId="ADAL" clId="{35CE40C1-3F8C-4A88-9CD7-233EB173ACA1}" dt="2021-08-01T08:47:45.904" v="2807" actId="20577"/>
          <ac:spMkLst>
            <pc:docMk/>
            <pc:sldMk cId="3651165078" sldId="1742"/>
            <ac:spMk id="72" creationId="{2BFD3F71-0994-4468-A2F5-D1F59BBAD7F2}"/>
          </ac:spMkLst>
        </pc:spChg>
        <pc:spChg chg="add mod topLvl">
          <ac:chgData name="Yash Ratanpal" userId="5db668b1-93e7-4c08-9786-4ed81315a653" providerId="ADAL" clId="{35CE40C1-3F8C-4A88-9CD7-233EB173ACA1}" dt="2021-08-01T08:43:57.827" v="2650" actId="165"/>
          <ac:spMkLst>
            <pc:docMk/>
            <pc:sldMk cId="3651165078" sldId="1742"/>
            <ac:spMk id="73" creationId="{6048BFC7-7CA7-4CD5-941E-A796863F9BD5}"/>
          </ac:spMkLst>
        </pc:spChg>
        <pc:spChg chg="add mod topLvl">
          <ac:chgData name="Yash Ratanpal" userId="5db668b1-93e7-4c08-9786-4ed81315a653" providerId="ADAL" clId="{35CE40C1-3F8C-4A88-9CD7-233EB173ACA1}" dt="2021-08-01T08:43:57.827" v="2650" actId="165"/>
          <ac:spMkLst>
            <pc:docMk/>
            <pc:sldMk cId="3651165078" sldId="1742"/>
            <ac:spMk id="74" creationId="{F61EAB8B-F852-473A-BE3D-30F1760C7A95}"/>
          </ac:spMkLst>
        </pc:spChg>
        <pc:spChg chg="del mod topLvl">
          <ac:chgData name="Yash Ratanpal" userId="5db668b1-93e7-4c08-9786-4ed81315a653" providerId="ADAL" clId="{35CE40C1-3F8C-4A88-9CD7-233EB173ACA1}" dt="2021-08-01T08:54:17.421" v="2919" actId="478"/>
          <ac:spMkLst>
            <pc:docMk/>
            <pc:sldMk cId="3651165078" sldId="1742"/>
            <ac:spMk id="76" creationId="{1B077958-2AEA-4A5A-B96A-CDE6B10FF1DD}"/>
          </ac:spMkLst>
        </pc:spChg>
        <pc:spChg chg="del mod topLvl">
          <ac:chgData name="Yash Ratanpal" userId="5db668b1-93e7-4c08-9786-4ed81315a653" providerId="ADAL" clId="{35CE40C1-3F8C-4A88-9CD7-233EB173ACA1}" dt="2021-08-01T08:54:17.421" v="2919" actId="478"/>
          <ac:spMkLst>
            <pc:docMk/>
            <pc:sldMk cId="3651165078" sldId="1742"/>
            <ac:spMk id="77" creationId="{3E9520CF-CAA8-499F-8C56-781167CCDAD4}"/>
          </ac:spMkLst>
        </pc:spChg>
        <pc:spChg chg="del mod topLvl">
          <ac:chgData name="Yash Ratanpal" userId="5db668b1-93e7-4c08-9786-4ed81315a653" providerId="ADAL" clId="{35CE40C1-3F8C-4A88-9CD7-233EB173ACA1}" dt="2021-08-01T08:55:38.469" v="2988" actId="478"/>
          <ac:spMkLst>
            <pc:docMk/>
            <pc:sldMk cId="3651165078" sldId="1742"/>
            <ac:spMk id="78" creationId="{F48BA2F5-8E95-4354-A3D5-707E43633DC1}"/>
          </ac:spMkLst>
        </pc:spChg>
        <pc:spChg chg="del mod topLvl">
          <ac:chgData name="Yash Ratanpal" userId="5db668b1-93e7-4c08-9786-4ed81315a653" providerId="ADAL" clId="{35CE40C1-3F8C-4A88-9CD7-233EB173ACA1}" dt="2021-08-01T08:55:38.469" v="2988" actId="478"/>
          <ac:spMkLst>
            <pc:docMk/>
            <pc:sldMk cId="3651165078" sldId="1742"/>
            <ac:spMk id="79" creationId="{BB3C178C-F784-4B41-B970-C0881CB6F40D}"/>
          </ac:spMkLst>
        </pc:spChg>
        <pc:spChg chg="del mod topLvl">
          <ac:chgData name="Yash Ratanpal" userId="5db668b1-93e7-4c08-9786-4ed81315a653" providerId="ADAL" clId="{35CE40C1-3F8C-4A88-9CD7-233EB173ACA1}" dt="2021-08-01T08:54:23.211" v="2921" actId="478"/>
          <ac:spMkLst>
            <pc:docMk/>
            <pc:sldMk cId="3651165078" sldId="1742"/>
            <ac:spMk id="80" creationId="{3AE40F08-3045-4563-BF24-5C2E7C6EB7CD}"/>
          </ac:spMkLst>
        </pc:spChg>
        <pc:spChg chg="del mod topLvl">
          <ac:chgData name="Yash Ratanpal" userId="5db668b1-93e7-4c08-9786-4ed81315a653" providerId="ADAL" clId="{35CE40C1-3F8C-4A88-9CD7-233EB173ACA1}" dt="2021-08-01T08:54:23.659" v="2922" actId="478"/>
          <ac:spMkLst>
            <pc:docMk/>
            <pc:sldMk cId="3651165078" sldId="1742"/>
            <ac:spMk id="81" creationId="{C48CB337-2A7C-4D2C-8A36-683F73896FE5}"/>
          </ac:spMkLst>
        </pc:spChg>
        <pc:spChg chg="add del">
          <ac:chgData name="Yash Ratanpal" userId="5db668b1-93e7-4c08-9786-4ed81315a653" providerId="ADAL" clId="{35CE40C1-3F8C-4A88-9CD7-233EB173ACA1}" dt="2021-08-01T08:52:06.446" v="2908" actId="22"/>
          <ac:spMkLst>
            <pc:docMk/>
            <pc:sldMk cId="3651165078" sldId="1742"/>
            <ac:spMk id="82" creationId="{F664BAAF-798E-41B7-A3CC-748B312BD4E3}"/>
          </ac:spMkLst>
        </pc:spChg>
        <pc:spChg chg="add del mod">
          <ac:chgData name="Yash Ratanpal" userId="5db668b1-93e7-4c08-9786-4ed81315a653" providerId="ADAL" clId="{35CE40C1-3F8C-4A88-9CD7-233EB173ACA1}" dt="2021-08-01T08:55:30.578" v="2987" actId="478"/>
          <ac:spMkLst>
            <pc:docMk/>
            <pc:sldMk cId="3651165078" sldId="1742"/>
            <ac:spMk id="83" creationId="{362EFD22-AE00-4852-B829-95D92631D6B4}"/>
          </ac:spMkLst>
        </pc:spChg>
        <pc:spChg chg="add del mod">
          <ac:chgData name="Yash Ratanpal" userId="5db668b1-93e7-4c08-9786-4ed81315a653" providerId="ADAL" clId="{35CE40C1-3F8C-4A88-9CD7-233EB173ACA1}" dt="2021-08-01T08:55:30.578" v="2987" actId="478"/>
          <ac:spMkLst>
            <pc:docMk/>
            <pc:sldMk cId="3651165078" sldId="1742"/>
            <ac:spMk id="84" creationId="{A2BB4689-5F38-4B5D-8544-445B062C7AE3}"/>
          </ac:spMkLst>
        </pc:spChg>
        <pc:spChg chg="add del mod">
          <ac:chgData name="Yash Ratanpal" userId="5db668b1-93e7-4c08-9786-4ed81315a653" providerId="ADAL" clId="{35CE40C1-3F8C-4A88-9CD7-233EB173ACA1}" dt="2021-08-01T08:55:30.578" v="2987" actId="478"/>
          <ac:spMkLst>
            <pc:docMk/>
            <pc:sldMk cId="3651165078" sldId="1742"/>
            <ac:spMk id="85" creationId="{481EF10E-26C2-4769-9C5F-888D18F381CD}"/>
          </ac:spMkLst>
        </pc:spChg>
        <pc:spChg chg="add del mod">
          <ac:chgData name="Yash Ratanpal" userId="5db668b1-93e7-4c08-9786-4ed81315a653" providerId="ADAL" clId="{35CE40C1-3F8C-4A88-9CD7-233EB173ACA1}" dt="2021-08-01T08:55:30.578" v="2987" actId="478"/>
          <ac:spMkLst>
            <pc:docMk/>
            <pc:sldMk cId="3651165078" sldId="1742"/>
            <ac:spMk id="86" creationId="{BAE4AFEF-0FBE-4264-891F-691945B3FE6C}"/>
          </ac:spMkLst>
        </pc:spChg>
        <pc:spChg chg="add mod">
          <ac:chgData name="Yash Ratanpal" userId="5db668b1-93e7-4c08-9786-4ed81315a653" providerId="ADAL" clId="{35CE40C1-3F8C-4A88-9CD7-233EB173ACA1}" dt="2021-08-01T09:03:05.288" v="3730" actId="14100"/>
          <ac:spMkLst>
            <pc:docMk/>
            <pc:sldMk cId="3651165078" sldId="1742"/>
            <ac:spMk id="87" creationId="{4034BADD-6C4E-48F3-9B39-3FE4AF712973}"/>
          </ac:spMkLst>
        </pc:spChg>
        <pc:spChg chg="add mod">
          <ac:chgData name="Yash Ratanpal" userId="5db668b1-93e7-4c08-9786-4ed81315a653" providerId="ADAL" clId="{35CE40C1-3F8C-4A88-9CD7-233EB173ACA1}" dt="2021-08-01T09:03:24.183" v="3736" actId="6549"/>
          <ac:spMkLst>
            <pc:docMk/>
            <pc:sldMk cId="3651165078" sldId="1742"/>
            <ac:spMk id="88" creationId="{F75CC6D2-43EF-4E8C-858A-FBC5D091D9A4}"/>
          </ac:spMkLst>
        </pc:spChg>
        <pc:spChg chg="add mod">
          <ac:chgData name="Yash Ratanpal" userId="5db668b1-93e7-4c08-9786-4ed81315a653" providerId="ADAL" clId="{35CE40C1-3F8C-4A88-9CD7-233EB173ACA1}" dt="2021-08-01T08:55:53.255" v="3028" actId="20577"/>
          <ac:spMkLst>
            <pc:docMk/>
            <pc:sldMk cId="3651165078" sldId="1742"/>
            <ac:spMk id="89" creationId="{A3CAED92-B8AE-47AA-838F-D676CE1E46E2}"/>
          </ac:spMkLst>
        </pc:spChg>
        <pc:spChg chg="add mod">
          <ac:chgData name="Yash Ratanpal" userId="5db668b1-93e7-4c08-9786-4ed81315a653" providerId="ADAL" clId="{35CE40C1-3F8C-4A88-9CD7-233EB173ACA1}" dt="2021-08-01T08:59:40.004" v="3452" actId="313"/>
          <ac:spMkLst>
            <pc:docMk/>
            <pc:sldMk cId="3651165078" sldId="1742"/>
            <ac:spMk id="90" creationId="{045A693C-7EBD-4602-BE43-D055ED917C52}"/>
          </ac:spMkLst>
        </pc:spChg>
        <pc:spChg chg="add mod">
          <ac:chgData name="Yash Ratanpal" userId="5db668b1-93e7-4c08-9786-4ed81315a653" providerId="ADAL" clId="{35CE40C1-3F8C-4A88-9CD7-233EB173ACA1}" dt="2021-08-01T09:02:58.779" v="3728" actId="14100"/>
          <ac:spMkLst>
            <pc:docMk/>
            <pc:sldMk cId="3651165078" sldId="1742"/>
            <ac:spMk id="91" creationId="{37388E33-79F6-49E1-8366-1EBC085B26F5}"/>
          </ac:spMkLst>
        </pc:spChg>
        <pc:spChg chg="add mod">
          <ac:chgData name="Yash Ratanpal" userId="5db668b1-93e7-4c08-9786-4ed81315a653" providerId="ADAL" clId="{35CE40C1-3F8C-4A88-9CD7-233EB173ACA1}" dt="2021-08-01T09:07:13.353" v="3890" actId="20577"/>
          <ac:spMkLst>
            <pc:docMk/>
            <pc:sldMk cId="3651165078" sldId="1742"/>
            <ac:spMk id="92" creationId="{21869613-1574-4383-9FE6-E2AB3CA002AB}"/>
          </ac:spMkLst>
        </pc:spChg>
        <pc:grpChg chg="add del mod">
          <ac:chgData name="Yash Ratanpal" userId="5db668b1-93e7-4c08-9786-4ed81315a653" providerId="ADAL" clId="{35CE40C1-3F8C-4A88-9CD7-233EB173ACA1}" dt="2021-08-01T08:43:57.827" v="2650" actId="165"/>
          <ac:grpSpMkLst>
            <pc:docMk/>
            <pc:sldMk cId="3651165078" sldId="1742"/>
            <ac:grpSpMk id="4" creationId="{E683E03F-20C6-4285-AAC2-03E557F82485}"/>
          </ac:grpSpMkLst>
        </pc:grpChg>
        <pc:grpChg chg="del">
          <ac:chgData name="Yash Ratanpal" userId="5db668b1-93e7-4c08-9786-4ed81315a653" providerId="ADAL" clId="{35CE40C1-3F8C-4A88-9CD7-233EB173ACA1}" dt="2021-08-01T08:36:30.258" v="2306" actId="165"/>
          <ac:grpSpMkLst>
            <pc:docMk/>
            <pc:sldMk cId="3651165078" sldId="1742"/>
            <ac:grpSpMk id="9" creationId="{A89148E0-1608-46DF-869E-043005203FAD}"/>
          </ac:grpSpMkLst>
        </pc:grpChg>
        <pc:grpChg chg="del">
          <ac:chgData name="Yash Ratanpal" userId="5db668b1-93e7-4c08-9786-4ed81315a653" providerId="ADAL" clId="{35CE40C1-3F8C-4A88-9CD7-233EB173ACA1}" dt="2021-08-01T08:36:26.342" v="2305" actId="165"/>
          <ac:grpSpMkLst>
            <pc:docMk/>
            <pc:sldMk cId="3651165078" sldId="1742"/>
            <ac:grpSpMk id="10" creationId="{5D27247E-5F3A-446D-B81C-EE6F80742ECC}"/>
          </ac:grpSpMkLst>
        </pc:grpChg>
        <pc:grpChg chg="add del mod">
          <ac:chgData name="Yash Ratanpal" userId="5db668b1-93e7-4c08-9786-4ed81315a653" providerId="ADAL" clId="{35CE40C1-3F8C-4A88-9CD7-233EB173ACA1}" dt="2021-08-01T08:36:51.880" v="2311"/>
          <ac:grpSpMkLst>
            <pc:docMk/>
            <pc:sldMk cId="3651165078" sldId="1742"/>
            <ac:grpSpMk id="28" creationId="{12800B71-6B30-4ABA-BC93-D10FB08E5AF8}"/>
          </ac:grpSpMkLst>
        </pc:grpChg>
        <pc:grpChg chg="add del mod">
          <ac:chgData name="Yash Ratanpal" userId="5db668b1-93e7-4c08-9786-4ed81315a653" providerId="ADAL" clId="{35CE40C1-3F8C-4A88-9CD7-233EB173ACA1}" dt="2021-08-01T08:36:51.880" v="2311"/>
          <ac:grpSpMkLst>
            <pc:docMk/>
            <pc:sldMk cId="3651165078" sldId="1742"/>
            <ac:grpSpMk id="37" creationId="{0D254D60-1334-4496-A2A8-84CBF90F4932}"/>
          </ac:grpSpMkLst>
        </pc:grpChg>
        <pc:grpChg chg="add del mod topLvl">
          <ac:chgData name="Yash Ratanpal" userId="5db668b1-93e7-4c08-9786-4ed81315a653" providerId="ADAL" clId="{35CE40C1-3F8C-4A88-9CD7-233EB173ACA1}" dt="2021-08-01T08:44:01.404" v="2651" actId="165"/>
          <ac:grpSpMkLst>
            <pc:docMk/>
            <pc:sldMk cId="3651165078" sldId="1742"/>
            <ac:grpSpMk id="66" creationId="{93326D52-39D9-42E5-B6B4-D3B21C57F0B8}"/>
          </ac:grpSpMkLst>
        </pc:grpChg>
        <pc:grpChg chg="add del mod topLvl">
          <ac:chgData name="Yash Ratanpal" userId="5db668b1-93e7-4c08-9786-4ed81315a653" providerId="ADAL" clId="{35CE40C1-3F8C-4A88-9CD7-233EB173ACA1}" dt="2021-08-01T08:52:12.197" v="2910" actId="165"/>
          <ac:grpSpMkLst>
            <pc:docMk/>
            <pc:sldMk cId="3651165078" sldId="1742"/>
            <ac:grpSpMk id="75" creationId="{61E9547A-6FB1-4991-9636-7678BAECE245}"/>
          </ac:grpSpMkLst>
        </pc:grpChg>
      </pc:sldChg>
      <pc:sldChg chg="addSp delSp modSp add mod">
        <pc:chgData name="Yash Ratanpal" userId="5db668b1-93e7-4c08-9786-4ed81315a653" providerId="ADAL" clId="{35CE40C1-3F8C-4A88-9CD7-233EB173ACA1}" dt="2021-08-07T13:27:38.273" v="7618" actId="208"/>
        <pc:sldMkLst>
          <pc:docMk/>
          <pc:sldMk cId="3425509638" sldId="1743"/>
        </pc:sldMkLst>
        <pc:spChg chg="mod">
          <ac:chgData name="Yash Ratanpal" userId="5db668b1-93e7-4c08-9786-4ed81315a653" providerId="ADAL" clId="{35CE40C1-3F8C-4A88-9CD7-233EB173ACA1}" dt="2021-08-07T13:15:52.787" v="7334" actId="1076"/>
          <ac:spMkLst>
            <pc:docMk/>
            <pc:sldMk cId="3425509638" sldId="1743"/>
            <ac:spMk id="3" creationId="{00000000-0000-0000-0000-000000000000}"/>
          </ac:spMkLst>
        </pc:spChg>
        <pc:spChg chg="del">
          <ac:chgData name="Yash Ratanpal" userId="5db668b1-93e7-4c08-9786-4ed81315a653" providerId="ADAL" clId="{35CE40C1-3F8C-4A88-9CD7-233EB173ACA1}" dt="2021-08-07T09:16:57.306" v="6492" actId="478"/>
          <ac:spMkLst>
            <pc:docMk/>
            <pc:sldMk cId="3425509638" sldId="1743"/>
            <ac:spMk id="15" creationId="{650CC48F-F2EB-4824-9871-A93CA3C01D61}"/>
          </ac:spMkLst>
        </pc:spChg>
        <pc:spChg chg="del">
          <ac:chgData name="Yash Ratanpal" userId="5db668b1-93e7-4c08-9786-4ed81315a653" providerId="ADAL" clId="{35CE40C1-3F8C-4A88-9CD7-233EB173ACA1}" dt="2021-08-07T09:16:57.306" v="6492" actId="478"/>
          <ac:spMkLst>
            <pc:docMk/>
            <pc:sldMk cId="3425509638" sldId="1743"/>
            <ac:spMk id="16" creationId="{706AE89B-1B81-4471-8FFE-2974CE028A5C}"/>
          </ac:spMkLst>
        </pc:spChg>
        <pc:spChg chg="del">
          <ac:chgData name="Yash Ratanpal" userId="5db668b1-93e7-4c08-9786-4ed81315a653" providerId="ADAL" clId="{35CE40C1-3F8C-4A88-9CD7-233EB173ACA1}" dt="2021-08-07T09:16:57.306" v="6492" actId="478"/>
          <ac:spMkLst>
            <pc:docMk/>
            <pc:sldMk cId="3425509638" sldId="1743"/>
            <ac:spMk id="17" creationId="{70D9B273-F26F-4336-9CED-6C9AB3FDA5F9}"/>
          </ac:spMkLst>
        </pc:spChg>
        <pc:spChg chg="del">
          <ac:chgData name="Yash Ratanpal" userId="5db668b1-93e7-4c08-9786-4ed81315a653" providerId="ADAL" clId="{35CE40C1-3F8C-4A88-9CD7-233EB173ACA1}" dt="2021-08-07T09:16:57.306" v="6492" actId="478"/>
          <ac:spMkLst>
            <pc:docMk/>
            <pc:sldMk cId="3425509638" sldId="1743"/>
            <ac:spMk id="26" creationId="{03BF0A6E-0F70-42E8-AEA3-A8CA1A4D4654}"/>
          </ac:spMkLst>
        </pc:spChg>
        <pc:spChg chg="add mod topLvl">
          <ac:chgData name="Yash Ratanpal" userId="5db668b1-93e7-4c08-9786-4ed81315a653" providerId="ADAL" clId="{35CE40C1-3F8C-4A88-9CD7-233EB173ACA1}" dt="2021-08-07T13:27:25.991" v="7609" actId="208"/>
          <ac:spMkLst>
            <pc:docMk/>
            <pc:sldMk cId="3425509638" sldId="1743"/>
            <ac:spMk id="27" creationId="{998F4E1C-0906-4FA2-A73A-F5C7D6EF258A}"/>
          </ac:spMkLst>
        </pc:spChg>
        <pc:spChg chg="add mod topLvl">
          <ac:chgData name="Yash Ratanpal" userId="5db668b1-93e7-4c08-9786-4ed81315a653" providerId="ADAL" clId="{35CE40C1-3F8C-4A88-9CD7-233EB173ACA1}" dt="2021-08-07T12:36:01.866" v="7079" actId="403"/>
          <ac:spMkLst>
            <pc:docMk/>
            <pc:sldMk cId="3425509638" sldId="1743"/>
            <ac:spMk id="28" creationId="{7D0BD45E-B1B1-4651-8FB6-61ED2D813471}"/>
          </ac:spMkLst>
        </pc:spChg>
        <pc:spChg chg="add mod topLvl">
          <ac:chgData name="Yash Ratanpal" userId="5db668b1-93e7-4c08-9786-4ed81315a653" providerId="ADAL" clId="{35CE40C1-3F8C-4A88-9CD7-233EB173ACA1}" dt="2021-08-07T13:00:47.656" v="7097" actId="20577"/>
          <ac:spMkLst>
            <pc:docMk/>
            <pc:sldMk cId="3425509638" sldId="1743"/>
            <ac:spMk id="29" creationId="{1EE11CF2-3485-4111-B5BE-09804DF1D084}"/>
          </ac:spMkLst>
        </pc:spChg>
        <pc:spChg chg="add mod topLvl">
          <ac:chgData name="Yash Ratanpal" userId="5db668b1-93e7-4c08-9786-4ed81315a653" providerId="ADAL" clId="{35CE40C1-3F8C-4A88-9CD7-233EB173ACA1}" dt="2021-08-07T13:05:13.465" v="7271" actId="20577"/>
          <ac:spMkLst>
            <pc:docMk/>
            <pc:sldMk cId="3425509638" sldId="1743"/>
            <ac:spMk id="30" creationId="{61551E1B-9129-4F47-99F0-CC0377A52696}"/>
          </ac:spMkLst>
        </pc:spChg>
        <pc:spChg chg="add mod topLvl">
          <ac:chgData name="Yash Ratanpal" userId="5db668b1-93e7-4c08-9786-4ed81315a653" providerId="ADAL" clId="{35CE40C1-3F8C-4A88-9CD7-233EB173ACA1}" dt="2021-08-07T13:03:10.112" v="7254" actId="108"/>
          <ac:spMkLst>
            <pc:docMk/>
            <pc:sldMk cId="3425509638" sldId="1743"/>
            <ac:spMk id="31" creationId="{753E1A17-902C-4C06-9857-4D8E86B08410}"/>
          </ac:spMkLst>
        </pc:spChg>
        <pc:spChg chg="del">
          <ac:chgData name="Yash Ratanpal" userId="5db668b1-93e7-4c08-9786-4ed81315a653" providerId="ADAL" clId="{35CE40C1-3F8C-4A88-9CD7-233EB173ACA1}" dt="2021-08-07T09:16:57.306" v="6492" actId="478"/>
          <ac:spMkLst>
            <pc:docMk/>
            <pc:sldMk cId="3425509638" sldId="1743"/>
            <ac:spMk id="32" creationId="{C5A8675D-79F7-4F40-ABE6-2AF182EECBB6}"/>
          </ac:spMkLst>
        </pc:spChg>
        <pc:spChg chg="del">
          <ac:chgData name="Yash Ratanpal" userId="5db668b1-93e7-4c08-9786-4ed81315a653" providerId="ADAL" clId="{35CE40C1-3F8C-4A88-9CD7-233EB173ACA1}" dt="2021-08-07T09:16:57.306" v="6492" actId="478"/>
          <ac:spMkLst>
            <pc:docMk/>
            <pc:sldMk cId="3425509638" sldId="1743"/>
            <ac:spMk id="33" creationId="{106D25D8-2A02-41C7-A1B5-D05A49486ECD}"/>
          </ac:spMkLst>
        </pc:spChg>
        <pc:spChg chg="del">
          <ac:chgData name="Yash Ratanpal" userId="5db668b1-93e7-4c08-9786-4ed81315a653" providerId="ADAL" clId="{35CE40C1-3F8C-4A88-9CD7-233EB173ACA1}" dt="2021-08-07T09:16:57.306" v="6492" actId="478"/>
          <ac:spMkLst>
            <pc:docMk/>
            <pc:sldMk cId="3425509638" sldId="1743"/>
            <ac:spMk id="34" creationId="{E374C64E-6E6D-4DED-8157-CFC491DE6E2C}"/>
          </ac:spMkLst>
        </pc:spChg>
        <pc:spChg chg="add mod topLvl">
          <ac:chgData name="Yash Ratanpal" userId="5db668b1-93e7-4c08-9786-4ed81315a653" providerId="ADAL" clId="{35CE40C1-3F8C-4A88-9CD7-233EB173ACA1}" dt="2021-08-07T13:04:59.295" v="7269" actId="20577"/>
          <ac:spMkLst>
            <pc:docMk/>
            <pc:sldMk cId="3425509638" sldId="1743"/>
            <ac:spMk id="38" creationId="{D4B12494-7531-4131-94F7-C512023ECFD6}"/>
          </ac:spMkLst>
        </pc:spChg>
        <pc:spChg chg="add mod topLvl">
          <ac:chgData name="Yash Ratanpal" userId="5db668b1-93e7-4c08-9786-4ed81315a653" providerId="ADAL" clId="{35CE40C1-3F8C-4A88-9CD7-233EB173ACA1}" dt="2021-08-07T13:27:28.629" v="7610" actId="208"/>
          <ac:spMkLst>
            <pc:docMk/>
            <pc:sldMk cId="3425509638" sldId="1743"/>
            <ac:spMk id="42" creationId="{AC286016-6017-47C2-B63A-230403D7A20A}"/>
          </ac:spMkLst>
        </pc:spChg>
        <pc:spChg chg="add mod topLvl">
          <ac:chgData name="Yash Ratanpal" userId="5db668b1-93e7-4c08-9786-4ed81315a653" providerId="ADAL" clId="{35CE40C1-3F8C-4A88-9CD7-233EB173ACA1}" dt="2021-08-07T13:27:32.542" v="7614" actId="208"/>
          <ac:spMkLst>
            <pc:docMk/>
            <pc:sldMk cId="3425509638" sldId="1743"/>
            <ac:spMk id="43" creationId="{425E525C-6E2B-4FD8-847E-ABC0C812A46A}"/>
          </ac:spMkLst>
        </pc:spChg>
        <pc:spChg chg="add mod topLvl">
          <ac:chgData name="Yash Ratanpal" userId="5db668b1-93e7-4c08-9786-4ed81315a653" providerId="ADAL" clId="{35CE40C1-3F8C-4A88-9CD7-233EB173ACA1}" dt="2021-08-07T13:27:31.979" v="7613" actId="208"/>
          <ac:spMkLst>
            <pc:docMk/>
            <pc:sldMk cId="3425509638" sldId="1743"/>
            <ac:spMk id="44" creationId="{2A2F67A7-AEB9-416A-A017-130D6FBBB926}"/>
          </ac:spMkLst>
        </pc:spChg>
        <pc:spChg chg="add mod topLvl">
          <ac:chgData name="Yash Ratanpal" userId="5db668b1-93e7-4c08-9786-4ed81315a653" providerId="ADAL" clId="{35CE40C1-3F8C-4A88-9CD7-233EB173ACA1}" dt="2021-08-07T13:27:34.099" v="7615" actId="208"/>
          <ac:spMkLst>
            <pc:docMk/>
            <pc:sldMk cId="3425509638" sldId="1743"/>
            <ac:spMk id="45" creationId="{8EDC91A6-93CA-4310-ACCB-CB8EE60AA325}"/>
          </ac:spMkLst>
        </pc:spChg>
        <pc:spChg chg="add mod topLvl">
          <ac:chgData name="Yash Ratanpal" userId="5db668b1-93e7-4c08-9786-4ed81315a653" providerId="ADAL" clId="{35CE40C1-3F8C-4A88-9CD7-233EB173ACA1}" dt="2021-08-07T13:27:35.201" v="7616" actId="208"/>
          <ac:spMkLst>
            <pc:docMk/>
            <pc:sldMk cId="3425509638" sldId="1743"/>
            <ac:spMk id="46" creationId="{39A54112-30CF-4FC3-B953-E927C24A3759}"/>
          </ac:spMkLst>
        </pc:spChg>
        <pc:spChg chg="add mod topLvl">
          <ac:chgData name="Yash Ratanpal" userId="5db668b1-93e7-4c08-9786-4ed81315a653" providerId="ADAL" clId="{35CE40C1-3F8C-4A88-9CD7-233EB173ACA1}" dt="2021-08-07T13:27:36.584" v="7617" actId="208"/>
          <ac:spMkLst>
            <pc:docMk/>
            <pc:sldMk cId="3425509638" sldId="1743"/>
            <ac:spMk id="47" creationId="{1AC7544E-51C9-473B-9B0C-438FC9F5982A}"/>
          </ac:spMkLst>
        </pc:spChg>
        <pc:spChg chg="add mod topLvl">
          <ac:chgData name="Yash Ratanpal" userId="5db668b1-93e7-4c08-9786-4ed81315a653" providerId="ADAL" clId="{35CE40C1-3F8C-4A88-9CD7-233EB173ACA1}" dt="2021-08-07T13:27:38.273" v="7618" actId="208"/>
          <ac:spMkLst>
            <pc:docMk/>
            <pc:sldMk cId="3425509638" sldId="1743"/>
            <ac:spMk id="48" creationId="{FB616D9D-A00E-44D9-90C4-14B6A7D37E9E}"/>
          </ac:spMkLst>
        </pc:spChg>
        <pc:spChg chg="add mod topLvl">
          <ac:chgData name="Yash Ratanpal" userId="5db668b1-93e7-4c08-9786-4ed81315a653" providerId="ADAL" clId="{35CE40C1-3F8C-4A88-9CD7-233EB173ACA1}" dt="2021-08-07T13:15:44.728" v="7333" actId="20577"/>
          <ac:spMkLst>
            <pc:docMk/>
            <pc:sldMk cId="3425509638" sldId="1743"/>
            <ac:spMk id="49" creationId="{ED5F9218-9683-4A17-B20E-A44478A73800}"/>
          </ac:spMkLst>
        </pc:spChg>
        <pc:spChg chg="add mod topLvl">
          <ac:chgData name="Yash Ratanpal" userId="5db668b1-93e7-4c08-9786-4ed81315a653" providerId="ADAL" clId="{35CE40C1-3F8C-4A88-9CD7-233EB173ACA1}" dt="2021-08-07T12:35:49.116" v="7073" actId="164"/>
          <ac:spMkLst>
            <pc:docMk/>
            <pc:sldMk cId="3425509638" sldId="1743"/>
            <ac:spMk id="51" creationId="{5C55A9C5-41F0-4CA6-B405-FD50EE6FFFDB}"/>
          </ac:spMkLst>
        </pc:spChg>
        <pc:spChg chg="add mod topLvl">
          <ac:chgData name="Yash Ratanpal" userId="5db668b1-93e7-4c08-9786-4ed81315a653" providerId="ADAL" clId="{35CE40C1-3F8C-4A88-9CD7-233EB173ACA1}" dt="2021-08-07T12:35:49.116" v="7073" actId="164"/>
          <ac:spMkLst>
            <pc:docMk/>
            <pc:sldMk cId="3425509638" sldId="1743"/>
            <ac:spMk id="52" creationId="{CA1F9BCE-E3B5-4978-9DE9-882B137FA772}"/>
          </ac:spMkLst>
        </pc:spChg>
        <pc:spChg chg="add mod topLvl">
          <ac:chgData name="Yash Ratanpal" userId="5db668b1-93e7-4c08-9786-4ed81315a653" providerId="ADAL" clId="{35CE40C1-3F8C-4A88-9CD7-233EB173ACA1}" dt="2021-08-07T12:35:49.116" v="7073" actId="164"/>
          <ac:spMkLst>
            <pc:docMk/>
            <pc:sldMk cId="3425509638" sldId="1743"/>
            <ac:spMk id="53" creationId="{789FE92D-A2AE-4B9E-B10C-850F8EDC886D}"/>
          </ac:spMkLst>
        </pc:spChg>
        <pc:spChg chg="add mod topLvl">
          <ac:chgData name="Yash Ratanpal" userId="5db668b1-93e7-4c08-9786-4ed81315a653" providerId="ADAL" clId="{35CE40C1-3F8C-4A88-9CD7-233EB173ACA1}" dt="2021-08-07T12:35:49.116" v="7073" actId="164"/>
          <ac:spMkLst>
            <pc:docMk/>
            <pc:sldMk cId="3425509638" sldId="1743"/>
            <ac:spMk id="54" creationId="{E4E852AC-ABDF-4A4D-A547-2723F9640190}"/>
          </ac:spMkLst>
        </pc:spChg>
        <pc:spChg chg="add mod topLvl">
          <ac:chgData name="Yash Ratanpal" userId="5db668b1-93e7-4c08-9786-4ed81315a653" providerId="ADAL" clId="{35CE40C1-3F8C-4A88-9CD7-233EB173ACA1}" dt="2021-08-07T13:27:29.988" v="7611" actId="208"/>
          <ac:spMkLst>
            <pc:docMk/>
            <pc:sldMk cId="3425509638" sldId="1743"/>
            <ac:spMk id="57" creationId="{4F5CF786-AEE4-4345-A757-D71C2C4E356E}"/>
          </ac:spMkLst>
        </pc:spChg>
        <pc:spChg chg="add mod topLvl">
          <ac:chgData name="Yash Ratanpal" userId="5db668b1-93e7-4c08-9786-4ed81315a653" providerId="ADAL" clId="{35CE40C1-3F8C-4A88-9CD7-233EB173ACA1}" dt="2021-08-07T13:27:30.669" v="7612" actId="208"/>
          <ac:spMkLst>
            <pc:docMk/>
            <pc:sldMk cId="3425509638" sldId="1743"/>
            <ac:spMk id="58" creationId="{D7C91814-0BEC-46E3-A103-95A88FF9ECC1}"/>
          </ac:spMkLst>
        </pc:spChg>
        <pc:grpChg chg="del">
          <ac:chgData name="Yash Ratanpal" userId="5db668b1-93e7-4c08-9786-4ed81315a653" providerId="ADAL" clId="{35CE40C1-3F8C-4A88-9CD7-233EB173ACA1}" dt="2021-08-07T09:16:57.306" v="6492" actId="478"/>
          <ac:grpSpMkLst>
            <pc:docMk/>
            <pc:sldMk cId="3425509638" sldId="1743"/>
            <ac:grpSpMk id="4" creationId="{19BAF88D-9F73-4241-BF3B-C073DA1DB7D2}"/>
          </ac:grpSpMkLst>
        </pc:grpChg>
        <pc:grpChg chg="add del mod">
          <ac:chgData name="Yash Ratanpal" userId="5db668b1-93e7-4c08-9786-4ed81315a653" providerId="ADAL" clId="{35CE40C1-3F8C-4A88-9CD7-233EB173ACA1}" dt="2021-08-07T11:23:16.941" v="6575" actId="165"/>
          <ac:grpSpMkLst>
            <pc:docMk/>
            <pc:sldMk cId="3425509638" sldId="1743"/>
            <ac:grpSpMk id="5" creationId="{3D927A73-AB81-4423-AB5F-31C658E7C250}"/>
          </ac:grpSpMkLst>
        </pc:grpChg>
        <pc:grpChg chg="add del mod">
          <ac:chgData name="Yash Ratanpal" userId="5db668b1-93e7-4c08-9786-4ed81315a653" providerId="ADAL" clId="{35CE40C1-3F8C-4A88-9CD7-233EB173ACA1}" dt="2021-08-07T11:29:07.973" v="6827" actId="165"/>
          <ac:grpSpMkLst>
            <pc:docMk/>
            <pc:sldMk cId="3425509638" sldId="1743"/>
            <ac:grpSpMk id="6" creationId="{02027833-15C5-4387-AE6A-641E92AC842F}"/>
          </ac:grpSpMkLst>
        </pc:grpChg>
        <pc:grpChg chg="add mod">
          <ac:chgData name="Yash Ratanpal" userId="5db668b1-93e7-4c08-9786-4ed81315a653" providerId="ADAL" clId="{35CE40C1-3F8C-4A88-9CD7-233EB173ACA1}" dt="2021-08-07T12:35:52.985" v="7074" actId="14100"/>
          <ac:grpSpMkLst>
            <pc:docMk/>
            <pc:sldMk cId="3425509638" sldId="1743"/>
            <ac:grpSpMk id="7" creationId="{01672F1B-0754-4086-9C1B-48FD62392F7B}"/>
          </ac:grpSpMkLst>
        </pc:grpChg>
        <pc:picChg chg="add mod">
          <ac:chgData name="Yash Ratanpal" userId="5db668b1-93e7-4c08-9786-4ed81315a653" providerId="ADAL" clId="{35CE40C1-3F8C-4A88-9CD7-233EB173ACA1}" dt="2021-08-07T13:02:42.291" v="7245" actId="1076"/>
          <ac:picMkLst>
            <pc:docMk/>
            <pc:sldMk cId="3425509638" sldId="1743"/>
            <ac:picMk id="9" creationId="{11E581D5-4285-47B5-89A5-40CC5502D2DD}"/>
          </ac:picMkLst>
        </pc:picChg>
        <pc:picChg chg="add mod">
          <ac:chgData name="Yash Ratanpal" userId="5db668b1-93e7-4c08-9786-4ed81315a653" providerId="ADAL" clId="{35CE40C1-3F8C-4A88-9CD7-233EB173ACA1}" dt="2021-08-07T13:03:57.608" v="7259" actId="1076"/>
          <ac:picMkLst>
            <pc:docMk/>
            <pc:sldMk cId="3425509638" sldId="1743"/>
            <ac:picMk id="11" creationId="{C8A502B1-626C-4CD7-8708-787D9C166FFF}"/>
          </ac:picMkLst>
        </pc:picChg>
        <pc:picChg chg="add mod">
          <ac:chgData name="Yash Ratanpal" userId="5db668b1-93e7-4c08-9786-4ed81315a653" providerId="ADAL" clId="{35CE40C1-3F8C-4A88-9CD7-233EB173ACA1}" dt="2021-08-07T13:04:17.396" v="7262" actId="1076"/>
          <ac:picMkLst>
            <pc:docMk/>
            <pc:sldMk cId="3425509638" sldId="1743"/>
            <ac:picMk id="13" creationId="{65F6DEC0-5DB2-4936-AD9D-0937D43FAFDB}"/>
          </ac:picMkLst>
        </pc:picChg>
        <pc:picChg chg="add mod topLvl">
          <ac:chgData name="Yash Ratanpal" userId="5db668b1-93e7-4c08-9786-4ed81315a653" providerId="ADAL" clId="{35CE40C1-3F8C-4A88-9CD7-233EB173ACA1}" dt="2021-08-07T13:03:14.592" v="7255" actId="1076"/>
          <ac:picMkLst>
            <pc:docMk/>
            <pc:sldMk cId="3425509638" sldId="1743"/>
            <ac:picMk id="39" creationId="{1054FD41-65F4-43EF-A159-705316171ADF}"/>
          </ac:picMkLst>
        </pc:picChg>
        <pc:picChg chg="add del mod topLvl">
          <ac:chgData name="Yash Ratanpal" userId="5db668b1-93e7-4c08-9786-4ed81315a653" providerId="ADAL" clId="{35CE40C1-3F8C-4A88-9CD7-233EB173ACA1}" dt="2021-08-07T13:03:26.110" v="7256" actId="478"/>
          <ac:picMkLst>
            <pc:docMk/>
            <pc:sldMk cId="3425509638" sldId="1743"/>
            <ac:picMk id="40" creationId="{22AFCABD-A389-48C4-A131-63632C6824E6}"/>
          </ac:picMkLst>
        </pc:picChg>
        <pc:cxnChg chg="add mod topLvl">
          <ac:chgData name="Yash Ratanpal" userId="5db668b1-93e7-4c08-9786-4ed81315a653" providerId="ADAL" clId="{35CE40C1-3F8C-4A88-9CD7-233EB173ACA1}" dt="2021-08-07T11:23:16.941" v="6575" actId="165"/>
          <ac:cxnSpMkLst>
            <pc:docMk/>
            <pc:sldMk cId="3425509638" sldId="1743"/>
            <ac:cxnSpMk id="41" creationId="{88FFC675-FAD0-4015-8D39-50F62E8D1A2D}"/>
          </ac:cxnSpMkLst>
        </pc:cxnChg>
        <pc:cxnChg chg="add mod topLvl">
          <ac:chgData name="Yash Ratanpal" userId="5db668b1-93e7-4c08-9786-4ed81315a653" providerId="ADAL" clId="{35CE40C1-3F8C-4A88-9CD7-233EB173ACA1}" dt="2021-08-07T12:35:49.116" v="7073" actId="164"/>
          <ac:cxnSpMkLst>
            <pc:docMk/>
            <pc:sldMk cId="3425509638" sldId="1743"/>
            <ac:cxnSpMk id="50" creationId="{163D966A-5BE6-4483-8E4F-EC25958B7A1A}"/>
          </ac:cxnSpMkLst>
        </pc:cxnChg>
        <pc:cxnChg chg="add mod topLvl">
          <ac:chgData name="Yash Ratanpal" userId="5db668b1-93e7-4c08-9786-4ed81315a653" providerId="ADAL" clId="{35CE40C1-3F8C-4A88-9CD7-233EB173ACA1}" dt="2021-08-07T12:35:49.116" v="7073" actId="164"/>
          <ac:cxnSpMkLst>
            <pc:docMk/>
            <pc:sldMk cId="3425509638" sldId="1743"/>
            <ac:cxnSpMk id="55" creationId="{25497920-B91C-4C4D-81D3-EB0B5A8D0A54}"/>
          </ac:cxnSpMkLst>
        </pc:cxnChg>
        <pc:cxnChg chg="add mod topLvl">
          <ac:chgData name="Yash Ratanpal" userId="5db668b1-93e7-4c08-9786-4ed81315a653" providerId="ADAL" clId="{35CE40C1-3F8C-4A88-9CD7-233EB173ACA1}" dt="2021-08-07T12:35:49.116" v="7073" actId="164"/>
          <ac:cxnSpMkLst>
            <pc:docMk/>
            <pc:sldMk cId="3425509638" sldId="1743"/>
            <ac:cxnSpMk id="56" creationId="{6F6F88B5-D533-4E86-A0B6-4B670632DE30}"/>
          </ac:cxnSpMkLst>
        </pc:cxnChg>
      </pc:sldChg>
      <pc:sldChg chg="addSp delSp modSp add mod">
        <pc:chgData name="Yash Ratanpal" userId="5db668b1-93e7-4c08-9786-4ed81315a653" providerId="ADAL" clId="{35CE40C1-3F8C-4A88-9CD7-233EB173ACA1}" dt="2021-08-07T13:35:17.786" v="8189" actId="1076"/>
        <pc:sldMkLst>
          <pc:docMk/>
          <pc:sldMk cId="3944737187" sldId="1744"/>
        </pc:sldMkLst>
        <pc:spChg chg="mod">
          <ac:chgData name="Yash Ratanpal" userId="5db668b1-93e7-4c08-9786-4ed81315a653" providerId="ADAL" clId="{35CE40C1-3F8C-4A88-9CD7-233EB173ACA1}" dt="2021-08-07T13:05:39.895" v="7273"/>
          <ac:spMkLst>
            <pc:docMk/>
            <pc:sldMk cId="3944737187" sldId="1744"/>
            <ac:spMk id="3" creationId="{00000000-0000-0000-0000-000000000000}"/>
          </ac:spMkLst>
        </pc:spChg>
        <pc:spChg chg="del mod topLvl">
          <ac:chgData name="Yash Ratanpal" userId="5db668b1-93e7-4c08-9786-4ed81315a653" providerId="ADAL" clId="{35CE40C1-3F8C-4A88-9CD7-233EB173ACA1}" dt="2021-08-07T13:35:04.989" v="8185" actId="478"/>
          <ac:spMkLst>
            <pc:docMk/>
            <pc:sldMk cId="3944737187" sldId="1744"/>
            <ac:spMk id="27" creationId="{998F4E1C-0906-4FA2-A73A-F5C7D6EF258A}"/>
          </ac:spMkLst>
        </pc:spChg>
        <pc:spChg chg="del mod topLvl">
          <ac:chgData name="Yash Ratanpal" userId="5db668b1-93e7-4c08-9786-4ed81315a653" providerId="ADAL" clId="{35CE40C1-3F8C-4A88-9CD7-233EB173ACA1}" dt="2021-08-07T13:35:06.747" v="8186" actId="478"/>
          <ac:spMkLst>
            <pc:docMk/>
            <pc:sldMk cId="3944737187" sldId="1744"/>
            <ac:spMk id="28" creationId="{7D0BD45E-B1B1-4651-8FB6-61ED2D813471}"/>
          </ac:spMkLst>
        </pc:spChg>
        <pc:spChg chg="del">
          <ac:chgData name="Yash Ratanpal" userId="5db668b1-93e7-4c08-9786-4ed81315a653" providerId="ADAL" clId="{35CE40C1-3F8C-4A88-9CD7-233EB173ACA1}" dt="2021-08-07T13:06:24.650" v="7282" actId="478"/>
          <ac:spMkLst>
            <pc:docMk/>
            <pc:sldMk cId="3944737187" sldId="1744"/>
            <ac:spMk id="29" creationId="{1EE11CF2-3485-4111-B5BE-09804DF1D084}"/>
          </ac:spMkLst>
        </pc:spChg>
        <pc:spChg chg="del">
          <ac:chgData name="Yash Ratanpal" userId="5db668b1-93e7-4c08-9786-4ed81315a653" providerId="ADAL" clId="{35CE40C1-3F8C-4A88-9CD7-233EB173ACA1}" dt="2021-08-07T13:05:59.350" v="7274" actId="478"/>
          <ac:spMkLst>
            <pc:docMk/>
            <pc:sldMk cId="3944737187" sldId="1744"/>
            <ac:spMk id="30" creationId="{61551E1B-9129-4F47-99F0-CC0377A52696}"/>
          </ac:spMkLst>
        </pc:spChg>
        <pc:spChg chg="del">
          <ac:chgData name="Yash Ratanpal" userId="5db668b1-93e7-4c08-9786-4ed81315a653" providerId="ADAL" clId="{35CE40C1-3F8C-4A88-9CD7-233EB173ACA1}" dt="2021-08-07T13:05:59.350" v="7274" actId="478"/>
          <ac:spMkLst>
            <pc:docMk/>
            <pc:sldMk cId="3944737187" sldId="1744"/>
            <ac:spMk id="31" creationId="{753E1A17-902C-4C06-9857-4D8E86B08410}"/>
          </ac:spMkLst>
        </pc:spChg>
        <pc:spChg chg="add del mod">
          <ac:chgData name="Yash Ratanpal" userId="5db668b1-93e7-4c08-9786-4ed81315a653" providerId="ADAL" clId="{35CE40C1-3F8C-4A88-9CD7-233EB173ACA1}" dt="2021-08-07T13:23:54.596" v="7549" actId="478"/>
          <ac:spMkLst>
            <pc:docMk/>
            <pc:sldMk cId="3944737187" sldId="1744"/>
            <ac:spMk id="34" creationId="{5C0F3DC4-802E-47E6-AFA7-BB012194170E}"/>
          </ac:spMkLst>
        </pc:spChg>
        <pc:spChg chg="add del mod">
          <ac:chgData name="Yash Ratanpal" userId="5db668b1-93e7-4c08-9786-4ed81315a653" providerId="ADAL" clId="{35CE40C1-3F8C-4A88-9CD7-233EB173ACA1}" dt="2021-08-07T13:23:54.596" v="7549" actId="478"/>
          <ac:spMkLst>
            <pc:docMk/>
            <pc:sldMk cId="3944737187" sldId="1744"/>
            <ac:spMk id="35" creationId="{464FA6A3-2D9F-4301-BC52-21556519EB05}"/>
          </ac:spMkLst>
        </pc:spChg>
        <pc:spChg chg="add mod topLvl">
          <ac:chgData name="Yash Ratanpal" userId="5db668b1-93e7-4c08-9786-4ed81315a653" providerId="ADAL" clId="{35CE40C1-3F8C-4A88-9CD7-233EB173ACA1}" dt="2021-08-07T13:35:17.786" v="8189" actId="1076"/>
          <ac:spMkLst>
            <pc:docMk/>
            <pc:sldMk cId="3944737187" sldId="1744"/>
            <ac:spMk id="36" creationId="{71D31556-4B3E-476C-8997-53E5697FC53E}"/>
          </ac:spMkLst>
        </pc:spChg>
        <pc:spChg chg="add mod topLvl">
          <ac:chgData name="Yash Ratanpal" userId="5db668b1-93e7-4c08-9786-4ed81315a653" providerId="ADAL" clId="{35CE40C1-3F8C-4A88-9CD7-233EB173ACA1}" dt="2021-08-07T13:35:17.786" v="8189" actId="1076"/>
          <ac:spMkLst>
            <pc:docMk/>
            <pc:sldMk cId="3944737187" sldId="1744"/>
            <ac:spMk id="37" creationId="{B336438D-69CC-4468-AFF5-7F1179558B37}"/>
          </ac:spMkLst>
        </pc:spChg>
        <pc:spChg chg="del">
          <ac:chgData name="Yash Ratanpal" userId="5db668b1-93e7-4c08-9786-4ed81315a653" providerId="ADAL" clId="{35CE40C1-3F8C-4A88-9CD7-233EB173ACA1}" dt="2021-08-07T13:05:59.350" v="7274" actId="478"/>
          <ac:spMkLst>
            <pc:docMk/>
            <pc:sldMk cId="3944737187" sldId="1744"/>
            <ac:spMk id="38" creationId="{D4B12494-7531-4131-94F7-C512023ECFD6}"/>
          </ac:spMkLst>
        </pc:spChg>
        <pc:spChg chg="add mod topLvl">
          <ac:chgData name="Yash Ratanpal" userId="5db668b1-93e7-4c08-9786-4ed81315a653" providerId="ADAL" clId="{35CE40C1-3F8C-4A88-9CD7-233EB173ACA1}" dt="2021-08-07T13:35:17.786" v="8189" actId="1076"/>
          <ac:spMkLst>
            <pc:docMk/>
            <pc:sldMk cId="3944737187" sldId="1744"/>
            <ac:spMk id="40" creationId="{46A774C6-7FC0-4BE3-805C-8B34C2E563C8}"/>
          </ac:spMkLst>
        </pc:spChg>
        <pc:spChg chg="del mod topLvl">
          <ac:chgData name="Yash Ratanpal" userId="5db668b1-93e7-4c08-9786-4ed81315a653" providerId="ADAL" clId="{35CE40C1-3F8C-4A88-9CD7-233EB173ACA1}" dt="2021-08-07T13:35:04.989" v="8185" actId="478"/>
          <ac:spMkLst>
            <pc:docMk/>
            <pc:sldMk cId="3944737187" sldId="1744"/>
            <ac:spMk id="42" creationId="{AC286016-6017-47C2-B63A-230403D7A20A}"/>
          </ac:spMkLst>
        </pc:spChg>
        <pc:spChg chg="del">
          <ac:chgData name="Yash Ratanpal" userId="5db668b1-93e7-4c08-9786-4ed81315a653" providerId="ADAL" clId="{35CE40C1-3F8C-4A88-9CD7-233EB173ACA1}" dt="2021-08-07T13:05:59.350" v="7274" actId="478"/>
          <ac:spMkLst>
            <pc:docMk/>
            <pc:sldMk cId="3944737187" sldId="1744"/>
            <ac:spMk id="43" creationId="{425E525C-6E2B-4FD8-847E-ABC0C812A46A}"/>
          </ac:spMkLst>
        </pc:spChg>
        <pc:spChg chg="del">
          <ac:chgData name="Yash Ratanpal" userId="5db668b1-93e7-4c08-9786-4ed81315a653" providerId="ADAL" clId="{35CE40C1-3F8C-4A88-9CD7-233EB173ACA1}" dt="2021-08-07T13:05:59.350" v="7274" actId="478"/>
          <ac:spMkLst>
            <pc:docMk/>
            <pc:sldMk cId="3944737187" sldId="1744"/>
            <ac:spMk id="44" creationId="{2A2F67A7-AEB9-416A-A017-130D6FBBB926}"/>
          </ac:spMkLst>
        </pc:spChg>
        <pc:spChg chg="del">
          <ac:chgData name="Yash Ratanpal" userId="5db668b1-93e7-4c08-9786-4ed81315a653" providerId="ADAL" clId="{35CE40C1-3F8C-4A88-9CD7-233EB173ACA1}" dt="2021-08-07T13:05:59.350" v="7274" actId="478"/>
          <ac:spMkLst>
            <pc:docMk/>
            <pc:sldMk cId="3944737187" sldId="1744"/>
            <ac:spMk id="45" creationId="{8EDC91A6-93CA-4310-ACCB-CB8EE60AA325}"/>
          </ac:spMkLst>
        </pc:spChg>
        <pc:spChg chg="del">
          <ac:chgData name="Yash Ratanpal" userId="5db668b1-93e7-4c08-9786-4ed81315a653" providerId="ADAL" clId="{35CE40C1-3F8C-4A88-9CD7-233EB173ACA1}" dt="2021-08-07T13:05:59.350" v="7274" actId="478"/>
          <ac:spMkLst>
            <pc:docMk/>
            <pc:sldMk cId="3944737187" sldId="1744"/>
            <ac:spMk id="46" creationId="{39A54112-30CF-4FC3-B953-E927C24A3759}"/>
          </ac:spMkLst>
        </pc:spChg>
        <pc:spChg chg="del">
          <ac:chgData name="Yash Ratanpal" userId="5db668b1-93e7-4c08-9786-4ed81315a653" providerId="ADAL" clId="{35CE40C1-3F8C-4A88-9CD7-233EB173ACA1}" dt="2021-08-07T13:05:59.350" v="7274" actId="478"/>
          <ac:spMkLst>
            <pc:docMk/>
            <pc:sldMk cId="3944737187" sldId="1744"/>
            <ac:spMk id="47" creationId="{1AC7544E-51C9-473B-9B0C-438FC9F5982A}"/>
          </ac:spMkLst>
        </pc:spChg>
        <pc:spChg chg="del">
          <ac:chgData name="Yash Ratanpal" userId="5db668b1-93e7-4c08-9786-4ed81315a653" providerId="ADAL" clId="{35CE40C1-3F8C-4A88-9CD7-233EB173ACA1}" dt="2021-08-07T13:05:59.350" v="7274" actId="478"/>
          <ac:spMkLst>
            <pc:docMk/>
            <pc:sldMk cId="3944737187" sldId="1744"/>
            <ac:spMk id="48" creationId="{FB616D9D-A00E-44D9-90C4-14B6A7D37E9E}"/>
          </ac:spMkLst>
        </pc:spChg>
        <pc:spChg chg="del">
          <ac:chgData name="Yash Ratanpal" userId="5db668b1-93e7-4c08-9786-4ed81315a653" providerId="ADAL" clId="{35CE40C1-3F8C-4A88-9CD7-233EB173ACA1}" dt="2021-08-07T13:06:01.571" v="7276" actId="478"/>
          <ac:spMkLst>
            <pc:docMk/>
            <pc:sldMk cId="3944737187" sldId="1744"/>
            <ac:spMk id="49" creationId="{ED5F9218-9683-4A17-B20E-A44478A73800}"/>
          </ac:spMkLst>
        </pc:spChg>
        <pc:spChg chg="del mod">
          <ac:chgData name="Yash Ratanpal" userId="5db668b1-93e7-4c08-9786-4ed81315a653" providerId="ADAL" clId="{35CE40C1-3F8C-4A88-9CD7-233EB173ACA1}" dt="2021-08-07T13:24:19.037" v="7558" actId="478"/>
          <ac:spMkLst>
            <pc:docMk/>
            <pc:sldMk cId="3944737187" sldId="1744"/>
            <ac:spMk id="51" creationId="{5C55A9C5-41F0-4CA6-B405-FD50EE6FFFDB}"/>
          </ac:spMkLst>
        </pc:spChg>
        <pc:spChg chg="del mod">
          <ac:chgData name="Yash Ratanpal" userId="5db668b1-93e7-4c08-9786-4ed81315a653" providerId="ADAL" clId="{35CE40C1-3F8C-4A88-9CD7-233EB173ACA1}" dt="2021-08-07T13:24:20.278" v="7559" actId="478"/>
          <ac:spMkLst>
            <pc:docMk/>
            <pc:sldMk cId="3944737187" sldId="1744"/>
            <ac:spMk id="52" creationId="{CA1F9BCE-E3B5-4978-9DE9-882B137FA772}"/>
          </ac:spMkLst>
        </pc:spChg>
        <pc:spChg chg="del mod">
          <ac:chgData name="Yash Ratanpal" userId="5db668b1-93e7-4c08-9786-4ed81315a653" providerId="ADAL" clId="{35CE40C1-3F8C-4A88-9CD7-233EB173ACA1}" dt="2021-08-07T13:24:17.833" v="7557" actId="478"/>
          <ac:spMkLst>
            <pc:docMk/>
            <pc:sldMk cId="3944737187" sldId="1744"/>
            <ac:spMk id="53" creationId="{789FE92D-A2AE-4B9E-B10C-850F8EDC886D}"/>
          </ac:spMkLst>
        </pc:spChg>
        <pc:spChg chg="mod">
          <ac:chgData name="Yash Ratanpal" userId="5db668b1-93e7-4c08-9786-4ed81315a653" providerId="ADAL" clId="{35CE40C1-3F8C-4A88-9CD7-233EB173ACA1}" dt="2021-08-07T13:28:09.606" v="7673" actId="20577"/>
          <ac:spMkLst>
            <pc:docMk/>
            <pc:sldMk cId="3944737187" sldId="1744"/>
            <ac:spMk id="54" creationId="{E4E852AC-ABDF-4A4D-A547-2723F9640190}"/>
          </ac:spMkLst>
        </pc:spChg>
        <pc:spChg chg="del">
          <ac:chgData name="Yash Ratanpal" userId="5db668b1-93e7-4c08-9786-4ed81315a653" providerId="ADAL" clId="{35CE40C1-3F8C-4A88-9CD7-233EB173ACA1}" dt="2021-08-07T13:06:24.650" v="7282" actId="478"/>
          <ac:spMkLst>
            <pc:docMk/>
            <pc:sldMk cId="3944737187" sldId="1744"/>
            <ac:spMk id="57" creationId="{4F5CF786-AEE4-4345-A757-D71C2C4E356E}"/>
          </ac:spMkLst>
        </pc:spChg>
        <pc:spChg chg="del">
          <ac:chgData name="Yash Ratanpal" userId="5db668b1-93e7-4c08-9786-4ed81315a653" providerId="ADAL" clId="{35CE40C1-3F8C-4A88-9CD7-233EB173ACA1}" dt="2021-08-07T13:06:24.650" v="7282" actId="478"/>
          <ac:spMkLst>
            <pc:docMk/>
            <pc:sldMk cId="3944737187" sldId="1744"/>
            <ac:spMk id="58" creationId="{D7C91814-0BEC-46E3-A103-95A88FF9ECC1}"/>
          </ac:spMkLst>
        </pc:spChg>
        <pc:spChg chg="mod topLvl">
          <ac:chgData name="Yash Ratanpal" userId="5db668b1-93e7-4c08-9786-4ed81315a653" providerId="ADAL" clId="{35CE40C1-3F8C-4A88-9CD7-233EB173ACA1}" dt="2021-08-07T13:35:17.786" v="8189" actId="1076"/>
          <ac:spMkLst>
            <pc:docMk/>
            <pc:sldMk cId="3944737187" sldId="1744"/>
            <ac:spMk id="60" creationId="{C8ABCF41-C4F9-4102-B96D-66372E084D81}"/>
          </ac:spMkLst>
        </pc:spChg>
        <pc:spChg chg="mod topLvl">
          <ac:chgData name="Yash Ratanpal" userId="5db668b1-93e7-4c08-9786-4ed81315a653" providerId="ADAL" clId="{35CE40C1-3F8C-4A88-9CD7-233EB173ACA1}" dt="2021-08-07T13:35:17.786" v="8189" actId="1076"/>
          <ac:spMkLst>
            <pc:docMk/>
            <pc:sldMk cId="3944737187" sldId="1744"/>
            <ac:spMk id="61" creationId="{5549F019-9518-41F2-AA0E-9EB910EAFBF8}"/>
          </ac:spMkLst>
        </pc:spChg>
        <pc:spChg chg="mod topLvl">
          <ac:chgData name="Yash Ratanpal" userId="5db668b1-93e7-4c08-9786-4ed81315a653" providerId="ADAL" clId="{35CE40C1-3F8C-4A88-9CD7-233EB173ACA1}" dt="2021-08-07T13:35:17.786" v="8189" actId="1076"/>
          <ac:spMkLst>
            <pc:docMk/>
            <pc:sldMk cId="3944737187" sldId="1744"/>
            <ac:spMk id="62" creationId="{578E5F95-55AE-403B-B005-6CE971F32697}"/>
          </ac:spMkLst>
        </pc:spChg>
        <pc:spChg chg="mod">
          <ac:chgData name="Yash Ratanpal" userId="5db668b1-93e7-4c08-9786-4ed81315a653" providerId="ADAL" clId="{35CE40C1-3F8C-4A88-9CD7-233EB173ACA1}" dt="2021-08-07T13:26:21.414" v="7605" actId="20577"/>
          <ac:spMkLst>
            <pc:docMk/>
            <pc:sldMk cId="3944737187" sldId="1744"/>
            <ac:spMk id="65" creationId="{F9FEC73A-848D-44DE-A479-D72C0A2F0196}"/>
          </ac:spMkLst>
        </pc:spChg>
        <pc:spChg chg="mod">
          <ac:chgData name="Yash Ratanpal" userId="5db668b1-93e7-4c08-9786-4ed81315a653" providerId="ADAL" clId="{35CE40C1-3F8C-4A88-9CD7-233EB173ACA1}" dt="2021-08-07T13:26:03.917" v="7573"/>
          <ac:spMkLst>
            <pc:docMk/>
            <pc:sldMk cId="3944737187" sldId="1744"/>
            <ac:spMk id="69" creationId="{C7CD16F8-3850-435E-97A9-E7F5351C81DF}"/>
          </ac:spMkLst>
        </pc:spChg>
        <pc:spChg chg="mod">
          <ac:chgData name="Yash Ratanpal" userId="5db668b1-93e7-4c08-9786-4ed81315a653" providerId="ADAL" clId="{35CE40C1-3F8C-4A88-9CD7-233EB173ACA1}" dt="2021-08-07T13:26:03.917" v="7573"/>
          <ac:spMkLst>
            <pc:docMk/>
            <pc:sldMk cId="3944737187" sldId="1744"/>
            <ac:spMk id="70" creationId="{C62985A3-CA51-4177-A25E-C64707167A6A}"/>
          </ac:spMkLst>
        </pc:spChg>
        <pc:spChg chg="mod">
          <ac:chgData name="Yash Ratanpal" userId="5db668b1-93e7-4c08-9786-4ed81315a653" providerId="ADAL" clId="{35CE40C1-3F8C-4A88-9CD7-233EB173ACA1}" dt="2021-08-07T13:26:03.917" v="7573"/>
          <ac:spMkLst>
            <pc:docMk/>
            <pc:sldMk cId="3944737187" sldId="1744"/>
            <ac:spMk id="71" creationId="{9C8F73EE-7E6C-46BF-B6D5-BC24E131F2CB}"/>
          </ac:spMkLst>
        </pc:spChg>
        <pc:spChg chg="mod">
          <ac:chgData name="Yash Ratanpal" userId="5db668b1-93e7-4c08-9786-4ed81315a653" providerId="ADAL" clId="{35CE40C1-3F8C-4A88-9CD7-233EB173ACA1}" dt="2021-08-07T13:26:03.917" v="7573"/>
          <ac:spMkLst>
            <pc:docMk/>
            <pc:sldMk cId="3944737187" sldId="1744"/>
            <ac:spMk id="73" creationId="{B18FE433-4054-46D6-BBA5-F6D911676AE1}"/>
          </ac:spMkLst>
        </pc:spChg>
        <pc:spChg chg="mod">
          <ac:chgData name="Yash Ratanpal" userId="5db668b1-93e7-4c08-9786-4ed81315a653" providerId="ADAL" clId="{35CE40C1-3F8C-4A88-9CD7-233EB173ACA1}" dt="2021-08-07T13:26:03.917" v="7573"/>
          <ac:spMkLst>
            <pc:docMk/>
            <pc:sldMk cId="3944737187" sldId="1744"/>
            <ac:spMk id="74" creationId="{75D8A363-7A1C-4086-B92C-FBF81BF77395}"/>
          </ac:spMkLst>
        </pc:spChg>
        <pc:spChg chg="mod">
          <ac:chgData name="Yash Ratanpal" userId="5db668b1-93e7-4c08-9786-4ed81315a653" providerId="ADAL" clId="{35CE40C1-3F8C-4A88-9CD7-233EB173ACA1}" dt="2021-08-07T13:26:03.917" v="7573"/>
          <ac:spMkLst>
            <pc:docMk/>
            <pc:sldMk cId="3944737187" sldId="1744"/>
            <ac:spMk id="75" creationId="{91D26517-C748-4431-ACAC-ED1F38897E8E}"/>
          </ac:spMkLst>
        </pc:spChg>
        <pc:spChg chg="add mod">
          <ac:chgData name="Yash Ratanpal" userId="5db668b1-93e7-4c08-9786-4ed81315a653" providerId="ADAL" clId="{35CE40C1-3F8C-4A88-9CD7-233EB173ACA1}" dt="2021-08-07T13:35:17.786" v="8189" actId="1076"/>
          <ac:spMkLst>
            <pc:docMk/>
            <pc:sldMk cId="3944737187" sldId="1744"/>
            <ac:spMk id="76" creationId="{2B97D186-EC68-4E8D-A392-DAD160EF5784}"/>
          </ac:spMkLst>
        </pc:spChg>
        <pc:spChg chg="add del mod">
          <ac:chgData name="Yash Ratanpal" userId="5db668b1-93e7-4c08-9786-4ed81315a653" providerId="ADAL" clId="{35CE40C1-3F8C-4A88-9CD7-233EB173ACA1}" dt="2021-08-07T13:28:38.899" v="7762"/>
          <ac:spMkLst>
            <pc:docMk/>
            <pc:sldMk cId="3944737187" sldId="1744"/>
            <ac:spMk id="77" creationId="{FB1287C9-6673-4CE2-BE6F-51D00458CD6F}"/>
          </ac:spMkLst>
        </pc:spChg>
        <pc:spChg chg="add del mod">
          <ac:chgData name="Yash Ratanpal" userId="5db668b1-93e7-4c08-9786-4ed81315a653" providerId="ADAL" clId="{35CE40C1-3F8C-4A88-9CD7-233EB173ACA1}" dt="2021-08-07T13:28:38.899" v="7762"/>
          <ac:spMkLst>
            <pc:docMk/>
            <pc:sldMk cId="3944737187" sldId="1744"/>
            <ac:spMk id="78" creationId="{B9D6F403-F0AF-4221-A68C-6C84B871753D}"/>
          </ac:spMkLst>
        </pc:spChg>
        <pc:spChg chg="add del mod">
          <ac:chgData name="Yash Ratanpal" userId="5db668b1-93e7-4c08-9786-4ed81315a653" providerId="ADAL" clId="{35CE40C1-3F8C-4A88-9CD7-233EB173ACA1}" dt="2021-08-07T13:28:53.722" v="7766" actId="478"/>
          <ac:spMkLst>
            <pc:docMk/>
            <pc:sldMk cId="3944737187" sldId="1744"/>
            <ac:spMk id="79" creationId="{3301E8F4-4340-465E-A913-B6C1FAD30875}"/>
          </ac:spMkLst>
        </pc:spChg>
        <pc:spChg chg="add mod">
          <ac:chgData name="Yash Ratanpal" userId="5db668b1-93e7-4c08-9786-4ed81315a653" providerId="ADAL" clId="{35CE40C1-3F8C-4A88-9CD7-233EB173ACA1}" dt="2021-08-07T13:34:14.153" v="8140" actId="20577"/>
          <ac:spMkLst>
            <pc:docMk/>
            <pc:sldMk cId="3944737187" sldId="1744"/>
            <ac:spMk id="80" creationId="{B774EF6A-728C-4E63-B6D0-D5F90664B8C0}"/>
          </ac:spMkLst>
        </pc:spChg>
        <pc:spChg chg="add mod">
          <ac:chgData name="Yash Ratanpal" userId="5db668b1-93e7-4c08-9786-4ed81315a653" providerId="ADAL" clId="{35CE40C1-3F8C-4A88-9CD7-233EB173ACA1}" dt="2021-08-07T13:33:53.586" v="8085" actId="20577"/>
          <ac:spMkLst>
            <pc:docMk/>
            <pc:sldMk cId="3944737187" sldId="1744"/>
            <ac:spMk id="81" creationId="{454FE0B4-9AE2-476D-8F81-21D03307BB42}"/>
          </ac:spMkLst>
        </pc:spChg>
        <pc:spChg chg="add del mod">
          <ac:chgData name="Yash Ratanpal" userId="5db668b1-93e7-4c08-9786-4ed81315a653" providerId="ADAL" clId="{35CE40C1-3F8C-4A88-9CD7-233EB173ACA1}" dt="2021-08-07T13:28:54.337" v="7767" actId="478"/>
          <ac:spMkLst>
            <pc:docMk/>
            <pc:sldMk cId="3944737187" sldId="1744"/>
            <ac:spMk id="82" creationId="{0D45B7CA-B803-44FA-8A13-E888736584B2}"/>
          </ac:spMkLst>
        </pc:spChg>
        <pc:spChg chg="add mod">
          <ac:chgData name="Yash Ratanpal" userId="5db668b1-93e7-4c08-9786-4ed81315a653" providerId="ADAL" clId="{35CE40C1-3F8C-4A88-9CD7-233EB173ACA1}" dt="2021-08-07T13:30:10.004" v="7806" actId="164"/>
          <ac:spMkLst>
            <pc:docMk/>
            <pc:sldMk cId="3944737187" sldId="1744"/>
            <ac:spMk id="83" creationId="{1FA47FD9-7D6E-473A-8BBC-3DDDE422810F}"/>
          </ac:spMkLst>
        </pc:spChg>
        <pc:spChg chg="add mod">
          <ac:chgData name="Yash Ratanpal" userId="5db668b1-93e7-4c08-9786-4ed81315a653" providerId="ADAL" clId="{35CE40C1-3F8C-4A88-9CD7-233EB173ACA1}" dt="2021-08-07T13:30:10.004" v="7806" actId="164"/>
          <ac:spMkLst>
            <pc:docMk/>
            <pc:sldMk cId="3944737187" sldId="1744"/>
            <ac:spMk id="84" creationId="{5B5298CF-BD38-4BB1-95A2-E12A6249E8D2}"/>
          </ac:spMkLst>
        </pc:spChg>
        <pc:grpChg chg="add del mod">
          <ac:chgData name="Yash Ratanpal" userId="5db668b1-93e7-4c08-9786-4ed81315a653" providerId="ADAL" clId="{35CE40C1-3F8C-4A88-9CD7-233EB173ACA1}" dt="2021-08-07T13:24:15.787" v="7556" actId="165"/>
          <ac:grpSpMkLst>
            <pc:docMk/>
            <pc:sldMk cId="3944737187" sldId="1744"/>
            <ac:grpSpMk id="4" creationId="{205E64D9-0CD0-4471-9B16-40466DEA4489}"/>
          </ac:grpSpMkLst>
        </pc:grpChg>
        <pc:grpChg chg="add del mod">
          <ac:chgData name="Yash Ratanpal" userId="5db668b1-93e7-4c08-9786-4ed81315a653" providerId="ADAL" clId="{35CE40C1-3F8C-4A88-9CD7-233EB173ACA1}" dt="2021-08-07T13:28:33.652" v="7758" actId="165"/>
          <ac:grpSpMkLst>
            <pc:docMk/>
            <pc:sldMk cId="3944737187" sldId="1744"/>
            <ac:grpSpMk id="5" creationId="{4CD86F4E-B1A9-4EDA-AC99-CD46704AC35D}"/>
          </ac:grpSpMkLst>
        </pc:grpChg>
        <pc:grpChg chg="add del mod topLvl">
          <ac:chgData name="Yash Ratanpal" userId="5db668b1-93e7-4c08-9786-4ed81315a653" providerId="ADAL" clId="{35CE40C1-3F8C-4A88-9CD7-233EB173ACA1}" dt="2021-08-07T13:35:17.786" v="8189" actId="1076"/>
          <ac:grpSpMkLst>
            <pc:docMk/>
            <pc:sldMk cId="3944737187" sldId="1744"/>
            <ac:grpSpMk id="7" creationId="{01672F1B-0754-4086-9C1B-48FD62392F7B}"/>
          </ac:grpSpMkLst>
        </pc:grpChg>
        <pc:grpChg chg="add mod">
          <ac:chgData name="Yash Ratanpal" userId="5db668b1-93e7-4c08-9786-4ed81315a653" providerId="ADAL" clId="{35CE40C1-3F8C-4A88-9CD7-233EB173ACA1}" dt="2021-08-07T13:35:17.786" v="8189" actId="1076"/>
          <ac:grpSpMkLst>
            <pc:docMk/>
            <pc:sldMk cId="3944737187" sldId="1744"/>
            <ac:grpSpMk id="17" creationId="{7441FFAE-1414-41ED-B6A2-61E7BC6F5B18}"/>
          </ac:grpSpMkLst>
        </pc:grpChg>
        <pc:grpChg chg="add del mod topLvl">
          <ac:chgData name="Yash Ratanpal" userId="5db668b1-93e7-4c08-9786-4ed81315a653" providerId="ADAL" clId="{35CE40C1-3F8C-4A88-9CD7-233EB173ACA1}" dt="2021-08-07T13:28:43.435" v="7763" actId="165"/>
          <ac:grpSpMkLst>
            <pc:docMk/>
            <pc:sldMk cId="3944737187" sldId="1744"/>
            <ac:grpSpMk id="59" creationId="{74342E9B-01C3-4F20-8DE1-41131427FFBA}"/>
          </ac:grpSpMkLst>
        </pc:grpChg>
        <pc:grpChg chg="add del mod">
          <ac:chgData name="Yash Ratanpal" userId="5db668b1-93e7-4c08-9786-4ed81315a653" providerId="ADAL" clId="{35CE40C1-3F8C-4A88-9CD7-233EB173ACA1}" dt="2021-08-07T13:26:22.520" v="7607"/>
          <ac:grpSpMkLst>
            <pc:docMk/>
            <pc:sldMk cId="3944737187" sldId="1744"/>
            <ac:grpSpMk id="63" creationId="{8CDAE074-9974-4841-91F6-EA9AEC5DD3E9}"/>
          </ac:grpSpMkLst>
        </pc:grpChg>
        <pc:grpChg chg="add del mod">
          <ac:chgData name="Yash Ratanpal" userId="5db668b1-93e7-4c08-9786-4ed81315a653" providerId="ADAL" clId="{35CE40C1-3F8C-4A88-9CD7-233EB173ACA1}" dt="2021-08-07T13:26:22.520" v="7607"/>
          <ac:grpSpMkLst>
            <pc:docMk/>
            <pc:sldMk cId="3944737187" sldId="1744"/>
            <ac:grpSpMk id="68" creationId="{4B22F9F0-DD06-467B-8479-DE5070C734CA}"/>
          </ac:grpSpMkLst>
        </pc:grpChg>
        <pc:grpChg chg="mod">
          <ac:chgData name="Yash Ratanpal" userId="5db668b1-93e7-4c08-9786-4ed81315a653" providerId="ADAL" clId="{35CE40C1-3F8C-4A88-9CD7-233EB173ACA1}" dt="2021-08-07T13:26:03.917" v="7573"/>
          <ac:grpSpMkLst>
            <pc:docMk/>
            <pc:sldMk cId="3944737187" sldId="1744"/>
            <ac:grpSpMk id="72" creationId="{CA3D6EBC-DA66-4002-98BF-DD705F33DD36}"/>
          </ac:grpSpMkLst>
        </pc:grpChg>
        <pc:picChg chg="del">
          <ac:chgData name="Yash Ratanpal" userId="5db668b1-93e7-4c08-9786-4ed81315a653" providerId="ADAL" clId="{35CE40C1-3F8C-4A88-9CD7-233EB173ACA1}" dt="2021-08-07T13:05:59.350" v="7274" actId="478"/>
          <ac:picMkLst>
            <pc:docMk/>
            <pc:sldMk cId="3944737187" sldId="1744"/>
            <ac:picMk id="9" creationId="{11E581D5-4285-47B5-89A5-40CC5502D2DD}"/>
          </ac:picMkLst>
        </pc:picChg>
        <pc:picChg chg="del">
          <ac:chgData name="Yash Ratanpal" userId="5db668b1-93e7-4c08-9786-4ed81315a653" providerId="ADAL" clId="{35CE40C1-3F8C-4A88-9CD7-233EB173ACA1}" dt="2021-08-07T13:05:59.350" v="7274" actId="478"/>
          <ac:picMkLst>
            <pc:docMk/>
            <pc:sldMk cId="3944737187" sldId="1744"/>
            <ac:picMk id="11" creationId="{C8A502B1-626C-4CD7-8708-787D9C166FFF}"/>
          </ac:picMkLst>
        </pc:picChg>
        <pc:picChg chg="del">
          <ac:chgData name="Yash Ratanpal" userId="5db668b1-93e7-4c08-9786-4ed81315a653" providerId="ADAL" clId="{35CE40C1-3F8C-4A88-9CD7-233EB173ACA1}" dt="2021-08-07T13:05:59.350" v="7274" actId="478"/>
          <ac:picMkLst>
            <pc:docMk/>
            <pc:sldMk cId="3944737187" sldId="1744"/>
            <ac:picMk id="13" creationId="{65F6DEC0-5DB2-4936-AD9D-0937D43FAFDB}"/>
          </ac:picMkLst>
        </pc:picChg>
        <pc:picChg chg="del">
          <ac:chgData name="Yash Ratanpal" userId="5db668b1-93e7-4c08-9786-4ed81315a653" providerId="ADAL" clId="{35CE40C1-3F8C-4A88-9CD7-233EB173ACA1}" dt="2021-08-07T13:05:59.350" v="7274" actId="478"/>
          <ac:picMkLst>
            <pc:docMk/>
            <pc:sldMk cId="3944737187" sldId="1744"/>
            <ac:picMk id="39" creationId="{1054FD41-65F4-43EF-A159-705316171ADF}"/>
          </ac:picMkLst>
        </pc:picChg>
        <pc:cxnChg chg="del">
          <ac:chgData name="Yash Ratanpal" userId="5db668b1-93e7-4c08-9786-4ed81315a653" providerId="ADAL" clId="{35CE40C1-3F8C-4A88-9CD7-233EB173ACA1}" dt="2021-08-07T13:06:00.891" v="7275" actId="478"/>
          <ac:cxnSpMkLst>
            <pc:docMk/>
            <pc:sldMk cId="3944737187" sldId="1744"/>
            <ac:cxnSpMk id="41" creationId="{88FFC675-FAD0-4015-8D39-50F62E8D1A2D}"/>
          </ac:cxnSpMkLst>
        </pc:cxnChg>
        <pc:cxnChg chg="mod">
          <ac:chgData name="Yash Ratanpal" userId="5db668b1-93e7-4c08-9786-4ed81315a653" providerId="ADAL" clId="{35CE40C1-3F8C-4A88-9CD7-233EB173ACA1}" dt="2021-08-07T13:35:17.786" v="8189" actId="1076"/>
          <ac:cxnSpMkLst>
            <pc:docMk/>
            <pc:sldMk cId="3944737187" sldId="1744"/>
            <ac:cxnSpMk id="50" creationId="{163D966A-5BE6-4483-8E4F-EC25958B7A1A}"/>
          </ac:cxnSpMkLst>
        </pc:cxnChg>
        <pc:cxnChg chg="mod">
          <ac:chgData name="Yash Ratanpal" userId="5db668b1-93e7-4c08-9786-4ed81315a653" providerId="ADAL" clId="{35CE40C1-3F8C-4A88-9CD7-233EB173ACA1}" dt="2021-08-07T13:26:19.685" v="7600" actId="478"/>
          <ac:cxnSpMkLst>
            <pc:docMk/>
            <pc:sldMk cId="3944737187" sldId="1744"/>
            <ac:cxnSpMk id="55" creationId="{25497920-B91C-4C4D-81D3-EB0B5A8D0A54}"/>
          </ac:cxnSpMkLst>
        </pc:cxnChg>
        <pc:cxnChg chg="mod">
          <ac:chgData name="Yash Ratanpal" userId="5db668b1-93e7-4c08-9786-4ed81315a653" providerId="ADAL" clId="{35CE40C1-3F8C-4A88-9CD7-233EB173ACA1}" dt="2021-08-07T13:26:19.685" v="7600" actId="478"/>
          <ac:cxnSpMkLst>
            <pc:docMk/>
            <pc:sldMk cId="3944737187" sldId="1744"/>
            <ac:cxnSpMk id="56" creationId="{6F6F88B5-D533-4E86-A0B6-4B670632DE30}"/>
          </ac:cxnSpMkLst>
        </pc:cxnChg>
        <pc:cxnChg chg="mod">
          <ac:chgData name="Yash Ratanpal" userId="5db668b1-93e7-4c08-9786-4ed81315a653" providerId="ADAL" clId="{35CE40C1-3F8C-4A88-9CD7-233EB173ACA1}" dt="2021-08-07T13:26:21.789" v="7606" actId="1076"/>
          <ac:cxnSpMkLst>
            <pc:docMk/>
            <pc:sldMk cId="3944737187" sldId="1744"/>
            <ac:cxnSpMk id="64" creationId="{35D61BB7-EEA0-4D13-B1C1-87E16D3541B3}"/>
          </ac:cxnSpMkLst>
        </pc:cxnChg>
        <pc:cxnChg chg="mod">
          <ac:chgData name="Yash Ratanpal" userId="5db668b1-93e7-4c08-9786-4ed81315a653" providerId="ADAL" clId="{35CE40C1-3F8C-4A88-9CD7-233EB173ACA1}" dt="2021-08-07T13:26:19.685" v="7600" actId="478"/>
          <ac:cxnSpMkLst>
            <pc:docMk/>
            <pc:sldMk cId="3944737187" sldId="1744"/>
            <ac:cxnSpMk id="66" creationId="{7A96F475-FD86-4370-AC9C-93787E933B3B}"/>
          </ac:cxnSpMkLst>
        </pc:cxnChg>
        <pc:cxnChg chg="mod">
          <ac:chgData name="Yash Ratanpal" userId="5db668b1-93e7-4c08-9786-4ed81315a653" providerId="ADAL" clId="{35CE40C1-3F8C-4A88-9CD7-233EB173ACA1}" dt="2021-08-07T13:26:19.685" v="7600" actId="478"/>
          <ac:cxnSpMkLst>
            <pc:docMk/>
            <pc:sldMk cId="3944737187" sldId="1744"/>
            <ac:cxnSpMk id="67" creationId="{BBA488DE-56F0-4037-8577-B446E586BE7F}"/>
          </ac:cxnSpMkLst>
        </pc:cxnChg>
      </pc:sldChg>
      <pc:sldChg chg="delSp add del mod">
        <pc:chgData name="Yash Ratanpal" userId="5db668b1-93e7-4c08-9786-4ed81315a653" providerId="ADAL" clId="{35CE40C1-3F8C-4A88-9CD7-233EB173ACA1}" dt="2021-08-07T13:09:59.036" v="7292" actId="47"/>
        <pc:sldMkLst>
          <pc:docMk/>
          <pc:sldMk cId="1826199299" sldId="1745"/>
        </pc:sldMkLst>
        <pc:spChg chg="del">
          <ac:chgData name="Yash Ratanpal" userId="5db668b1-93e7-4c08-9786-4ed81315a653" providerId="ADAL" clId="{35CE40C1-3F8C-4A88-9CD7-233EB173ACA1}" dt="2021-08-07T13:08:42.540" v="7285" actId="478"/>
          <ac:spMkLst>
            <pc:docMk/>
            <pc:sldMk cId="1826199299" sldId="1745"/>
            <ac:spMk id="11" creationId="{163A03F0-6FF3-4CE0-84C5-20DF922DFB2A}"/>
          </ac:spMkLst>
        </pc:spChg>
        <pc:spChg chg="del">
          <ac:chgData name="Yash Ratanpal" userId="5db668b1-93e7-4c08-9786-4ed81315a653" providerId="ADAL" clId="{35CE40C1-3F8C-4A88-9CD7-233EB173ACA1}" dt="2021-08-07T13:08:42.540" v="7285" actId="478"/>
          <ac:spMkLst>
            <pc:docMk/>
            <pc:sldMk cId="1826199299" sldId="1745"/>
            <ac:spMk id="18" creationId="{F0E45D75-2F6A-4672-AF33-DE6412FA8DEE}"/>
          </ac:spMkLst>
        </pc:spChg>
        <pc:spChg chg="del">
          <ac:chgData name="Yash Ratanpal" userId="5db668b1-93e7-4c08-9786-4ed81315a653" providerId="ADAL" clId="{35CE40C1-3F8C-4A88-9CD7-233EB173ACA1}" dt="2021-08-07T13:08:42.540" v="7285" actId="478"/>
          <ac:spMkLst>
            <pc:docMk/>
            <pc:sldMk cId="1826199299" sldId="1745"/>
            <ac:spMk id="19" creationId="{F99335A4-6C06-4401-B845-9F389641C33B}"/>
          </ac:spMkLst>
        </pc:spChg>
        <pc:picChg chg="del">
          <ac:chgData name="Yash Ratanpal" userId="5db668b1-93e7-4c08-9786-4ed81315a653" providerId="ADAL" clId="{35CE40C1-3F8C-4A88-9CD7-233EB173ACA1}" dt="2021-08-07T13:08:42.540" v="7285" actId="478"/>
          <ac:picMkLst>
            <pc:docMk/>
            <pc:sldMk cId="1826199299" sldId="1745"/>
            <ac:picMk id="12" creationId="{E71B4932-A3E5-4033-867B-A7B015486252}"/>
          </ac:picMkLst>
        </pc:picChg>
        <pc:picChg chg="del">
          <ac:chgData name="Yash Ratanpal" userId="5db668b1-93e7-4c08-9786-4ed81315a653" providerId="ADAL" clId="{35CE40C1-3F8C-4A88-9CD7-233EB173ACA1}" dt="2021-08-07T13:08:42.540" v="7285" actId="478"/>
          <ac:picMkLst>
            <pc:docMk/>
            <pc:sldMk cId="1826199299" sldId="1745"/>
            <ac:picMk id="13" creationId="{34054C4E-7B6C-4D93-AF16-9B3F4F153F78}"/>
          </ac:picMkLst>
        </pc:picChg>
        <pc:picChg chg="del">
          <ac:chgData name="Yash Ratanpal" userId="5db668b1-93e7-4c08-9786-4ed81315a653" providerId="ADAL" clId="{35CE40C1-3F8C-4A88-9CD7-233EB173ACA1}" dt="2021-08-07T13:08:42.540" v="7285" actId="478"/>
          <ac:picMkLst>
            <pc:docMk/>
            <pc:sldMk cId="1826199299" sldId="1745"/>
            <ac:picMk id="14" creationId="{9F51B353-A558-4301-BB50-0D3862063458}"/>
          </ac:picMkLst>
        </pc:picChg>
        <pc:picChg chg="del">
          <ac:chgData name="Yash Ratanpal" userId="5db668b1-93e7-4c08-9786-4ed81315a653" providerId="ADAL" clId="{35CE40C1-3F8C-4A88-9CD7-233EB173ACA1}" dt="2021-08-07T13:08:42.540" v="7285" actId="478"/>
          <ac:picMkLst>
            <pc:docMk/>
            <pc:sldMk cId="1826199299" sldId="1745"/>
            <ac:picMk id="15" creationId="{D6DED649-ED04-4101-A59C-8949C47EDBEC}"/>
          </ac:picMkLst>
        </pc:picChg>
        <pc:picChg chg="del">
          <ac:chgData name="Yash Ratanpal" userId="5db668b1-93e7-4c08-9786-4ed81315a653" providerId="ADAL" clId="{35CE40C1-3F8C-4A88-9CD7-233EB173ACA1}" dt="2021-08-07T13:08:42.540" v="7285" actId="478"/>
          <ac:picMkLst>
            <pc:docMk/>
            <pc:sldMk cId="1826199299" sldId="1745"/>
            <ac:picMk id="16" creationId="{99C9813E-5366-454F-A2B7-E96A9F279F66}"/>
          </ac:picMkLst>
        </pc:picChg>
        <pc:cxnChg chg="del">
          <ac:chgData name="Yash Ratanpal" userId="5db668b1-93e7-4c08-9786-4ed81315a653" providerId="ADAL" clId="{35CE40C1-3F8C-4A88-9CD7-233EB173ACA1}" dt="2021-08-07T13:08:42.540" v="7285" actId="478"/>
          <ac:cxnSpMkLst>
            <pc:docMk/>
            <pc:sldMk cId="1826199299" sldId="1745"/>
            <ac:cxnSpMk id="17" creationId="{29959D6E-50BC-47FE-B4DA-5F69374C9EC4}"/>
          </ac:cxnSpMkLst>
        </pc:cxnChg>
      </pc:sldChg>
      <pc:sldChg chg="addSp delSp modSp add mod">
        <pc:chgData name="Yash Ratanpal" userId="5db668b1-93e7-4c08-9786-4ed81315a653" providerId="ADAL" clId="{35CE40C1-3F8C-4A88-9CD7-233EB173ACA1}" dt="2021-08-09T15:50:23.973" v="12427" actId="20577"/>
        <pc:sldMkLst>
          <pc:docMk/>
          <pc:sldMk cId="3580805436" sldId="1745"/>
        </pc:sldMkLst>
        <pc:spChg chg="mod">
          <ac:chgData name="Yash Ratanpal" userId="5db668b1-93e7-4c08-9786-4ed81315a653" providerId="ADAL" clId="{35CE40C1-3F8C-4A88-9CD7-233EB173ACA1}" dt="2021-08-07T16:57:45.760" v="12397" actId="20577"/>
          <ac:spMkLst>
            <pc:docMk/>
            <pc:sldMk cId="3580805436" sldId="1745"/>
            <ac:spMk id="3" creationId="{00000000-0000-0000-0000-000000000000}"/>
          </ac:spMkLst>
        </pc:spChg>
        <pc:spChg chg="del">
          <ac:chgData name="Yash Ratanpal" userId="5db668b1-93e7-4c08-9786-4ed81315a653" providerId="ADAL" clId="{35CE40C1-3F8C-4A88-9CD7-233EB173ACA1}" dt="2021-08-07T13:35:31.091" v="8192" actId="478"/>
          <ac:spMkLst>
            <pc:docMk/>
            <pc:sldMk cId="3580805436" sldId="1745"/>
            <ac:spMk id="27" creationId="{998F4E1C-0906-4FA2-A73A-F5C7D6EF258A}"/>
          </ac:spMkLst>
        </pc:spChg>
        <pc:spChg chg="del">
          <ac:chgData name="Yash Ratanpal" userId="5db668b1-93e7-4c08-9786-4ed81315a653" providerId="ADAL" clId="{35CE40C1-3F8C-4A88-9CD7-233EB173ACA1}" dt="2021-08-07T13:35:32.829" v="8193" actId="478"/>
          <ac:spMkLst>
            <pc:docMk/>
            <pc:sldMk cId="3580805436" sldId="1745"/>
            <ac:spMk id="28" creationId="{7D0BD45E-B1B1-4651-8FB6-61ED2D813471}"/>
          </ac:spMkLst>
        </pc:spChg>
        <pc:spChg chg="del">
          <ac:chgData name="Yash Ratanpal" userId="5db668b1-93e7-4c08-9786-4ed81315a653" providerId="ADAL" clId="{35CE40C1-3F8C-4A88-9CD7-233EB173ACA1}" dt="2021-08-07T13:40:41.351" v="9014" actId="478"/>
          <ac:spMkLst>
            <pc:docMk/>
            <pc:sldMk cId="3580805436" sldId="1745"/>
            <ac:spMk id="36" creationId="{71D31556-4B3E-476C-8997-53E5697FC53E}"/>
          </ac:spMkLst>
        </pc:spChg>
        <pc:spChg chg="del">
          <ac:chgData name="Yash Ratanpal" userId="5db668b1-93e7-4c08-9786-4ed81315a653" providerId="ADAL" clId="{35CE40C1-3F8C-4A88-9CD7-233EB173ACA1}" dt="2021-08-07T13:40:41.351" v="9014" actId="478"/>
          <ac:spMkLst>
            <pc:docMk/>
            <pc:sldMk cId="3580805436" sldId="1745"/>
            <ac:spMk id="37" creationId="{B336438D-69CC-4468-AFF5-7F1179558B37}"/>
          </ac:spMkLst>
        </pc:spChg>
        <pc:spChg chg="del">
          <ac:chgData name="Yash Ratanpal" userId="5db668b1-93e7-4c08-9786-4ed81315a653" providerId="ADAL" clId="{35CE40C1-3F8C-4A88-9CD7-233EB173ACA1}" dt="2021-08-07T13:40:41.351" v="9014" actId="478"/>
          <ac:spMkLst>
            <pc:docMk/>
            <pc:sldMk cId="3580805436" sldId="1745"/>
            <ac:spMk id="40" creationId="{46A774C6-7FC0-4BE3-805C-8B34C2E563C8}"/>
          </ac:spMkLst>
        </pc:spChg>
        <pc:spChg chg="del">
          <ac:chgData name="Yash Ratanpal" userId="5db668b1-93e7-4c08-9786-4ed81315a653" providerId="ADAL" clId="{35CE40C1-3F8C-4A88-9CD7-233EB173ACA1}" dt="2021-08-07T13:35:31.091" v="8192" actId="478"/>
          <ac:spMkLst>
            <pc:docMk/>
            <pc:sldMk cId="3580805436" sldId="1745"/>
            <ac:spMk id="42" creationId="{AC286016-6017-47C2-B63A-230403D7A20A}"/>
          </ac:spMkLst>
        </pc:spChg>
        <pc:spChg chg="del">
          <ac:chgData name="Yash Ratanpal" userId="5db668b1-93e7-4c08-9786-4ed81315a653" providerId="ADAL" clId="{35CE40C1-3F8C-4A88-9CD7-233EB173ACA1}" dt="2021-08-07T13:40:41.351" v="9014" actId="478"/>
          <ac:spMkLst>
            <pc:docMk/>
            <pc:sldMk cId="3580805436" sldId="1745"/>
            <ac:spMk id="60" creationId="{C8ABCF41-C4F9-4102-B96D-66372E084D81}"/>
          </ac:spMkLst>
        </pc:spChg>
        <pc:spChg chg="del">
          <ac:chgData name="Yash Ratanpal" userId="5db668b1-93e7-4c08-9786-4ed81315a653" providerId="ADAL" clId="{35CE40C1-3F8C-4A88-9CD7-233EB173ACA1}" dt="2021-08-07T13:40:41.351" v="9014" actId="478"/>
          <ac:spMkLst>
            <pc:docMk/>
            <pc:sldMk cId="3580805436" sldId="1745"/>
            <ac:spMk id="61" creationId="{5549F019-9518-41F2-AA0E-9EB910EAFBF8}"/>
          </ac:spMkLst>
        </pc:spChg>
        <pc:spChg chg="del">
          <ac:chgData name="Yash Ratanpal" userId="5db668b1-93e7-4c08-9786-4ed81315a653" providerId="ADAL" clId="{35CE40C1-3F8C-4A88-9CD7-233EB173ACA1}" dt="2021-08-07T13:40:41.351" v="9014" actId="478"/>
          <ac:spMkLst>
            <pc:docMk/>
            <pc:sldMk cId="3580805436" sldId="1745"/>
            <ac:spMk id="62" creationId="{578E5F95-55AE-403B-B005-6CE971F32697}"/>
          </ac:spMkLst>
        </pc:spChg>
        <pc:spChg chg="mod">
          <ac:chgData name="Yash Ratanpal" userId="5db668b1-93e7-4c08-9786-4ed81315a653" providerId="ADAL" clId="{35CE40C1-3F8C-4A88-9CD7-233EB173ACA1}" dt="2021-08-09T15:50:23.973" v="12427" actId="20577"/>
          <ac:spMkLst>
            <pc:docMk/>
            <pc:sldMk cId="3580805436" sldId="1745"/>
            <ac:spMk id="76" creationId="{2B97D186-EC68-4E8D-A392-DAD160EF5784}"/>
          </ac:spMkLst>
        </pc:spChg>
        <pc:spChg chg="mod">
          <ac:chgData name="Yash Ratanpal" userId="5db668b1-93e7-4c08-9786-4ed81315a653" providerId="ADAL" clId="{35CE40C1-3F8C-4A88-9CD7-233EB173ACA1}" dt="2021-08-07T13:57:49.316" v="9094" actId="404"/>
          <ac:spMkLst>
            <pc:docMk/>
            <pc:sldMk cId="3580805436" sldId="1745"/>
            <ac:spMk id="80" creationId="{B774EF6A-728C-4E63-B6D0-D5F90664B8C0}"/>
          </ac:spMkLst>
        </pc:spChg>
        <pc:spChg chg="mod">
          <ac:chgData name="Yash Ratanpal" userId="5db668b1-93e7-4c08-9786-4ed81315a653" providerId="ADAL" clId="{35CE40C1-3F8C-4A88-9CD7-233EB173ACA1}" dt="2021-08-07T13:57:51.505" v="9095" actId="404"/>
          <ac:spMkLst>
            <pc:docMk/>
            <pc:sldMk cId="3580805436" sldId="1745"/>
            <ac:spMk id="81" creationId="{454FE0B4-9AE2-476D-8F81-21D03307BB42}"/>
          </ac:spMkLst>
        </pc:spChg>
        <pc:spChg chg="mod">
          <ac:chgData name="Yash Ratanpal" userId="5db668b1-93e7-4c08-9786-4ed81315a653" providerId="ADAL" clId="{35CE40C1-3F8C-4A88-9CD7-233EB173ACA1}" dt="2021-08-07T13:35:58.011" v="8271" actId="20577"/>
          <ac:spMkLst>
            <pc:docMk/>
            <pc:sldMk cId="3580805436" sldId="1745"/>
            <ac:spMk id="83" creationId="{1FA47FD9-7D6E-473A-8BBC-3DDDE422810F}"/>
          </ac:spMkLst>
        </pc:spChg>
        <pc:spChg chg="mod">
          <ac:chgData name="Yash Ratanpal" userId="5db668b1-93e7-4c08-9786-4ed81315a653" providerId="ADAL" clId="{35CE40C1-3F8C-4A88-9CD7-233EB173ACA1}" dt="2021-08-07T13:36:02.323" v="8295" actId="20577"/>
          <ac:spMkLst>
            <pc:docMk/>
            <pc:sldMk cId="3580805436" sldId="1745"/>
            <ac:spMk id="84" creationId="{5B5298CF-BD38-4BB1-95A2-E12A6249E8D2}"/>
          </ac:spMkLst>
        </pc:spChg>
        <pc:grpChg chg="add mod">
          <ac:chgData name="Yash Ratanpal" userId="5db668b1-93e7-4c08-9786-4ed81315a653" providerId="ADAL" clId="{35CE40C1-3F8C-4A88-9CD7-233EB173ACA1}" dt="2021-08-07T15:22:51.924" v="9139" actId="14100"/>
          <ac:grpSpMkLst>
            <pc:docMk/>
            <pc:sldMk cId="3580805436" sldId="1745"/>
            <ac:grpSpMk id="4" creationId="{15C0FB28-0BD7-4DA1-B949-AE300326D5E7}"/>
          </ac:grpSpMkLst>
        </pc:grpChg>
        <pc:grpChg chg="del">
          <ac:chgData name="Yash Ratanpal" userId="5db668b1-93e7-4c08-9786-4ed81315a653" providerId="ADAL" clId="{35CE40C1-3F8C-4A88-9CD7-233EB173ACA1}" dt="2021-08-07T13:40:41.351" v="9014" actId="478"/>
          <ac:grpSpMkLst>
            <pc:docMk/>
            <pc:sldMk cId="3580805436" sldId="1745"/>
            <ac:grpSpMk id="7" creationId="{01672F1B-0754-4086-9C1B-48FD62392F7B}"/>
          </ac:grpSpMkLst>
        </pc:grpChg>
        <pc:grpChg chg="mod">
          <ac:chgData name="Yash Ratanpal" userId="5db668b1-93e7-4c08-9786-4ed81315a653" providerId="ADAL" clId="{35CE40C1-3F8C-4A88-9CD7-233EB173ACA1}" dt="2021-08-07T15:22:50.630" v="9138" actId="164"/>
          <ac:grpSpMkLst>
            <pc:docMk/>
            <pc:sldMk cId="3580805436" sldId="1745"/>
            <ac:grpSpMk id="17" creationId="{7441FFAE-1414-41ED-B6A2-61E7BC6F5B18}"/>
          </ac:grpSpMkLst>
        </pc:grpChg>
        <pc:graphicFrameChg chg="add mod">
          <ac:chgData name="Yash Ratanpal" userId="5db668b1-93e7-4c08-9786-4ed81315a653" providerId="ADAL" clId="{35CE40C1-3F8C-4A88-9CD7-233EB173ACA1}" dt="2021-08-07T13:57:13.677" v="9082"/>
          <ac:graphicFrameMkLst>
            <pc:docMk/>
            <pc:sldMk cId="3580805436" sldId="1745"/>
            <ac:graphicFrameMk id="24" creationId="{706BD04D-5617-4A3A-A9C0-56F010BE4609}"/>
          </ac:graphicFrameMkLst>
        </pc:graphicFrameChg>
        <pc:graphicFrameChg chg="add del mod">
          <ac:chgData name="Yash Ratanpal" userId="5db668b1-93e7-4c08-9786-4ed81315a653" providerId="ADAL" clId="{35CE40C1-3F8C-4A88-9CD7-233EB173ACA1}" dt="2021-08-07T15:22:50.630" v="9138" actId="164"/>
          <ac:graphicFrameMkLst>
            <pc:docMk/>
            <pc:sldMk cId="3580805436" sldId="1745"/>
            <ac:graphicFrameMk id="25" creationId="{706BD04D-5617-4A3A-A9C0-56F010BE4609}"/>
          </ac:graphicFrameMkLst>
        </pc:graphicFrameChg>
        <pc:graphicFrameChg chg="add mod">
          <ac:chgData name="Yash Ratanpal" userId="5db668b1-93e7-4c08-9786-4ed81315a653" providerId="ADAL" clId="{35CE40C1-3F8C-4A88-9CD7-233EB173ACA1}" dt="2021-08-07T13:58:25.674" v="9098"/>
          <ac:graphicFrameMkLst>
            <pc:docMk/>
            <pc:sldMk cId="3580805436" sldId="1745"/>
            <ac:graphicFrameMk id="26" creationId="{706BD04D-5617-4A3A-A9C0-56F010BE4609}"/>
          </ac:graphicFrameMkLst>
        </pc:graphicFrameChg>
        <pc:graphicFrameChg chg="add mod">
          <ac:chgData name="Yash Ratanpal" userId="5db668b1-93e7-4c08-9786-4ed81315a653" providerId="ADAL" clId="{35CE40C1-3F8C-4A88-9CD7-233EB173ACA1}" dt="2021-08-07T15:22:50.630" v="9138" actId="164"/>
          <ac:graphicFrameMkLst>
            <pc:docMk/>
            <pc:sldMk cId="3580805436" sldId="1745"/>
            <ac:graphicFrameMk id="29" creationId="{706BD04D-5617-4A3A-A9C0-56F010BE4609}"/>
          </ac:graphicFrameMkLst>
        </pc:graphicFrameChg>
        <pc:cxnChg chg="mod">
          <ac:chgData name="Yash Ratanpal" userId="5db668b1-93e7-4c08-9786-4ed81315a653" providerId="ADAL" clId="{35CE40C1-3F8C-4A88-9CD7-233EB173ACA1}" dt="2021-08-07T13:40:41.351" v="9014" actId="478"/>
          <ac:cxnSpMkLst>
            <pc:docMk/>
            <pc:sldMk cId="3580805436" sldId="1745"/>
            <ac:cxnSpMk id="50" creationId="{163D966A-5BE6-4483-8E4F-EC25958B7A1A}"/>
          </ac:cxnSpMkLst>
        </pc:cxnChg>
        <pc:cxnChg chg="mod">
          <ac:chgData name="Yash Ratanpal" userId="5db668b1-93e7-4c08-9786-4ed81315a653" providerId="ADAL" clId="{35CE40C1-3F8C-4A88-9CD7-233EB173ACA1}" dt="2021-08-07T13:40:41.351" v="9014" actId="478"/>
          <ac:cxnSpMkLst>
            <pc:docMk/>
            <pc:sldMk cId="3580805436" sldId="1745"/>
            <ac:cxnSpMk id="55" creationId="{25497920-B91C-4C4D-81D3-EB0B5A8D0A54}"/>
          </ac:cxnSpMkLst>
        </pc:cxnChg>
        <pc:cxnChg chg="mod">
          <ac:chgData name="Yash Ratanpal" userId="5db668b1-93e7-4c08-9786-4ed81315a653" providerId="ADAL" clId="{35CE40C1-3F8C-4A88-9CD7-233EB173ACA1}" dt="2021-08-07T13:40:41.351" v="9014" actId="478"/>
          <ac:cxnSpMkLst>
            <pc:docMk/>
            <pc:sldMk cId="3580805436" sldId="1745"/>
            <ac:cxnSpMk id="56" creationId="{6F6F88B5-D533-4E86-A0B6-4B670632DE30}"/>
          </ac:cxnSpMkLst>
        </pc:cxnChg>
      </pc:sldChg>
      <pc:sldChg chg="addSp delSp modSp add mod addCm delCm">
        <pc:chgData name="Yash Ratanpal" userId="5db668b1-93e7-4c08-9786-4ed81315a653" providerId="ADAL" clId="{35CE40C1-3F8C-4A88-9CD7-233EB173ACA1}" dt="2021-08-09T15:50:39.066" v="12445" actId="20577"/>
        <pc:sldMkLst>
          <pc:docMk/>
          <pc:sldMk cId="2359473793" sldId="1746"/>
        </pc:sldMkLst>
        <pc:spChg chg="mod">
          <ac:chgData name="Yash Ratanpal" userId="5db668b1-93e7-4c08-9786-4ed81315a653" providerId="ADAL" clId="{35CE40C1-3F8C-4A88-9CD7-233EB173ACA1}" dt="2021-08-07T16:57:48.736" v="12398"/>
          <ac:spMkLst>
            <pc:docMk/>
            <pc:sldMk cId="2359473793" sldId="1746"/>
            <ac:spMk id="3" creationId="{00000000-0000-0000-0000-000000000000}"/>
          </ac:spMkLst>
        </pc:spChg>
        <pc:spChg chg="add del mod">
          <ac:chgData name="Yash Ratanpal" userId="5db668b1-93e7-4c08-9786-4ed81315a653" providerId="ADAL" clId="{35CE40C1-3F8C-4A88-9CD7-233EB173ACA1}" dt="2021-08-07T15:27:21.908" v="9372" actId="478"/>
          <ac:spMkLst>
            <pc:docMk/>
            <pc:sldMk cId="2359473793" sldId="1746"/>
            <ac:spMk id="12" creationId="{92882B8B-CDC8-4408-A40E-175EDBFF7500}"/>
          </ac:spMkLst>
        </pc:spChg>
        <pc:spChg chg="add del mod">
          <ac:chgData name="Yash Ratanpal" userId="5db668b1-93e7-4c08-9786-4ed81315a653" providerId="ADAL" clId="{35CE40C1-3F8C-4A88-9CD7-233EB173ACA1}" dt="2021-08-07T15:27:49.090" v="9407" actId="478"/>
          <ac:spMkLst>
            <pc:docMk/>
            <pc:sldMk cId="2359473793" sldId="1746"/>
            <ac:spMk id="13" creationId="{B5C8AB53-C364-4618-B931-7459ED6042EF}"/>
          </ac:spMkLst>
        </pc:spChg>
        <pc:spChg chg="add mod">
          <ac:chgData name="Yash Ratanpal" userId="5db668b1-93e7-4c08-9786-4ed81315a653" providerId="ADAL" clId="{35CE40C1-3F8C-4A88-9CD7-233EB173ACA1}" dt="2021-08-07T15:37:33.206" v="10013" actId="20577"/>
          <ac:spMkLst>
            <pc:docMk/>
            <pc:sldMk cId="2359473793" sldId="1746"/>
            <ac:spMk id="14" creationId="{68778034-CB26-41D9-9E95-EAA8F1DA760E}"/>
          </ac:spMkLst>
        </pc:spChg>
        <pc:spChg chg="add mod">
          <ac:chgData name="Yash Ratanpal" userId="5db668b1-93e7-4c08-9786-4ed81315a653" providerId="ADAL" clId="{35CE40C1-3F8C-4A88-9CD7-233EB173ACA1}" dt="2021-08-07T15:30:03.097" v="9563" actId="164"/>
          <ac:spMkLst>
            <pc:docMk/>
            <pc:sldMk cId="2359473793" sldId="1746"/>
            <ac:spMk id="15" creationId="{3B01B67E-362F-4846-AB04-09110C300280}"/>
          </ac:spMkLst>
        </pc:spChg>
        <pc:spChg chg="add mod">
          <ac:chgData name="Yash Ratanpal" userId="5db668b1-93e7-4c08-9786-4ed81315a653" providerId="ADAL" clId="{35CE40C1-3F8C-4A88-9CD7-233EB173ACA1}" dt="2021-08-09T15:50:36.098" v="12441" actId="20577"/>
          <ac:spMkLst>
            <pc:docMk/>
            <pc:sldMk cId="2359473793" sldId="1746"/>
            <ac:spMk id="18" creationId="{C69410BA-E747-4662-8454-5B07A6C31D1B}"/>
          </ac:spMkLst>
        </pc:spChg>
        <pc:spChg chg="mod">
          <ac:chgData name="Yash Ratanpal" userId="5db668b1-93e7-4c08-9786-4ed81315a653" providerId="ADAL" clId="{35CE40C1-3F8C-4A88-9CD7-233EB173ACA1}" dt="2021-08-07T15:32:36.561" v="9727"/>
          <ac:spMkLst>
            <pc:docMk/>
            <pc:sldMk cId="2359473793" sldId="1746"/>
            <ac:spMk id="20" creationId="{1D55E66F-904C-442C-AD93-2E1013A63007}"/>
          </ac:spMkLst>
        </pc:spChg>
        <pc:spChg chg="mod">
          <ac:chgData name="Yash Ratanpal" userId="5db668b1-93e7-4c08-9786-4ed81315a653" providerId="ADAL" clId="{35CE40C1-3F8C-4A88-9CD7-233EB173ACA1}" dt="2021-08-07T15:32:36.561" v="9727"/>
          <ac:spMkLst>
            <pc:docMk/>
            <pc:sldMk cId="2359473793" sldId="1746"/>
            <ac:spMk id="21" creationId="{A6C5D565-7CF0-4CD5-9467-1C852ED5E838}"/>
          </ac:spMkLst>
        </pc:spChg>
        <pc:spChg chg="mod">
          <ac:chgData name="Yash Ratanpal" userId="5db668b1-93e7-4c08-9786-4ed81315a653" providerId="ADAL" clId="{35CE40C1-3F8C-4A88-9CD7-233EB173ACA1}" dt="2021-08-07T15:32:36.561" v="9727"/>
          <ac:spMkLst>
            <pc:docMk/>
            <pc:sldMk cId="2359473793" sldId="1746"/>
            <ac:spMk id="22" creationId="{A6085054-2F04-4756-B359-0A7F10F12691}"/>
          </ac:spMkLst>
        </pc:spChg>
        <pc:spChg chg="mod">
          <ac:chgData name="Yash Ratanpal" userId="5db668b1-93e7-4c08-9786-4ed81315a653" providerId="ADAL" clId="{35CE40C1-3F8C-4A88-9CD7-233EB173ACA1}" dt="2021-08-07T15:32:36.561" v="9727"/>
          <ac:spMkLst>
            <pc:docMk/>
            <pc:sldMk cId="2359473793" sldId="1746"/>
            <ac:spMk id="23" creationId="{204C3D0A-2A29-4187-82F9-A799C6BA605F}"/>
          </ac:spMkLst>
        </pc:spChg>
        <pc:spChg chg="mod">
          <ac:chgData name="Yash Ratanpal" userId="5db668b1-93e7-4c08-9786-4ed81315a653" providerId="ADAL" clId="{35CE40C1-3F8C-4A88-9CD7-233EB173ACA1}" dt="2021-08-07T15:32:36.561" v="9727"/>
          <ac:spMkLst>
            <pc:docMk/>
            <pc:sldMk cId="2359473793" sldId="1746"/>
            <ac:spMk id="24" creationId="{3C254D6E-7086-4EC0-ADB0-A195941120A6}"/>
          </ac:spMkLst>
        </pc:spChg>
        <pc:spChg chg="mod">
          <ac:chgData name="Yash Ratanpal" userId="5db668b1-93e7-4c08-9786-4ed81315a653" providerId="ADAL" clId="{35CE40C1-3F8C-4A88-9CD7-233EB173ACA1}" dt="2021-08-07T15:32:36.561" v="9727"/>
          <ac:spMkLst>
            <pc:docMk/>
            <pc:sldMk cId="2359473793" sldId="1746"/>
            <ac:spMk id="26" creationId="{EA80DED6-8DFE-46C4-AFE5-372CD1BC8DDA}"/>
          </ac:spMkLst>
        </pc:spChg>
        <pc:spChg chg="add del mod">
          <ac:chgData name="Yash Ratanpal" userId="5db668b1-93e7-4c08-9786-4ed81315a653" providerId="ADAL" clId="{35CE40C1-3F8C-4A88-9CD7-233EB173ACA1}" dt="2021-08-07T15:35:17.298" v="9847" actId="478"/>
          <ac:spMkLst>
            <pc:docMk/>
            <pc:sldMk cId="2359473793" sldId="1746"/>
            <ac:spMk id="27" creationId="{71D85FDB-1882-4B39-B1DF-EC69ED7FE9E9}"/>
          </ac:spMkLst>
        </pc:spChg>
        <pc:spChg chg="add del mod">
          <ac:chgData name="Yash Ratanpal" userId="5db668b1-93e7-4c08-9786-4ed81315a653" providerId="ADAL" clId="{35CE40C1-3F8C-4A88-9CD7-233EB173ACA1}" dt="2021-08-07T15:35:11.554" v="9846" actId="478"/>
          <ac:spMkLst>
            <pc:docMk/>
            <pc:sldMk cId="2359473793" sldId="1746"/>
            <ac:spMk id="28" creationId="{D0DD8498-2550-4223-9B90-898F1F1A506E}"/>
          </ac:spMkLst>
        </pc:spChg>
        <pc:spChg chg="add del mod">
          <ac:chgData name="Yash Ratanpal" userId="5db668b1-93e7-4c08-9786-4ed81315a653" providerId="ADAL" clId="{35CE40C1-3F8C-4A88-9CD7-233EB173ACA1}" dt="2021-08-07T15:35:11.554" v="9846" actId="478"/>
          <ac:spMkLst>
            <pc:docMk/>
            <pc:sldMk cId="2359473793" sldId="1746"/>
            <ac:spMk id="30" creationId="{0BAB41C1-3326-4A4B-A352-0B447FA95602}"/>
          </ac:spMkLst>
        </pc:spChg>
        <pc:spChg chg="add del mod">
          <ac:chgData name="Yash Ratanpal" userId="5db668b1-93e7-4c08-9786-4ed81315a653" providerId="ADAL" clId="{35CE40C1-3F8C-4A88-9CD7-233EB173ACA1}" dt="2021-08-07T15:35:11.554" v="9846" actId="478"/>
          <ac:spMkLst>
            <pc:docMk/>
            <pc:sldMk cId="2359473793" sldId="1746"/>
            <ac:spMk id="31" creationId="{0D65B275-6866-43B3-B609-2F8FC9C500FB}"/>
          </ac:spMkLst>
        </pc:spChg>
        <pc:spChg chg="mod topLvl">
          <ac:chgData name="Yash Ratanpal" userId="5db668b1-93e7-4c08-9786-4ed81315a653" providerId="ADAL" clId="{35CE40C1-3F8C-4A88-9CD7-233EB173ACA1}" dt="2021-08-09T15:50:39.066" v="12445" actId="20577"/>
          <ac:spMkLst>
            <pc:docMk/>
            <pc:sldMk cId="2359473793" sldId="1746"/>
            <ac:spMk id="34" creationId="{AE7E3070-8C51-42E9-A51D-6CE75E2F406D}"/>
          </ac:spMkLst>
        </pc:spChg>
        <pc:spChg chg="add del mod topLvl">
          <ac:chgData name="Yash Ratanpal" userId="5db668b1-93e7-4c08-9786-4ed81315a653" providerId="ADAL" clId="{35CE40C1-3F8C-4A88-9CD7-233EB173ACA1}" dt="2021-08-07T15:38:38.233" v="10033" actId="478"/>
          <ac:spMkLst>
            <pc:docMk/>
            <pc:sldMk cId="2359473793" sldId="1746"/>
            <ac:spMk id="37" creationId="{978FD83A-3697-470D-BF17-7D216FE88272}"/>
          </ac:spMkLst>
        </pc:spChg>
        <pc:spChg chg="add del mod">
          <ac:chgData name="Yash Ratanpal" userId="5db668b1-93e7-4c08-9786-4ed81315a653" providerId="ADAL" clId="{35CE40C1-3F8C-4A88-9CD7-233EB173ACA1}" dt="2021-08-07T15:35:22.991" v="9850" actId="478"/>
          <ac:spMkLst>
            <pc:docMk/>
            <pc:sldMk cId="2359473793" sldId="1746"/>
            <ac:spMk id="38" creationId="{54D28230-5B5C-4F14-A601-2CE3357418BD}"/>
          </ac:spMkLst>
        </pc:spChg>
        <pc:spChg chg="add del mod topLvl">
          <ac:chgData name="Yash Ratanpal" userId="5db668b1-93e7-4c08-9786-4ed81315a653" providerId="ADAL" clId="{35CE40C1-3F8C-4A88-9CD7-233EB173ACA1}" dt="2021-08-07T15:38:37.670" v="10032" actId="478"/>
          <ac:spMkLst>
            <pc:docMk/>
            <pc:sldMk cId="2359473793" sldId="1746"/>
            <ac:spMk id="39" creationId="{72A17864-C77A-4915-8D3B-B85F34FB3149}"/>
          </ac:spMkLst>
        </pc:spChg>
        <pc:spChg chg="add mod topLvl">
          <ac:chgData name="Yash Ratanpal" userId="5db668b1-93e7-4c08-9786-4ed81315a653" providerId="ADAL" clId="{35CE40C1-3F8C-4A88-9CD7-233EB173ACA1}" dt="2021-08-07T15:44:29.358" v="10356" actId="164"/>
          <ac:spMkLst>
            <pc:docMk/>
            <pc:sldMk cId="2359473793" sldId="1746"/>
            <ac:spMk id="40" creationId="{6441E50F-3680-468E-8E13-0F2BDB8BACFF}"/>
          </ac:spMkLst>
        </pc:spChg>
        <pc:spChg chg="add mod topLvl">
          <ac:chgData name="Yash Ratanpal" userId="5db668b1-93e7-4c08-9786-4ed81315a653" providerId="ADAL" clId="{35CE40C1-3F8C-4A88-9CD7-233EB173ACA1}" dt="2021-08-07T15:44:29.358" v="10356" actId="164"/>
          <ac:spMkLst>
            <pc:docMk/>
            <pc:sldMk cId="2359473793" sldId="1746"/>
            <ac:spMk id="41" creationId="{0890C054-CE5D-4197-A6B4-6E9390358C4F}"/>
          </ac:spMkLst>
        </pc:spChg>
        <pc:spChg chg="add del mod">
          <ac:chgData name="Yash Ratanpal" userId="5db668b1-93e7-4c08-9786-4ed81315a653" providerId="ADAL" clId="{35CE40C1-3F8C-4A88-9CD7-233EB173ACA1}" dt="2021-08-07T15:35:22.991" v="9850" actId="478"/>
          <ac:spMkLst>
            <pc:docMk/>
            <pc:sldMk cId="2359473793" sldId="1746"/>
            <ac:spMk id="42" creationId="{37CAC783-3416-4E84-A350-BFBA3A7968E0}"/>
          </ac:spMkLst>
        </pc:spChg>
        <pc:spChg chg="add mod">
          <ac:chgData name="Yash Ratanpal" userId="5db668b1-93e7-4c08-9786-4ed81315a653" providerId="ADAL" clId="{35CE40C1-3F8C-4A88-9CD7-233EB173ACA1}" dt="2021-08-07T15:44:29.358" v="10356" actId="164"/>
          <ac:spMkLst>
            <pc:docMk/>
            <pc:sldMk cId="2359473793" sldId="1746"/>
            <ac:spMk id="48" creationId="{DF055BFF-BC95-4226-A798-DCA55CA41A2D}"/>
          </ac:spMkLst>
        </pc:spChg>
        <pc:spChg chg="add mod">
          <ac:chgData name="Yash Ratanpal" userId="5db668b1-93e7-4c08-9786-4ed81315a653" providerId="ADAL" clId="{35CE40C1-3F8C-4A88-9CD7-233EB173ACA1}" dt="2021-08-07T15:44:29.358" v="10356" actId="164"/>
          <ac:spMkLst>
            <pc:docMk/>
            <pc:sldMk cId="2359473793" sldId="1746"/>
            <ac:spMk id="49" creationId="{6B683E28-6919-4A80-A27B-29422357CBCC}"/>
          </ac:spMkLst>
        </pc:spChg>
        <pc:spChg chg="add del mod">
          <ac:chgData name="Yash Ratanpal" userId="5db668b1-93e7-4c08-9786-4ed81315a653" providerId="ADAL" clId="{35CE40C1-3F8C-4A88-9CD7-233EB173ACA1}" dt="2021-08-07T15:42:37.341" v="10208" actId="478"/>
          <ac:spMkLst>
            <pc:docMk/>
            <pc:sldMk cId="2359473793" sldId="1746"/>
            <ac:spMk id="50" creationId="{6996E422-CC3B-4501-B6B4-FF0A7C2F0BD5}"/>
          </ac:spMkLst>
        </pc:spChg>
        <pc:spChg chg="mod">
          <ac:chgData name="Yash Ratanpal" userId="5db668b1-93e7-4c08-9786-4ed81315a653" providerId="ADAL" clId="{35CE40C1-3F8C-4A88-9CD7-233EB173ACA1}" dt="2021-08-09T15:50:31.330" v="12435" actId="20577"/>
          <ac:spMkLst>
            <pc:docMk/>
            <pc:sldMk cId="2359473793" sldId="1746"/>
            <ac:spMk id="76" creationId="{2B97D186-EC68-4E8D-A392-DAD160EF5784}"/>
          </ac:spMkLst>
        </pc:spChg>
        <pc:spChg chg="mod topLvl">
          <ac:chgData name="Yash Ratanpal" userId="5db668b1-93e7-4c08-9786-4ed81315a653" providerId="ADAL" clId="{35CE40C1-3F8C-4A88-9CD7-233EB173ACA1}" dt="2021-08-07T15:37:37.792" v="10016" actId="14100"/>
          <ac:spMkLst>
            <pc:docMk/>
            <pc:sldMk cId="2359473793" sldId="1746"/>
            <ac:spMk id="80" creationId="{B774EF6A-728C-4E63-B6D0-D5F90664B8C0}"/>
          </ac:spMkLst>
        </pc:spChg>
        <pc:spChg chg="mod topLvl">
          <ac:chgData name="Yash Ratanpal" userId="5db668b1-93e7-4c08-9786-4ed81315a653" providerId="ADAL" clId="{35CE40C1-3F8C-4A88-9CD7-233EB173ACA1}" dt="2021-08-07T15:37:40.269" v="10017" actId="14100"/>
          <ac:spMkLst>
            <pc:docMk/>
            <pc:sldMk cId="2359473793" sldId="1746"/>
            <ac:spMk id="81" creationId="{454FE0B4-9AE2-476D-8F81-21D03307BB42}"/>
          </ac:spMkLst>
        </pc:spChg>
        <pc:spChg chg="mod topLvl">
          <ac:chgData name="Yash Ratanpal" userId="5db668b1-93e7-4c08-9786-4ed81315a653" providerId="ADAL" clId="{35CE40C1-3F8C-4A88-9CD7-233EB173ACA1}" dt="2021-08-07T15:30:03.097" v="9563" actId="164"/>
          <ac:spMkLst>
            <pc:docMk/>
            <pc:sldMk cId="2359473793" sldId="1746"/>
            <ac:spMk id="83" creationId="{1FA47FD9-7D6E-473A-8BBC-3DDDE422810F}"/>
          </ac:spMkLst>
        </pc:spChg>
        <pc:spChg chg="mod topLvl">
          <ac:chgData name="Yash Ratanpal" userId="5db668b1-93e7-4c08-9786-4ed81315a653" providerId="ADAL" clId="{35CE40C1-3F8C-4A88-9CD7-233EB173ACA1}" dt="2021-08-07T15:31:52.254" v="9690" actId="33524"/>
          <ac:spMkLst>
            <pc:docMk/>
            <pc:sldMk cId="2359473793" sldId="1746"/>
            <ac:spMk id="84" creationId="{5B5298CF-BD38-4BB1-95A2-E12A6249E8D2}"/>
          </ac:spMkLst>
        </pc:spChg>
        <pc:grpChg chg="add mod">
          <ac:chgData name="Yash Ratanpal" userId="5db668b1-93e7-4c08-9786-4ed81315a653" providerId="ADAL" clId="{35CE40C1-3F8C-4A88-9CD7-233EB173ACA1}" dt="2021-08-07T15:44:29.358" v="10356" actId="164"/>
          <ac:grpSpMkLst>
            <pc:docMk/>
            <pc:sldMk cId="2359473793" sldId="1746"/>
            <ac:grpSpMk id="4" creationId="{B62E67A8-3240-4BEE-B638-A663F209BD68}"/>
          </ac:grpSpMkLst>
        </pc:grpChg>
        <pc:grpChg chg="add mod">
          <ac:chgData name="Yash Ratanpal" userId="5db668b1-93e7-4c08-9786-4ed81315a653" providerId="ADAL" clId="{35CE40C1-3F8C-4A88-9CD7-233EB173ACA1}" dt="2021-08-07T15:35:31.391" v="9855" actId="164"/>
          <ac:grpSpMkLst>
            <pc:docMk/>
            <pc:sldMk cId="2359473793" sldId="1746"/>
            <ac:grpSpMk id="6" creationId="{DCB492BD-8A59-40B0-9609-C50C7BE71F6D}"/>
          </ac:grpSpMkLst>
        </pc:grpChg>
        <pc:grpChg chg="add del mod">
          <ac:chgData name="Yash Ratanpal" userId="5db668b1-93e7-4c08-9786-4ed81315a653" providerId="ADAL" clId="{35CE40C1-3F8C-4A88-9CD7-233EB173ACA1}" dt="2021-08-07T15:35:49.395" v="9863" actId="165"/>
          <ac:grpSpMkLst>
            <pc:docMk/>
            <pc:sldMk cId="2359473793" sldId="1746"/>
            <ac:grpSpMk id="7" creationId="{748E66E7-1418-4E97-B708-952142FCA5B7}"/>
          </ac:grpSpMkLst>
        </pc:grpChg>
        <pc:grpChg chg="del mod">
          <ac:chgData name="Yash Ratanpal" userId="5db668b1-93e7-4c08-9786-4ed81315a653" providerId="ADAL" clId="{35CE40C1-3F8C-4A88-9CD7-233EB173ACA1}" dt="2021-08-07T15:29:55.483" v="9560" actId="165"/>
          <ac:grpSpMkLst>
            <pc:docMk/>
            <pc:sldMk cId="2359473793" sldId="1746"/>
            <ac:grpSpMk id="17" creationId="{7441FFAE-1414-41ED-B6A2-61E7BC6F5B18}"/>
          </ac:grpSpMkLst>
        </pc:grpChg>
        <pc:grpChg chg="add del mod">
          <ac:chgData name="Yash Ratanpal" userId="5db668b1-93e7-4c08-9786-4ed81315a653" providerId="ADAL" clId="{35CE40C1-3F8C-4A88-9CD7-233EB173ACA1}" dt="2021-08-07T15:32:42.320" v="9731" actId="478"/>
          <ac:grpSpMkLst>
            <pc:docMk/>
            <pc:sldMk cId="2359473793" sldId="1746"/>
            <ac:grpSpMk id="19" creationId="{8D5D8743-85B3-4FBD-BBBB-E2F894B993A9}"/>
          </ac:grpSpMkLst>
        </pc:grpChg>
        <pc:grpChg chg="add del mod">
          <ac:chgData name="Yash Ratanpal" userId="5db668b1-93e7-4c08-9786-4ed81315a653" providerId="ADAL" clId="{35CE40C1-3F8C-4A88-9CD7-233EB173ACA1}" dt="2021-08-07T15:38:06.026" v="10022" actId="165"/>
          <ac:grpSpMkLst>
            <pc:docMk/>
            <pc:sldMk cId="2359473793" sldId="1746"/>
            <ac:grpSpMk id="32" creationId="{9E41B5D9-9792-4A1D-919A-5E5AB0877641}"/>
          </ac:grpSpMkLst>
        </pc:grpChg>
        <pc:grpChg chg="add mod">
          <ac:chgData name="Yash Ratanpal" userId="5db668b1-93e7-4c08-9786-4ed81315a653" providerId="ADAL" clId="{35CE40C1-3F8C-4A88-9CD7-233EB173ACA1}" dt="2021-08-07T15:44:31.810" v="10357" actId="14100"/>
          <ac:grpSpMkLst>
            <pc:docMk/>
            <pc:sldMk cId="2359473793" sldId="1746"/>
            <ac:grpSpMk id="43" creationId="{B4BB127D-EF74-4964-B488-5BB294E12A70}"/>
          </ac:grpSpMkLst>
        </pc:grpChg>
        <pc:graphicFrameChg chg="del">
          <ac:chgData name="Yash Ratanpal" userId="5db668b1-93e7-4c08-9786-4ed81315a653" providerId="ADAL" clId="{35CE40C1-3F8C-4A88-9CD7-233EB173ACA1}" dt="2021-08-07T15:23:40.738" v="9151" actId="478"/>
          <ac:graphicFrameMkLst>
            <pc:docMk/>
            <pc:sldMk cId="2359473793" sldId="1746"/>
            <ac:graphicFrameMk id="25" creationId="{706BD04D-5617-4A3A-A9C0-56F010BE4609}"/>
          </ac:graphicFrameMkLst>
        </pc:graphicFrameChg>
        <pc:graphicFrameChg chg="del">
          <ac:chgData name="Yash Ratanpal" userId="5db668b1-93e7-4c08-9786-4ed81315a653" providerId="ADAL" clId="{35CE40C1-3F8C-4A88-9CD7-233EB173ACA1}" dt="2021-08-07T15:23:40.738" v="9151" actId="478"/>
          <ac:graphicFrameMkLst>
            <pc:docMk/>
            <pc:sldMk cId="2359473793" sldId="1746"/>
            <ac:graphicFrameMk id="29" creationId="{706BD04D-5617-4A3A-A9C0-56F010BE4609}"/>
          </ac:graphicFrameMkLst>
        </pc:graphicFrameChg>
        <pc:cxnChg chg="del mod topLvl">
          <ac:chgData name="Yash Ratanpal" userId="5db668b1-93e7-4c08-9786-4ed81315a653" providerId="ADAL" clId="{35CE40C1-3F8C-4A88-9CD7-233EB173ACA1}" dt="2021-08-07T15:38:19.317" v="10026" actId="478"/>
          <ac:cxnSpMkLst>
            <pc:docMk/>
            <pc:sldMk cId="2359473793" sldId="1746"/>
            <ac:cxnSpMk id="33" creationId="{16D53771-234F-48E9-8849-F023A356F86A}"/>
          </ac:cxnSpMkLst>
        </pc:cxnChg>
        <pc:cxnChg chg="del mod topLvl">
          <ac:chgData name="Yash Ratanpal" userId="5db668b1-93e7-4c08-9786-4ed81315a653" providerId="ADAL" clId="{35CE40C1-3F8C-4A88-9CD7-233EB173ACA1}" dt="2021-08-07T15:38:20.602" v="10027" actId="478"/>
          <ac:cxnSpMkLst>
            <pc:docMk/>
            <pc:sldMk cId="2359473793" sldId="1746"/>
            <ac:cxnSpMk id="35" creationId="{5611010D-D08C-4030-B278-77EE062AEFB5}"/>
          </ac:cxnSpMkLst>
        </pc:cxnChg>
        <pc:cxnChg chg="add del mod">
          <ac:chgData name="Yash Ratanpal" userId="5db668b1-93e7-4c08-9786-4ed81315a653" providerId="ADAL" clId="{35CE40C1-3F8C-4A88-9CD7-233EB173ACA1}" dt="2021-08-07T15:35:34.927" v="9857" actId="478"/>
          <ac:cxnSpMkLst>
            <pc:docMk/>
            <pc:sldMk cId="2359473793" sldId="1746"/>
            <ac:cxnSpMk id="36" creationId="{266CB36C-321A-45F8-999A-922A4CB71E84}"/>
          </ac:cxnSpMkLst>
        </pc:cxnChg>
      </pc:sldChg>
      <pc:sldChg chg="addSp delSp modSp add mod">
        <pc:chgData name="Yash Ratanpal" userId="5db668b1-93e7-4c08-9786-4ed81315a653" providerId="ADAL" clId="{35CE40C1-3F8C-4A88-9CD7-233EB173ACA1}" dt="2021-08-09T15:50:52.615" v="12467" actId="20577"/>
        <pc:sldMkLst>
          <pc:docMk/>
          <pc:sldMk cId="1888492089" sldId="1747"/>
        </pc:sldMkLst>
        <pc:spChg chg="mod">
          <ac:chgData name="Yash Ratanpal" userId="5db668b1-93e7-4c08-9786-4ed81315a653" providerId="ADAL" clId="{35CE40C1-3F8C-4A88-9CD7-233EB173ACA1}" dt="2021-08-07T16:57:50.640" v="12399"/>
          <ac:spMkLst>
            <pc:docMk/>
            <pc:sldMk cId="1888492089" sldId="1747"/>
            <ac:spMk id="3" creationId="{00000000-0000-0000-0000-000000000000}"/>
          </ac:spMkLst>
        </pc:spChg>
        <pc:spChg chg="mod">
          <ac:chgData name="Yash Ratanpal" userId="5db668b1-93e7-4c08-9786-4ed81315a653" providerId="ADAL" clId="{35CE40C1-3F8C-4A88-9CD7-233EB173ACA1}" dt="2021-08-07T15:44:52.359" v="10405" actId="165"/>
          <ac:spMkLst>
            <pc:docMk/>
            <pc:sldMk cId="1888492089" sldId="1747"/>
            <ac:spMk id="14" creationId="{68778034-CB26-41D9-9E95-EAA8F1DA760E}"/>
          </ac:spMkLst>
        </pc:spChg>
        <pc:spChg chg="mod">
          <ac:chgData name="Yash Ratanpal" userId="5db668b1-93e7-4c08-9786-4ed81315a653" providerId="ADAL" clId="{35CE40C1-3F8C-4A88-9CD7-233EB173ACA1}" dt="2021-08-07T15:44:52.359" v="10405" actId="165"/>
          <ac:spMkLst>
            <pc:docMk/>
            <pc:sldMk cId="1888492089" sldId="1747"/>
            <ac:spMk id="15" creationId="{3B01B67E-362F-4846-AB04-09110C300280}"/>
          </ac:spMkLst>
        </pc:spChg>
        <pc:spChg chg="mod topLvl">
          <ac:chgData name="Yash Ratanpal" userId="5db668b1-93e7-4c08-9786-4ed81315a653" providerId="ADAL" clId="{35CE40C1-3F8C-4A88-9CD7-233EB173ACA1}" dt="2021-08-09T15:50:49.539" v="12463" actId="20577"/>
          <ac:spMkLst>
            <pc:docMk/>
            <pc:sldMk cId="1888492089" sldId="1747"/>
            <ac:spMk id="18" creationId="{C69410BA-E747-4662-8454-5B07A6C31D1B}"/>
          </ac:spMkLst>
        </pc:spChg>
        <pc:spChg chg="del mod topLvl">
          <ac:chgData name="Yash Ratanpal" userId="5db668b1-93e7-4c08-9786-4ed81315a653" providerId="ADAL" clId="{35CE40C1-3F8C-4A88-9CD7-233EB173ACA1}" dt="2021-08-07T15:44:53.995" v="10406" actId="478"/>
          <ac:spMkLst>
            <pc:docMk/>
            <pc:sldMk cId="1888492089" sldId="1747"/>
            <ac:spMk id="34" creationId="{AE7E3070-8C51-42E9-A51D-6CE75E2F406D}"/>
          </ac:spMkLst>
        </pc:spChg>
        <pc:spChg chg="del mod topLvl">
          <ac:chgData name="Yash Ratanpal" userId="5db668b1-93e7-4c08-9786-4ed81315a653" providerId="ADAL" clId="{35CE40C1-3F8C-4A88-9CD7-233EB173ACA1}" dt="2021-08-07T15:44:53.995" v="10406" actId="478"/>
          <ac:spMkLst>
            <pc:docMk/>
            <pc:sldMk cId="1888492089" sldId="1747"/>
            <ac:spMk id="40" creationId="{6441E50F-3680-468E-8E13-0F2BDB8BACFF}"/>
          </ac:spMkLst>
        </pc:spChg>
        <pc:spChg chg="del mod topLvl">
          <ac:chgData name="Yash Ratanpal" userId="5db668b1-93e7-4c08-9786-4ed81315a653" providerId="ADAL" clId="{35CE40C1-3F8C-4A88-9CD7-233EB173ACA1}" dt="2021-08-07T15:44:53.995" v="10406" actId="478"/>
          <ac:spMkLst>
            <pc:docMk/>
            <pc:sldMk cId="1888492089" sldId="1747"/>
            <ac:spMk id="41" creationId="{0890C054-CE5D-4197-A6B4-6E9390358C4F}"/>
          </ac:spMkLst>
        </pc:spChg>
        <pc:spChg chg="del mod topLvl">
          <ac:chgData name="Yash Ratanpal" userId="5db668b1-93e7-4c08-9786-4ed81315a653" providerId="ADAL" clId="{35CE40C1-3F8C-4A88-9CD7-233EB173ACA1}" dt="2021-08-07T15:44:53.995" v="10406" actId="478"/>
          <ac:spMkLst>
            <pc:docMk/>
            <pc:sldMk cId="1888492089" sldId="1747"/>
            <ac:spMk id="48" creationId="{DF055BFF-BC95-4226-A798-DCA55CA41A2D}"/>
          </ac:spMkLst>
        </pc:spChg>
        <pc:spChg chg="del mod topLvl">
          <ac:chgData name="Yash Ratanpal" userId="5db668b1-93e7-4c08-9786-4ed81315a653" providerId="ADAL" clId="{35CE40C1-3F8C-4A88-9CD7-233EB173ACA1}" dt="2021-08-07T15:44:53.995" v="10406" actId="478"/>
          <ac:spMkLst>
            <pc:docMk/>
            <pc:sldMk cId="1888492089" sldId="1747"/>
            <ac:spMk id="49" creationId="{6B683E28-6919-4A80-A27B-29422357CBCC}"/>
          </ac:spMkLst>
        </pc:spChg>
        <pc:spChg chg="mod topLvl">
          <ac:chgData name="Yash Ratanpal" userId="5db668b1-93e7-4c08-9786-4ed81315a653" providerId="ADAL" clId="{35CE40C1-3F8C-4A88-9CD7-233EB173ACA1}" dt="2021-08-09T15:50:52.615" v="12467" actId="20577"/>
          <ac:spMkLst>
            <pc:docMk/>
            <pc:sldMk cId="1888492089" sldId="1747"/>
            <ac:spMk id="76" creationId="{2B97D186-EC68-4E8D-A392-DAD160EF5784}"/>
          </ac:spMkLst>
        </pc:spChg>
        <pc:spChg chg="mod">
          <ac:chgData name="Yash Ratanpal" userId="5db668b1-93e7-4c08-9786-4ed81315a653" providerId="ADAL" clId="{35CE40C1-3F8C-4A88-9CD7-233EB173ACA1}" dt="2021-08-07T15:44:52.359" v="10405" actId="165"/>
          <ac:spMkLst>
            <pc:docMk/>
            <pc:sldMk cId="1888492089" sldId="1747"/>
            <ac:spMk id="80" creationId="{B774EF6A-728C-4E63-B6D0-D5F90664B8C0}"/>
          </ac:spMkLst>
        </pc:spChg>
        <pc:spChg chg="mod">
          <ac:chgData name="Yash Ratanpal" userId="5db668b1-93e7-4c08-9786-4ed81315a653" providerId="ADAL" clId="{35CE40C1-3F8C-4A88-9CD7-233EB173ACA1}" dt="2021-08-07T15:44:52.359" v="10405" actId="165"/>
          <ac:spMkLst>
            <pc:docMk/>
            <pc:sldMk cId="1888492089" sldId="1747"/>
            <ac:spMk id="81" creationId="{454FE0B4-9AE2-476D-8F81-21D03307BB42}"/>
          </ac:spMkLst>
        </pc:spChg>
        <pc:spChg chg="mod">
          <ac:chgData name="Yash Ratanpal" userId="5db668b1-93e7-4c08-9786-4ed81315a653" providerId="ADAL" clId="{35CE40C1-3F8C-4A88-9CD7-233EB173ACA1}" dt="2021-08-07T15:44:52.359" v="10405" actId="165"/>
          <ac:spMkLst>
            <pc:docMk/>
            <pc:sldMk cId="1888492089" sldId="1747"/>
            <ac:spMk id="83" creationId="{1FA47FD9-7D6E-473A-8BBC-3DDDE422810F}"/>
          </ac:spMkLst>
        </pc:spChg>
        <pc:spChg chg="mod">
          <ac:chgData name="Yash Ratanpal" userId="5db668b1-93e7-4c08-9786-4ed81315a653" providerId="ADAL" clId="{35CE40C1-3F8C-4A88-9CD7-233EB173ACA1}" dt="2021-08-07T15:44:52.359" v="10405" actId="165"/>
          <ac:spMkLst>
            <pc:docMk/>
            <pc:sldMk cId="1888492089" sldId="1747"/>
            <ac:spMk id="84" creationId="{5B5298CF-BD38-4BB1-95A2-E12A6249E8D2}"/>
          </ac:spMkLst>
        </pc:spChg>
        <pc:grpChg chg="del mod topLvl">
          <ac:chgData name="Yash Ratanpal" userId="5db668b1-93e7-4c08-9786-4ed81315a653" providerId="ADAL" clId="{35CE40C1-3F8C-4A88-9CD7-233EB173ACA1}" dt="2021-08-07T15:44:53.995" v="10406" actId="478"/>
          <ac:grpSpMkLst>
            <pc:docMk/>
            <pc:sldMk cId="1888492089" sldId="1747"/>
            <ac:grpSpMk id="4" creationId="{B62E67A8-3240-4BEE-B638-A663F209BD68}"/>
          </ac:grpSpMkLst>
        </pc:grpChg>
        <pc:grpChg chg="del">
          <ac:chgData name="Yash Ratanpal" userId="5db668b1-93e7-4c08-9786-4ed81315a653" providerId="ADAL" clId="{35CE40C1-3F8C-4A88-9CD7-233EB173ACA1}" dt="2021-08-07T15:44:52.359" v="10405" actId="165"/>
          <ac:grpSpMkLst>
            <pc:docMk/>
            <pc:sldMk cId="1888492089" sldId="1747"/>
            <ac:grpSpMk id="43" creationId="{B4BB127D-EF74-4964-B488-5BB294E12A70}"/>
          </ac:grpSpMkLst>
        </pc:grpChg>
        <pc:graphicFrameChg chg="add del mod">
          <ac:chgData name="Yash Ratanpal" userId="5db668b1-93e7-4c08-9786-4ed81315a653" providerId="ADAL" clId="{35CE40C1-3F8C-4A88-9CD7-233EB173ACA1}" dt="2021-08-07T15:57:18.286" v="10462"/>
          <ac:graphicFrameMkLst>
            <pc:docMk/>
            <pc:sldMk cId="1888492089" sldId="1747"/>
            <ac:graphicFrameMk id="5" creationId="{CEBA9AF2-4787-4A70-8AA6-385870B9F07E}"/>
          </ac:graphicFrameMkLst>
        </pc:graphicFrameChg>
        <pc:graphicFrameChg chg="add mod modGraphic">
          <ac:chgData name="Yash Ratanpal" userId="5db668b1-93e7-4c08-9786-4ed81315a653" providerId="ADAL" clId="{35CE40C1-3F8C-4A88-9CD7-233EB173ACA1}" dt="2021-08-07T15:59:01.262" v="10499" actId="113"/>
          <ac:graphicFrameMkLst>
            <pc:docMk/>
            <pc:sldMk cId="1888492089" sldId="1747"/>
            <ac:graphicFrameMk id="6" creationId="{003882B5-876F-478D-B3F6-AE3091A35C03}"/>
          </ac:graphicFrameMkLst>
        </pc:graphicFrameChg>
        <pc:graphicFrameChg chg="add mod modGraphic">
          <ac:chgData name="Yash Ratanpal" userId="5db668b1-93e7-4c08-9786-4ed81315a653" providerId="ADAL" clId="{35CE40C1-3F8C-4A88-9CD7-233EB173ACA1}" dt="2021-08-07T15:58:45.379" v="10492" actId="14100"/>
          <ac:graphicFrameMkLst>
            <pc:docMk/>
            <pc:sldMk cId="1888492089" sldId="1747"/>
            <ac:graphicFrameMk id="7" creationId="{F6701571-0BF6-4E8B-9C1D-C21CAEA79084}"/>
          </ac:graphicFrameMkLst>
        </pc:graphicFrameChg>
        <pc:graphicFrameChg chg="add del mod">
          <ac:chgData name="Yash Ratanpal" userId="5db668b1-93e7-4c08-9786-4ed81315a653" providerId="ADAL" clId="{35CE40C1-3F8C-4A88-9CD7-233EB173ACA1}" dt="2021-08-07T15:44:59.081" v="10408"/>
          <ac:graphicFrameMkLst>
            <pc:docMk/>
            <pc:sldMk cId="1888492089" sldId="1747"/>
            <ac:graphicFrameMk id="19" creationId="{DF1D0B52-E3DF-4A14-B91F-9DC963198A94}"/>
          </ac:graphicFrameMkLst>
        </pc:graphicFrameChg>
        <pc:graphicFrameChg chg="add del mod modGraphic">
          <ac:chgData name="Yash Ratanpal" userId="5db668b1-93e7-4c08-9786-4ed81315a653" providerId="ADAL" clId="{35CE40C1-3F8C-4A88-9CD7-233EB173ACA1}" dt="2021-08-07T15:51:20.973" v="10460" actId="478"/>
          <ac:graphicFrameMkLst>
            <pc:docMk/>
            <pc:sldMk cId="1888492089" sldId="1747"/>
            <ac:graphicFrameMk id="20" creationId="{5AB70847-9320-4EC5-99B0-E6AAB84DB55C}"/>
          </ac:graphicFrameMkLst>
        </pc:graphicFrameChg>
        <pc:graphicFrameChg chg="add mod">
          <ac:chgData name="Yash Ratanpal" userId="5db668b1-93e7-4c08-9786-4ed81315a653" providerId="ADAL" clId="{35CE40C1-3F8C-4A88-9CD7-233EB173ACA1}" dt="2021-08-07T15:58:47.084" v="10493" actId="14100"/>
          <ac:graphicFrameMkLst>
            <pc:docMk/>
            <pc:sldMk cId="1888492089" sldId="1747"/>
            <ac:graphicFrameMk id="24" creationId="{E9ECBD9F-1ACA-40CD-BE60-25BAEB182621}"/>
          </ac:graphicFrameMkLst>
        </pc:graphicFrameChg>
        <pc:graphicFrameChg chg="add mod">
          <ac:chgData name="Yash Ratanpal" userId="5db668b1-93e7-4c08-9786-4ed81315a653" providerId="ADAL" clId="{35CE40C1-3F8C-4A88-9CD7-233EB173ACA1}" dt="2021-08-07T15:58:43.389" v="10491" actId="14100"/>
          <ac:graphicFrameMkLst>
            <pc:docMk/>
            <pc:sldMk cId="1888492089" sldId="1747"/>
            <ac:graphicFrameMk id="25" creationId="{F244D68D-BBC8-4154-8AEF-8BA0E2DF61F6}"/>
          </ac:graphicFrameMkLst>
        </pc:graphicFrameChg>
      </pc:sldChg>
      <pc:sldChg chg="addSp delSp modSp add mod">
        <pc:chgData name="Yash Ratanpal" userId="5db668b1-93e7-4c08-9786-4ed81315a653" providerId="ADAL" clId="{35CE40C1-3F8C-4A88-9CD7-233EB173ACA1}" dt="2021-08-09T17:45:57.066" v="13279" actId="478"/>
        <pc:sldMkLst>
          <pc:docMk/>
          <pc:sldMk cId="3295656285" sldId="1748"/>
        </pc:sldMkLst>
        <pc:spChg chg="mod">
          <ac:chgData name="Yash Ratanpal" userId="5db668b1-93e7-4c08-9786-4ed81315a653" providerId="ADAL" clId="{35CE40C1-3F8C-4A88-9CD7-233EB173ACA1}" dt="2021-08-07T16:57:52.608" v="12400"/>
          <ac:spMkLst>
            <pc:docMk/>
            <pc:sldMk cId="3295656285" sldId="1748"/>
            <ac:spMk id="3" creationId="{00000000-0000-0000-0000-000000000000}"/>
          </ac:spMkLst>
        </pc:spChg>
        <pc:spChg chg="add del mod">
          <ac:chgData name="Yash Ratanpal" userId="5db668b1-93e7-4c08-9786-4ed81315a653" providerId="ADAL" clId="{35CE40C1-3F8C-4A88-9CD7-233EB173ACA1}" dt="2021-08-07T16:05:36.349" v="10727" actId="478"/>
          <ac:spMkLst>
            <pc:docMk/>
            <pc:sldMk cId="3295656285" sldId="1748"/>
            <ac:spMk id="10" creationId="{BCF14470-AB50-4B4C-BE51-547EC9E85266}"/>
          </ac:spMkLst>
        </pc:spChg>
        <pc:spChg chg="add del mod ord">
          <ac:chgData name="Yash Ratanpal" userId="5db668b1-93e7-4c08-9786-4ed81315a653" providerId="ADAL" clId="{35CE40C1-3F8C-4A88-9CD7-233EB173ACA1}" dt="2021-08-07T16:18:16.106" v="11394" actId="478"/>
          <ac:spMkLst>
            <pc:docMk/>
            <pc:sldMk cId="3295656285" sldId="1748"/>
            <ac:spMk id="11" creationId="{BDE87093-050D-4AEC-9C1E-D71EF84350E4}"/>
          </ac:spMkLst>
        </pc:spChg>
        <pc:spChg chg="add del">
          <ac:chgData name="Yash Ratanpal" userId="5db668b1-93e7-4c08-9786-4ed81315a653" providerId="ADAL" clId="{35CE40C1-3F8C-4A88-9CD7-233EB173ACA1}" dt="2021-08-07T16:05:27.812" v="10722" actId="22"/>
          <ac:spMkLst>
            <pc:docMk/>
            <pc:sldMk cId="3295656285" sldId="1748"/>
            <ac:spMk id="12" creationId="{46B2517B-C430-4120-A040-EDD97D060BD5}"/>
          </ac:spMkLst>
        </pc:spChg>
        <pc:spChg chg="add del mod">
          <ac:chgData name="Yash Ratanpal" userId="5db668b1-93e7-4c08-9786-4ed81315a653" providerId="ADAL" clId="{35CE40C1-3F8C-4A88-9CD7-233EB173ACA1}" dt="2021-08-07T16:05:35.763" v="10726" actId="478"/>
          <ac:spMkLst>
            <pc:docMk/>
            <pc:sldMk cId="3295656285" sldId="1748"/>
            <ac:spMk id="14" creationId="{CA58A318-3062-4482-B0E7-C4670D16EF5F}"/>
          </ac:spMkLst>
        </pc:spChg>
        <pc:spChg chg="add del mod">
          <ac:chgData name="Yash Ratanpal" userId="5db668b1-93e7-4c08-9786-4ed81315a653" providerId="ADAL" clId="{35CE40C1-3F8C-4A88-9CD7-233EB173ACA1}" dt="2021-08-07T16:05:40.909" v="10729"/>
          <ac:spMkLst>
            <pc:docMk/>
            <pc:sldMk cId="3295656285" sldId="1748"/>
            <ac:spMk id="15" creationId="{01783018-2EB6-4D66-BE7E-96C66097B135}"/>
          </ac:spMkLst>
        </pc:spChg>
        <pc:spChg chg="del mod">
          <ac:chgData name="Yash Ratanpal" userId="5db668b1-93e7-4c08-9786-4ed81315a653" providerId="ADAL" clId="{35CE40C1-3F8C-4A88-9CD7-233EB173ACA1}" dt="2021-08-07T16:07:01.950" v="10794" actId="478"/>
          <ac:spMkLst>
            <pc:docMk/>
            <pc:sldMk cId="3295656285" sldId="1748"/>
            <ac:spMk id="18" creationId="{C69410BA-E747-4662-8454-5B07A6C31D1B}"/>
          </ac:spMkLst>
        </pc:spChg>
        <pc:spChg chg="add del mod">
          <ac:chgData name="Yash Ratanpal" userId="5db668b1-93e7-4c08-9786-4ed81315a653" providerId="ADAL" clId="{35CE40C1-3F8C-4A88-9CD7-233EB173ACA1}" dt="2021-08-07T16:06:55.805" v="10791" actId="478"/>
          <ac:spMkLst>
            <pc:docMk/>
            <pc:sldMk cId="3295656285" sldId="1748"/>
            <ac:spMk id="19" creationId="{83109CC4-4882-4096-B8AC-57EE774F4A14}"/>
          </ac:spMkLst>
        </pc:spChg>
        <pc:spChg chg="add del mod">
          <ac:chgData name="Yash Ratanpal" userId="5db668b1-93e7-4c08-9786-4ed81315a653" providerId="ADAL" clId="{35CE40C1-3F8C-4A88-9CD7-233EB173ACA1}" dt="2021-08-07T16:06:57.619" v="10792" actId="478"/>
          <ac:spMkLst>
            <pc:docMk/>
            <pc:sldMk cId="3295656285" sldId="1748"/>
            <ac:spMk id="21" creationId="{C4940CC1-EF2D-45DD-AC9D-F284B9D9FE6F}"/>
          </ac:spMkLst>
        </pc:spChg>
        <pc:spChg chg="add del mod">
          <ac:chgData name="Yash Ratanpal" userId="5db668b1-93e7-4c08-9786-4ed81315a653" providerId="ADAL" clId="{35CE40C1-3F8C-4A88-9CD7-233EB173ACA1}" dt="2021-08-09T17:45:55.231" v="13277" actId="478"/>
          <ac:spMkLst>
            <pc:docMk/>
            <pc:sldMk cId="3295656285" sldId="1748"/>
            <ac:spMk id="27" creationId="{1169730E-13C0-4A06-87AA-00D155B04C29}"/>
          </ac:spMkLst>
        </pc:spChg>
        <pc:spChg chg="add del mod">
          <ac:chgData name="Yash Ratanpal" userId="5db668b1-93e7-4c08-9786-4ed81315a653" providerId="ADAL" clId="{35CE40C1-3F8C-4A88-9CD7-233EB173ACA1}" dt="2021-08-07T16:06:22.413" v="10778" actId="478"/>
          <ac:spMkLst>
            <pc:docMk/>
            <pc:sldMk cId="3295656285" sldId="1748"/>
            <ac:spMk id="31" creationId="{07CACC7D-5F10-4602-9130-9A7441062885}"/>
          </ac:spMkLst>
        </pc:spChg>
        <pc:spChg chg="add del mod">
          <ac:chgData name="Yash Ratanpal" userId="5db668b1-93e7-4c08-9786-4ed81315a653" providerId="ADAL" clId="{35CE40C1-3F8C-4A88-9CD7-233EB173ACA1}" dt="2021-08-07T16:06:54.264" v="10790" actId="478"/>
          <ac:spMkLst>
            <pc:docMk/>
            <pc:sldMk cId="3295656285" sldId="1748"/>
            <ac:spMk id="32" creationId="{08FFD5EB-CCCD-4D60-BE5B-FF6806AA0DCC}"/>
          </ac:spMkLst>
        </pc:spChg>
        <pc:spChg chg="add del mod">
          <ac:chgData name="Yash Ratanpal" userId="5db668b1-93e7-4c08-9786-4ed81315a653" providerId="ADAL" clId="{35CE40C1-3F8C-4A88-9CD7-233EB173ACA1}" dt="2021-08-07T16:07:20.888" v="10799"/>
          <ac:spMkLst>
            <pc:docMk/>
            <pc:sldMk cId="3295656285" sldId="1748"/>
            <ac:spMk id="35" creationId="{FF3B621C-A467-4F4A-94E3-BF8A6801090E}"/>
          </ac:spMkLst>
        </pc:spChg>
        <pc:spChg chg="add del mod">
          <ac:chgData name="Yash Ratanpal" userId="5db668b1-93e7-4c08-9786-4ed81315a653" providerId="ADAL" clId="{35CE40C1-3F8C-4A88-9CD7-233EB173ACA1}" dt="2021-08-07T16:07:20.888" v="10799"/>
          <ac:spMkLst>
            <pc:docMk/>
            <pc:sldMk cId="3295656285" sldId="1748"/>
            <ac:spMk id="39" creationId="{C78023BF-3906-48F3-8D47-AFB4A6C9E5B6}"/>
          </ac:spMkLst>
        </pc:spChg>
        <pc:spChg chg="add del mod">
          <ac:chgData name="Yash Ratanpal" userId="5db668b1-93e7-4c08-9786-4ed81315a653" providerId="ADAL" clId="{35CE40C1-3F8C-4A88-9CD7-233EB173ACA1}" dt="2021-08-07T16:08:59.671" v="10837" actId="478"/>
          <ac:spMkLst>
            <pc:docMk/>
            <pc:sldMk cId="3295656285" sldId="1748"/>
            <ac:spMk id="44" creationId="{11982E60-0A72-401E-B00B-D35F730378DC}"/>
          </ac:spMkLst>
        </pc:spChg>
        <pc:spChg chg="add del mod">
          <ac:chgData name="Yash Ratanpal" userId="5db668b1-93e7-4c08-9786-4ed81315a653" providerId="ADAL" clId="{35CE40C1-3F8C-4A88-9CD7-233EB173ACA1}" dt="2021-08-07T16:08:57.916" v="10836" actId="478"/>
          <ac:spMkLst>
            <pc:docMk/>
            <pc:sldMk cId="3295656285" sldId="1748"/>
            <ac:spMk id="46" creationId="{61A186CB-79B9-43A5-BF88-9188E65B1A62}"/>
          </ac:spMkLst>
        </pc:spChg>
        <pc:spChg chg="add del mod">
          <ac:chgData name="Yash Ratanpal" userId="5db668b1-93e7-4c08-9786-4ed81315a653" providerId="ADAL" clId="{35CE40C1-3F8C-4A88-9CD7-233EB173ACA1}" dt="2021-08-07T16:08:57.916" v="10836" actId="478"/>
          <ac:spMkLst>
            <pc:docMk/>
            <pc:sldMk cId="3295656285" sldId="1748"/>
            <ac:spMk id="50" creationId="{51E12F93-1E00-449F-9FA8-82474513D000}"/>
          </ac:spMkLst>
        </pc:spChg>
        <pc:spChg chg="add mod">
          <ac:chgData name="Yash Ratanpal" userId="5db668b1-93e7-4c08-9786-4ed81315a653" providerId="ADAL" clId="{35CE40C1-3F8C-4A88-9CD7-233EB173ACA1}" dt="2021-08-09T15:51:03.798" v="12481" actId="20577"/>
          <ac:spMkLst>
            <pc:docMk/>
            <pc:sldMk cId="3295656285" sldId="1748"/>
            <ac:spMk id="54" creationId="{21B82D35-B480-4C1E-B27F-6969282B95E3}"/>
          </ac:spMkLst>
        </pc:spChg>
        <pc:spChg chg="add mod">
          <ac:chgData name="Yash Ratanpal" userId="5db668b1-93e7-4c08-9786-4ed81315a653" providerId="ADAL" clId="{35CE40C1-3F8C-4A88-9CD7-233EB173ACA1}" dt="2021-08-09T15:51:05.971" v="12485" actId="20577"/>
          <ac:spMkLst>
            <pc:docMk/>
            <pc:sldMk cId="3295656285" sldId="1748"/>
            <ac:spMk id="55" creationId="{BE53431A-04FC-4DE4-91DC-C7E99F5083A2}"/>
          </ac:spMkLst>
        </pc:spChg>
        <pc:spChg chg="add del mod">
          <ac:chgData name="Yash Ratanpal" userId="5db668b1-93e7-4c08-9786-4ed81315a653" providerId="ADAL" clId="{35CE40C1-3F8C-4A88-9CD7-233EB173ACA1}" dt="2021-08-07T16:12:34.590" v="11072" actId="478"/>
          <ac:spMkLst>
            <pc:docMk/>
            <pc:sldMk cId="3295656285" sldId="1748"/>
            <ac:spMk id="56" creationId="{28A49A9C-505B-44AB-9EF5-9DFD130401E1}"/>
          </ac:spMkLst>
        </pc:spChg>
        <pc:spChg chg="add mod">
          <ac:chgData name="Yash Ratanpal" userId="5db668b1-93e7-4c08-9786-4ed81315a653" providerId="ADAL" clId="{35CE40C1-3F8C-4A88-9CD7-233EB173ACA1}" dt="2021-08-07T16:16:18.925" v="11269" actId="20577"/>
          <ac:spMkLst>
            <pc:docMk/>
            <pc:sldMk cId="3295656285" sldId="1748"/>
            <ac:spMk id="59" creationId="{33FCED12-D5D5-47D0-BE87-0544170607DD}"/>
          </ac:spMkLst>
        </pc:spChg>
        <pc:spChg chg="add mod">
          <ac:chgData name="Yash Ratanpal" userId="5db668b1-93e7-4c08-9786-4ed81315a653" providerId="ADAL" clId="{35CE40C1-3F8C-4A88-9CD7-233EB173ACA1}" dt="2021-08-07T16:16:26.144" v="11308" actId="20577"/>
          <ac:spMkLst>
            <pc:docMk/>
            <pc:sldMk cId="3295656285" sldId="1748"/>
            <ac:spMk id="60" creationId="{D27493E0-AC23-4191-ACF5-08E46C735627}"/>
          </ac:spMkLst>
        </pc:spChg>
        <pc:spChg chg="add mod">
          <ac:chgData name="Yash Ratanpal" userId="5db668b1-93e7-4c08-9786-4ed81315a653" providerId="ADAL" clId="{35CE40C1-3F8C-4A88-9CD7-233EB173ACA1}" dt="2021-08-07T16:15:32.319" v="11228" actId="123"/>
          <ac:spMkLst>
            <pc:docMk/>
            <pc:sldMk cId="3295656285" sldId="1748"/>
            <ac:spMk id="64" creationId="{791FD374-DCDB-424A-AE64-54096D1F3E1E}"/>
          </ac:spMkLst>
        </pc:spChg>
        <pc:spChg chg="add mod">
          <ac:chgData name="Yash Ratanpal" userId="5db668b1-93e7-4c08-9786-4ed81315a653" providerId="ADAL" clId="{35CE40C1-3F8C-4A88-9CD7-233EB173ACA1}" dt="2021-08-07T16:16:33.426" v="11317" actId="20577"/>
          <ac:spMkLst>
            <pc:docMk/>
            <pc:sldMk cId="3295656285" sldId="1748"/>
            <ac:spMk id="65" creationId="{AC59EF3B-E96B-4522-B6C1-000421178691}"/>
          </ac:spMkLst>
        </pc:spChg>
        <pc:spChg chg="add del mod ord">
          <ac:chgData name="Yash Ratanpal" userId="5db668b1-93e7-4c08-9786-4ed81315a653" providerId="ADAL" clId="{35CE40C1-3F8C-4A88-9CD7-233EB173ACA1}" dt="2021-08-07T16:18:16.601" v="11395" actId="478"/>
          <ac:spMkLst>
            <pc:docMk/>
            <pc:sldMk cId="3295656285" sldId="1748"/>
            <ac:spMk id="66" creationId="{923D599F-697E-4C59-B908-5E38F5034B4A}"/>
          </ac:spMkLst>
        </pc:spChg>
        <pc:spChg chg="add del mod">
          <ac:chgData name="Yash Ratanpal" userId="5db668b1-93e7-4c08-9786-4ed81315a653" providerId="ADAL" clId="{35CE40C1-3F8C-4A88-9CD7-233EB173ACA1}" dt="2021-08-07T16:17:19.400" v="11385" actId="478"/>
          <ac:spMkLst>
            <pc:docMk/>
            <pc:sldMk cId="3295656285" sldId="1748"/>
            <ac:spMk id="67" creationId="{FCF3C87E-93BE-4B0F-98E2-069915136735}"/>
          </ac:spMkLst>
        </pc:spChg>
        <pc:spChg chg="add del mod">
          <ac:chgData name="Yash Ratanpal" userId="5db668b1-93e7-4c08-9786-4ed81315a653" providerId="ADAL" clId="{35CE40C1-3F8C-4A88-9CD7-233EB173ACA1}" dt="2021-08-07T16:17:19.400" v="11385" actId="478"/>
          <ac:spMkLst>
            <pc:docMk/>
            <pc:sldMk cId="3295656285" sldId="1748"/>
            <ac:spMk id="68" creationId="{1DEAE647-ED95-448D-BDD1-5EE0711B8FCA}"/>
          </ac:spMkLst>
        </pc:spChg>
        <pc:spChg chg="add mod">
          <ac:chgData name="Yash Ratanpal" userId="5db668b1-93e7-4c08-9786-4ed81315a653" providerId="ADAL" clId="{35CE40C1-3F8C-4A88-9CD7-233EB173ACA1}" dt="2021-08-07T16:19:51.032" v="11495" actId="20577"/>
          <ac:spMkLst>
            <pc:docMk/>
            <pc:sldMk cId="3295656285" sldId="1748"/>
            <ac:spMk id="69" creationId="{135C4BFC-71B3-4CC9-9805-FCDAD1221CCB}"/>
          </ac:spMkLst>
        </pc:spChg>
        <pc:spChg chg="add mod">
          <ac:chgData name="Yash Ratanpal" userId="5db668b1-93e7-4c08-9786-4ed81315a653" providerId="ADAL" clId="{35CE40C1-3F8C-4A88-9CD7-233EB173ACA1}" dt="2021-08-07T16:19:58.680" v="11523" actId="20577"/>
          <ac:spMkLst>
            <pc:docMk/>
            <pc:sldMk cId="3295656285" sldId="1748"/>
            <ac:spMk id="70" creationId="{296F1208-646E-47DA-BD13-F7D0A3590235}"/>
          </ac:spMkLst>
        </pc:spChg>
        <pc:spChg chg="add del mod">
          <ac:chgData name="Yash Ratanpal" userId="5db668b1-93e7-4c08-9786-4ed81315a653" providerId="ADAL" clId="{35CE40C1-3F8C-4A88-9CD7-233EB173ACA1}" dt="2021-08-07T16:17:19.400" v="11385" actId="478"/>
          <ac:spMkLst>
            <pc:docMk/>
            <pc:sldMk cId="3295656285" sldId="1748"/>
            <ac:spMk id="73" creationId="{EEC720B8-34D4-4014-A399-3834E3A1ED38}"/>
          </ac:spMkLst>
        </pc:spChg>
        <pc:spChg chg="add del mod">
          <ac:chgData name="Yash Ratanpal" userId="5db668b1-93e7-4c08-9786-4ed81315a653" providerId="ADAL" clId="{35CE40C1-3F8C-4A88-9CD7-233EB173ACA1}" dt="2021-08-07T16:17:19.400" v="11385" actId="478"/>
          <ac:spMkLst>
            <pc:docMk/>
            <pc:sldMk cId="3295656285" sldId="1748"/>
            <ac:spMk id="74" creationId="{B3945F5B-64E3-4294-9280-9682C0E53F6A}"/>
          </ac:spMkLst>
        </pc:spChg>
        <pc:spChg chg="mod">
          <ac:chgData name="Yash Ratanpal" userId="5db668b1-93e7-4c08-9786-4ed81315a653" providerId="ADAL" clId="{35CE40C1-3F8C-4A88-9CD7-233EB173ACA1}" dt="2021-08-09T15:51:00.953" v="12477" actId="20577"/>
          <ac:spMkLst>
            <pc:docMk/>
            <pc:sldMk cId="3295656285" sldId="1748"/>
            <ac:spMk id="76" creationId="{2B97D186-EC68-4E8D-A392-DAD160EF5784}"/>
          </ac:spMkLst>
        </pc:spChg>
        <pc:graphicFrameChg chg="del">
          <ac:chgData name="Yash Ratanpal" userId="5db668b1-93e7-4c08-9786-4ed81315a653" providerId="ADAL" clId="{35CE40C1-3F8C-4A88-9CD7-233EB173ACA1}" dt="2021-08-07T16:02:44.288" v="10623" actId="478"/>
          <ac:graphicFrameMkLst>
            <pc:docMk/>
            <pc:sldMk cId="3295656285" sldId="1748"/>
            <ac:graphicFrameMk id="6" creationId="{003882B5-876F-478D-B3F6-AE3091A35C03}"/>
          </ac:graphicFrameMkLst>
        </pc:graphicFrameChg>
        <pc:graphicFrameChg chg="del">
          <ac:chgData name="Yash Ratanpal" userId="5db668b1-93e7-4c08-9786-4ed81315a653" providerId="ADAL" clId="{35CE40C1-3F8C-4A88-9CD7-233EB173ACA1}" dt="2021-08-07T16:02:44.288" v="10623" actId="478"/>
          <ac:graphicFrameMkLst>
            <pc:docMk/>
            <pc:sldMk cId="3295656285" sldId="1748"/>
            <ac:graphicFrameMk id="7" creationId="{F6701571-0BF6-4E8B-9C1D-C21CAEA79084}"/>
          </ac:graphicFrameMkLst>
        </pc:graphicFrameChg>
        <pc:graphicFrameChg chg="add del mod">
          <ac:chgData name="Yash Ratanpal" userId="5db668b1-93e7-4c08-9786-4ed81315a653" providerId="ADAL" clId="{35CE40C1-3F8C-4A88-9CD7-233EB173ACA1}" dt="2021-08-07T16:06:59.010" v="10793" actId="478"/>
          <ac:graphicFrameMkLst>
            <pc:docMk/>
            <pc:sldMk cId="3295656285" sldId="1748"/>
            <ac:graphicFrameMk id="16" creationId="{36895DC9-E820-465A-8D14-78681FE245F4}"/>
          </ac:graphicFrameMkLst>
        </pc:graphicFrameChg>
        <pc:graphicFrameChg chg="del">
          <ac:chgData name="Yash Ratanpal" userId="5db668b1-93e7-4c08-9786-4ed81315a653" providerId="ADAL" clId="{35CE40C1-3F8C-4A88-9CD7-233EB173ACA1}" dt="2021-08-07T16:02:44.288" v="10623" actId="478"/>
          <ac:graphicFrameMkLst>
            <pc:docMk/>
            <pc:sldMk cId="3295656285" sldId="1748"/>
            <ac:graphicFrameMk id="24" creationId="{E9ECBD9F-1ACA-40CD-BE60-25BAEB182621}"/>
          </ac:graphicFrameMkLst>
        </pc:graphicFrameChg>
        <pc:graphicFrameChg chg="del">
          <ac:chgData name="Yash Ratanpal" userId="5db668b1-93e7-4c08-9786-4ed81315a653" providerId="ADAL" clId="{35CE40C1-3F8C-4A88-9CD7-233EB173ACA1}" dt="2021-08-07T16:02:44.288" v="10623" actId="478"/>
          <ac:graphicFrameMkLst>
            <pc:docMk/>
            <pc:sldMk cId="3295656285" sldId="1748"/>
            <ac:graphicFrameMk id="25" creationId="{F244D68D-BBC8-4154-8AEF-8BA0E2DF61F6}"/>
          </ac:graphicFrameMkLst>
        </pc:graphicFrameChg>
        <pc:picChg chg="add del mod">
          <ac:chgData name="Yash Ratanpal" userId="5db668b1-93e7-4c08-9786-4ed81315a653" providerId="ADAL" clId="{35CE40C1-3F8C-4A88-9CD7-233EB173ACA1}" dt="2021-08-07T16:06:57.619" v="10792" actId="478"/>
          <ac:picMkLst>
            <pc:docMk/>
            <pc:sldMk cId="3295656285" sldId="1748"/>
            <ac:picMk id="20" creationId="{8E893AFF-70A8-425A-9994-0DCC7037B04E}"/>
          </ac:picMkLst>
        </pc:picChg>
        <pc:picChg chg="add del mod">
          <ac:chgData name="Yash Ratanpal" userId="5db668b1-93e7-4c08-9786-4ed81315a653" providerId="ADAL" clId="{35CE40C1-3F8C-4A88-9CD7-233EB173ACA1}" dt="2021-08-07T16:06:57.619" v="10792" actId="478"/>
          <ac:picMkLst>
            <pc:docMk/>
            <pc:sldMk cId="3295656285" sldId="1748"/>
            <ac:picMk id="22" creationId="{F92FF3EF-43D8-42D7-B924-44189B831C61}"/>
          </ac:picMkLst>
        </pc:picChg>
        <pc:picChg chg="add del mod">
          <ac:chgData name="Yash Ratanpal" userId="5db668b1-93e7-4c08-9786-4ed81315a653" providerId="ADAL" clId="{35CE40C1-3F8C-4A88-9CD7-233EB173ACA1}" dt="2021-08-07T16:06:57.619" v="10792" actId="478"/>
          <ac:picMkLst>
            <pc:docMk/>
            <pc:sldMk cId="3295656285" sldId="1748"/>
            <ac:picMk id="23" creationId="{3C90B112-053C-4661-8103-E80A476191CD}"/>
          </ac:picMkLst>
        </pc:picChg>
        <pc:picChg chg="add del mod">
          <ac:chgData name="Yash Ratanpal" userId="5db668b1-93e7-4c08-9786-4ed81315a653" providerId="ADAL" clId="{35CE40C1-3F8C-4A88-9CD7-233EB173ACA1}" dt="2021-08-09T17:45:52.957" v="13276" actId="478"/>
          <ac:picMkLst>
            <pc:docMk/>
            <pc:sldMk cId="3295656285" sldId="1748"/>
            <ac:picMk id="26" creationId="{3B5E3F85-1C8C-41AE-908D-2201B25CD615}"/>
          </ac:picMkLst>
        </pc:picChg>
        <pc:picChg chg="add del mod">
          <ac:chgData name="Yash Ratanpal" userId="5db668b1-93e7-4c08-9786-4ed81315a653" providerId="ADAL" clId="{35CE40C1-3F8C-4A88-9CD7-233EB173ACA1}" dt="2021-08-09T17:45:56.065" v="13278" actId="478"/>
          <ac:picMkLst>
            <pc:docMk/>
            <pc:sldMk cId="3295656285" sldId="1748"/>
            <ac:picMk id="28" creationId="{A473D477-B38B-4AE7-8055-0EB39C7A2348}"/>
          </ac:picMkLst>
        </pc:picChg>
        <pc:picChg chg="add del mod">
          <ac:chgData name="Yash Ratanpal" userId="5db668b1-93e7-4c08-9786-4ed81315a653" providerId="ADAL" clId="{35CE40C1-3F8C-4A88-9CD7-233EB173ACA1}" dt="2021-08-09T17:45:57.066" v="13279" actId="478"/>
          <ac:picMkLst>
            <pc:docMk/>
            <pc:sldMk cId="3295656285" sldId="1748"/>
            <ac:picMk id="29" creationId="{A8FDA78C-7792-4A4E-994E-F3F5E3CF6E1F}"/>
          </ac:picMkLst>
        </pc:picChg>
        <pc:picChg chg="add del mod">
          <ac:chgData name="Yash Ratanpal" userId="5db668b1-93e7-4c08-9786-4ed81315a653" providerId="ADAL" clId="{35CE40C1-3F8C-4A88-9CD7-233EB173ACA1}" dt="2021-08-07T16:06:57.619" v="10792" actId="478"/>
          <ac:picMkLst>
            <pc:docMk/>
            <pc:sldMk cId="3295656285" sldId="1748"/>
            <ac:picMk id="30" creationId="{897CDB0C-11D3-44A3-AD40-8BFA5D38C9E4}"/>
          </ac:picMkLst>
        </pc:picChg>
        <pc:picChg chg="add del mod">
          <ac:chgData name="Yash Ratanpal" userId="5db668b1-93e7-4c08-9786-4ed81315a653" providerId="ADAL" clId="{35CE40C1-3F8C-4A88-9CD7-233EB173ACA1}" dt="2021-08-07T16:07:20.888" v="10799"/>
          <ac:picMkLst>
            <pc:docMk/>
            <pc:sldMk cId="3295656285" sldId="1748"/>
            <ac:picMk id="34" creationId="{8C4EA23B-F145-4C03-9138-9AA270B198B5}"/>
          </ac:picMkLst>
        </pc:picChg>
        <pc:picChg chg="add del mod">
          <ac:chgData name="Yash Ratanpal" userId="5db668b1-93e7-4c08-9786-4ed81315a653" providerId="ADAL" clId="{35CE40C1-3F8C-4A88-9CD7-233EB173ACA1}" dt="2021-08-07T16:07:20.888" v="10799"/>
          <ac:picMkLst>
            <pc:docMk/>
            <pc:sldMk cId="3295656285" sldId="1748"/>
            <ac:picMk id="36" creationId="{91BA6DEB-DAD2-4AB7-9AE3-55B8585F70C5}"/>
          </ac:picMkLst>
        </pc:picChg>
        <pc:picChg chg="add del mod">
          <ac:chgData name="Yash Ratanpal" userId="5db668b1-93e7-4c08-9786-4ed81315a653" providerId="ADAL" clId="{35CE40C1-3F8C-4A88-9CD7-233EB173ACA1}" dt="2021-08-07T16:07:20.888" v="10799"/>
          <ac:picMkLst>
            <pc:docMk/>
            <pc:sldMk cId="3295656285" sldId="1748"/>
            <ac:picMk id="37" creationId="{51334666-C71A-4116-A680-A0EA5A9705D5}"/>
          </ac:picMkLst>
        </pc:picChg>
        <pc:picChg chg="add del mod">
          <ac:chgData name="Yash Ratanpal" userId="5db668b1-93e7-4c08-9786-4ed81315a653" providerId="ADAL" clId="{35CE40C1-3F8C-4A88-9CD7-233EB173ACA1}" dt="2021-08-07T16:07:20.888" v="10799"/>
          <ac:picMkLst>
            <pc:docMk/>
            <pc:sldMk cId="3295656285" sldId="1748"/>
            <ac:picMk id="38" creationId="{96727719-31CC-4423-B9A6-FF63A6F06033}"/>
          </ac:picMkLst>
        </pc:picChg>
        <pc:picChg chg="add del mod">
          <ac:chgData name="Yash Ratanpal" userId="5db668b1-93e7-4c08-9786-4ed81315a653" providerId="ADAL" clId="{35CE40C1-3F8C-4A88-9CD7-233EB173ACA1}" dt="2021-08-07T16:07:20.888" v="10799"/>
          <ac:picMkLst>
            <pc:docMk/>
            <pc:sldMk cId="3295656285" sldId="1748"/>
            <ac:picMk id="40" creationId="{15A98237-1C2D-4369-A7CD-10E44FE45138}"/>
          </ac:picMkLst>
        </pc:picChg>
        <pc:picChg chg="add del mod">
          <ac:chgData name="Yash Ratanpal" userId="5db668b1-93e7-4c08-9786-4ed81315a653" providerId="ADAL" clId="{35CE40C1-3F8C-4A88-9CD7-233EB173ACA1}" dt="2021-08-07T16:07:20.888" v="10799"/>
          <ac:picMkLst>
            <pc:docMk/>
            <pc:sldMk cId="3295656285" sldId="1748"/>
            <ac:picMk id="41" creationId="{34628BDD-7277-4DB0-9EFD-EC451F8E8A67}"/>
          </ac:picMkLst>
        </pc:picChg>
        <pc:picChg chg="add del mod">
          <ac:chgData name="Yash Ratanpal" userId="5db668b1-93e7-4c08-9786-4ed81315a653" providerId="ADAL" clId="{35CE40C1-3F8C-4A88-9CD7-233EB173ACA1}" dt="2021-08-07T16:07:20.888" v="10799"/>
          <ac:picMkLst>
            <pc:docMk/>
            <pc:sldMk cId="3295656285" sldId="1748"/>
            <ac:picMk id="42" creationId="{8F73BC3F-BA54-47D3-B8B4-18B6B7FE0922}"/>
          </ac:picMkLst>
        </pc:picChg>
        <pc:picChg chg="add del mod">
          <ac:chgData name="Yash Ratanpal" userId="5db668b1-93e7-4c08-9786-4ed81315a653" providerId="ADAL" clId="{35CE40C1-3F8C-4A88-9CD7-233EB173ACA1}" dt="2021-08-07T16:08:57.916" v="10836" actId="478"/>
          <ac:picMkLst>
            <pc:docMk/>
            <pc:sldMk cId="3295656285" sldId="1748"/>
            <ac:picMk id="45" creationId="{049DE403-3B40-4845-8E22-1857A279E5DA}"/>
          </ac:picMkLst>
        </pc:picChg>
        <pc:picChg chg="add del mod">
          <ac:chgData name="Yash Ratanpal" userId="5db668b1-93e7-4c08-9786-4ed81315a653" providerId="ADAL" clId="{35CE40C1-3F8C-4A88-9CD7-233EB173ACA1}" dt="2021-08-07T16:08:57.916" v="10836" actId="478"/>
          <ac:picMkLst>
            <pc:docMk/>
            <pc:sldMk cId="3295656285" sldId="1748"/>
            <ac:picMk id="47" creationId="{19942E18-3132-4FE6-A7FD-A56FA1D21E12}"/>
          </ac:picMkLst>
        </pc:picChg>
        <pc:picChg chg="add del mod">
          <ac:chgData name="Yash Ratanpal" userId="5db668b1-93e7-4c08-9786-4ed81315a653" providerId="ADAL" clId="{35CE40C1-3F8C-4A88-9CD7-233EB173ACA1}" dt="2021-08-07T16:08:57.916" v="10836" actId="478"/>
          <ac:picMkLst>
            <pc:docMk/>
            <pc:sldMk cId="3295656285" sldId="1748"/>
            <ac:picMk id="48" creationId="{0CA05A23-7DCD-49A8-9BC0-97DD4095E5C8}"/>
          </ac:picMkLst>
        </pc:picChg>
        <pc:picChg chg="add del mod">
          <ac:chgData name="Yash Ratanpal" userId="5db668b1-93e7-4c08-9786-4ed81315a653" providerId="ADAL" clId="{35CE40C1-3F8C-4A88-9CD7-233EB173ACA1}" dt="2021-08-07T16:08:57.916" v="10836" actId="478"/>
          <ac:picMkLst>
            <pc:docMk/>
            <pc:sldMk cId="3295656285" sldId="1748"/>
            <ac:picMk id="49" creationId="{1DC5BCAE-5821-4C16-B262-D27702475DE8}"/>
          </ac:picMkLst>
        </pc:picChg>
        <pc:picChg chg="add del mod">
          <ac:chgData name="Yash Ratanpal" userId="5db668b1-93e7-4c08-9786-4ed81315a653" providerId="ADAL" clId="{35CE40C1-3F8C-4A88-9CD7-233EB173ACA1}" dt="2021-08-07T16:08:57.916" v="10836" actId="478"/>
          <ac:picMkLst>
            <pc:docMk/>
            <pc:sldMk cId="3295656285" sldId="1748"/>
            <ac:picMk id="51" creationId="{1DF85F18-7468-42F6-84A1-3881F9642FFE}"/>
          </ac:picMkLst>
        </pc:picChg>
        <pc:picChg chg="add del mod">
          <ac:chgData name="Yash Ratanpal" userId="5db668b1-93e7-4c08-9786-4ed81315a653" providerId="ADAL" clId="{35CE40C1-3F8C-4A88-9CD7-233EB173ACA1}" dt="2021-08-07T16:08:57.916" v="10836" actId="478"/>
          <ac:picMkLst>
            <pc:docMk/>
            <pc:sldMk cId="3295656285" sldId="1748"/>
            <ac:picMk id="52" creationId="{CAC08FA6-9A22-4359-B364-F70165978DE5}"/>
          </ac:picMkLst>
        </pc:picChg>
        <pc:picChg chg="add del mod">
          <ac:chgData name="Yash Ratanpal" userId="5db668b1-93e7-4c08-9786-4ed81315a653" providerId="ADAL" clId="{35CE40C1-3F8C-4A88-9CD7-233EB173ACA1}" dt="2021-08-07T16:08:57.916" v="10836" actId="478"/>
          <ac:picMkLst>
            <pc:docMk/>
            <pc:sldMk cId="3295656285" sldId="1748"/>
            <ac:picMk id="53" creationId="{01498B6E-5420-444D-8357-BE60082F6D7F}"/>
          </ac:picMkLst>
        </pc:picChg>
        <pc:picChg chg="add del mod">
          <ac:chgData name="Yash Ratanpal" userId="5db668b1-93e7-4c08-9786-4ed81315a653" providerId="ADAL" clId="{35CE40C1-3F8C-4A88-9CD7-233EB173ACA1}" dt="2021-08-07T16:10:43.313" v="11007" actId="478"/>
          <ac:picMkLst>
            <pc:docMk/>
            <pc:sldMk cId="3295656285" sldId="1748"/>
            <ac:picMk id="57" creationId="{AE849727-3A12-4D10-9D53-F1334281771D}"/>
          </ac:picMkLst>
        </pc:picChg>
        <pc:picChg chg="add del mod">
          <ac:chgData name="Yash Ratanpal" userId="5db668b1-93e7-4c08-9786-4ed81315a653" providerId="ADAL" clId="{35CE40C1-3F8C-4A88-9CD7-233EB173ACA1}" dt="2021-08-07T16:12:36.527" v="11073" actId="478"/>
          <ac:picMkLst>
            <pc:docMk/>
            <pc:sldMk cId="3295656285" sldId="1748"/>
            <ac:picMk id="58" creationId="{C30461B5-3FF9-46B0-9F74-CFAD72710636}"/>
          </ac:picMkLst>
        </pc:picChg>
        <pc:picChg chg="add del mod">
          <ac:chgData name="Yash Ratanpal" userId="5db668b1-93e7-4c08-9786-4ed81315a653" providerId="ADAL" clId="{35CE40C1-3F8C-4A88-9CD7-233EB173ACA1}" dt="2021-08-07T16:13:17.206" v="11123" actId="478"/>
          <ac:picMkLst>
            <pc:docMk/>
            <pc:sldMk cId="3295656285" sldId="1748"/>
            <ac:picMk id="61" creationId="{6CAAD6C0-36ED-469B-9DEB-A9CB0BA8DD22}"/>
          </ac:picMkLst>
        </pc:picChg>
        <pc:picChg chg="add mod">
          <ac:chgData name="Yash Ratanpal" userId="5db668b1-93e7-4c08-9786-4ed81315a653" providerId="ADAL" clId="{35CE40C1-3F8C-4A88-9CD7-233EB173ACA1}" dt="2021-08-07T16:18:18.570" v="11396" actId="1076"/>
          <ac:picMkLst>
            <pc:docMk/>
            <pc:sldMk cId="3295656285" sldId="1748"/>
            <ac:picMk id="62" creationId="{D595B63F-EE42-4D94-BB38-328A13156094}"/>
          </ac:picMkLst>
        </pc:picChg>
        <pc:picChg chg="add mod">
          <ac:chgData name="Yash Ratanpal" userId="5db668b1-93e7-4c08-9786-4ed81315a653" providerId="ADAL" clId="{35CE40C1-3F8C-4A88-9CD7-233EB173ACA1}" dt="2021-08-07T16:18:20.412" v="11397" actId="1076"/>
          <ac:picMkLst>
            <pc:docMk/>
            <pc:sldMk cId="3295656285" sldId="1748"/>
            <ac:picMk id="63" creationId="{E80CCF94-793C-47B4-A8A2-5ADCAECD1BEF}"/>
          </ac:picMkLst>
        </pc:picChg>
        <pc:picChg chg="add del mod">
          <ac:chgData name="Yash Ratanpal" userId="5db668b1-93e7-4c08-9786-4ed81315a653" providerId="ADAL" clId="{35CE40C1-3F8C-4A88-9CD7-233EB173ACA1}" dt="2021-08-07T16:17:19.400" v="11385" actId="478"/>
          <ac:picMkLst>
            <pc:docMk/>
            <pc:sldMk cId="3295656285" sldId="1748"/>
            <ac:picMk id="71" creationId="{8663076A-9B85-4BA8-8078-EEFE509B4AC8}"/>
          </ac:picMkLst>
        </pc:picChg>
        <pc:picChg chg="add del mod">
          <ac:chgData name="Yash Ratanpal" userId="5db668b1-93e7-4c08-9786-4ed81315a653" providerId="ADAL" clId="{35CE40C1-3F8C-4A88-9CD7-233EB173ACA1}" dt="2021-08-07T16:17:19.400" v="11385" actId="478"/>
          <ac:picMkLst>
            <pc:docMk/>
            <pc:sldMk cId="3295656285" sldId="1748"/>
            <ac:picMk id="72" creationId="{8F3DF33D-E312-4DCA-8C4D-7E877A8B52E5}"/>
          </ac:picMkLst>
        </pc:picChg>
        <pc:picChg chg="add mod">
          <ac:chgData name="Yash Ratanpal" userId="5db668b1-93e7-4c08-9786-4ed81315a653" providerId="ADAL" clId="{35CE40C1-3F8C-4A88-9CD7-233EB173ACA1}" dt="2021-08-07T16:18:53.669" v="11409" actId="1076"/>
          <ac:picMkLst>
            <pc:docMk/>
            <pc:sldMk cId="3295656285" sldId="1748"/>
            <ac:picMk id="75" creationId="{C120912B-144E-469D-B637-888A0D6C01F8}"/>
          </ac:picMkLst>
        </pc:picChg>
        <pc:picChg chg="add mod">
          <ac:chgData name="Yash Ratanpal" userId="5db668b1-93e7-4c08-9786-4ed81315a653" providerId="ADAL" clId="{35CE40C1-3F8C-4A88-9CD7-233EB173ACA1}" dt="2021-08-07T16:18:57.077" v="11410" actId="1076"/>
          <ac:picMkLst>
            <pc:docMk/>
            <pc:sldMk cId="3295656285" sldId="1748"/>
            <ac:picMk id="77" creationId="{B08DDE88-98E8-4140-B288-0AA929D38234}"/>
          </ac:picMkLst>
        </pc:picChg>
        <pc:picChg chg="add mod">
          <ac:chgData name="Yash Ratanpal" userId="5db668b1-93e7-4c08-9786-4ed81315a653" providerId="ADAL" clId="{35CE40C1-3F8C-4A88-9CD7-233EB173ACA1}" dt="2021-08-07T16:18:38.730" v="11402" actId="14100"/>
          <ac:picMkLst>
            <pc:docMk/>
            <pc:sldMk cId="3295656285" sldId="1748"/>
            <ac:picMk id="78" creationId="{7D13C39B-3C98-43E4-A9FD-CF3700A274CD}"/>
          </ac:picMkLst>
        </pc:picChg>
        <pc:picChg chg="add mod">
          <ac:chgData name="Yash Ratanpal" userId="5db668b1-93e7-4c08-9786-4ed81315a653" providerId="ADAL" clId="{35CE40C1-3F8C-4A88-9CD7-233EB173ACA1}" dt="2021-08-07T16:18:51.880" v="11408" actId="14100"/>
          <ac:picMkLst>
            <pc:docMk/>
            <pc:sldMk cId="3295656285" sldId="1748"/>
            <ac:picMk id="79" creationId="{8633D31D-7285-4F84-BC29-CB23551DA560}"/>
          </ac:picMkLst>
        </pc:picChg>
        <pc:cxnChg chg="add del mod">
          <ac:chgData name="Yash Ratanpal" userId="5db668b1-93e7-4c08-9786-4ed81315a653" providerId="ADAL" clId="{35CE40C1-3F8C-4A88-9CD7-233EB173ACA1}" dt="2021-08-07T16:06:40.156" v="10785" actId="478"/>
          <ac:cxnSpMkLst>
            <pc:docMk/>
            <pc:sldMk cId="3295656285" sldId="1748"/>
            <ac:cxnSpMk id="17" creationId="{F7B4C3EA-FCEF-4805-9EF5-2B238FB6B1D9}"/>
          </ac:cxnSpMkLst>
        </pc:cxnChg>
        <pc:cxnChg chg="add del mod">
          <ac:chgData name="Yash Ratanpal" userId="5db668b1-93e7-4c08-9786-4ed81315a653" providerId="ADAL" clId="{35CE40C1-3F8C-4A88-9CD7-233EB173ACA1}" dt="2021-08-07T16:07:20.888" v="10799"/>
          <ac:cxnSpMkLst>
            <pc:docMk/>
            <pc:sldMk cId="3295656285" sldId="1748"/>
            <ac:cxnSpMk id="33" creationId="{AE3C8EA4-1B8C-4A4A-8B68-CDF27610A324}"/>
          </ac:cxnSpMkLst>
        </pc:cxnChg>
        <pc:cxnChg chg="add del mod">
          <ac:chgData name="Yash Ratanpal" userId="5db668b1-93e7-4c08-9786-4ed81315a653" providerId="ADAL" clId="{35CE40C1-3F8C-4A88-9CD7-233EB173ACA1}" dt="2021-08-07T16:08:57.916" v="10836" actId="478"/>
          <ac:cxnSpMkLst>
            <pc:docMk/>
            <pc:sldMk cId="3295656285" sldId="1748"/>
            <ac:cxnSpMk id="43" creationId="{AA8DE0EF-1B15-4ADA-B32F-985F557E396D}"/>
          </ac:cxnSpMkLst>
        </pc:cxnChg>
      </pc:sldChg>
      <pc:sldChg chg="addSp delSp modSp add del mod">
        <pc:chgData name="Yash Ratanpal" userId="5db668b1-93e7-4c08-9786-4ed81315a653" providerId="ADAL" clId="{35CE40C1-3F8C-4A88-9CD7-233EB173ACA1}" dt="2021-08-07T16:56:29.733" v="12376" actId="47"/>
        <pc:sldMkLst>
          <pc:docMk/>
          <pc:sldMk cId="3587362824" sldId="1749"/>
        </pc:sldMkLst>
        <pc:spChg chg="add del mod">
          <ac:chgData name="Yash Ratanpal" userId="5db668b1-93e7-4c08-9786-4ed81315a653" providerId="ADAL" clId="{35CE40C1-3F8C-4A88-9CD7-233EB173ACA1}" dt="2021-08-07T16:08:11.482" v="10832"/>
          <ac:spMkLst>
            <pc:docMk/>
            <pc:sldMk cId="3587362824" sldId="1749"/>
            <ac:spMk id="20" creationId="{F95340A3-D7E1-4477-BB3F-2604C07AC116}"/>
          </ac:spMkLst>
        </pc:spChg>
        <pc:spChg chg="add mod">
          <ac:chgData name="Yash Ratanpal" userId="5db668b1-93e7-4c08-9786-4ed81315a653" providerId="ADAL" clId="{35CE40C1-3F8C-4A88-9CD7-233EB173ACA1}" dt="2021-08-07T16:08:22.013" v="10834" actId="1076"/>
          <ac:spMkLst>
            <pc:docMk/>
            <pc:sldMk cId="3587362824" sldId="1749"/>
            <ac:spMk id="21" creationId="{D84FC0B5-3F96-46FA-8248-59850E55E1C1}"/>
          </ac:spMkLst>
        </pc:spChg>
        <pc:spChg chg="add mod">
          <ac:chgData name="Yash Ratanpal" userId="5db668b1-93e7-4c08-9786-4ed81315a653" providerId="ADAL" clId="{35CE40C1-3F8C-4A88-9CD7-233EB173ACA1}" dt="2021-08-07T16:08:22.013" v="10834" actId="1076"/>
          <ac:spMkLst>
            <pc:docMk/>
            <pc:sldMk cId="3587362824" sldId="1749"/>
            <ac:spMk id="22" creationId="{341B4020-A83A-48F7-B5A6-1870E0140B88}"/>
          </ac:spMkLst>
        </pc:spChg>
        <pc:spChg chg="add mod">
          <ac:chgData name="Yash Ratanpal" userId="5db668b1-93e7-4c08-9786-4ed81315a653" providerId="ADAL" clId="{35CE40C1-3F8C-4A88-9CD7-233EB173ACA1}" dt="2021-08-07T16:08:22.013" v="10834" actId="1076"/>
          <ac:spMkLst>
            <pc:docMk/>
            <pc:sldMk cId="3587362824" sldId="1749"/>
            <ac:spMk id="23" creationId="{8484B4E1-AAC9-4349-A3C6-08865D7A3599}"/>
          </ac:spMkLst>
        </pc:spChg>
        <pc:spChg chg="del">
          <ac:chgData name="Yash Ratanpal" userId="5db668b1-93e7-4c08-9786-4ed81315a653" providerId="ADAL" clId="{35CE40C1-3F8C-4A88-9CD7-233EB173ACA1}" dt="2021-08-07T16:07:47.230" v="10830" actId="478"/>
          <ac:spMkLst>
            <pc:docMk/>
            <pc:sldMk cId="3587362824" sldId="1749"/>
            <ac:spMk id="44" creationId="{11982E60-0A72-401E-B00B-D35F730378DC}"/>
          </ac:spMkLst>
        </pc:spChg>
        <pc:spChg chg="del">
          <ac:chgData name="Yash Ratanpal" userId="5db668b1-93e7-4c08-9786-4ed81315a653" providerId="ADAL" clId="{35CE40C1-3F8C-4A88-9CD7-233EB173ACA1}" dt="2021-08-07T16:07:45.172" v="10829" actId="478"/>
          <ac:spMkLst>
            <pc:docMk/>
            <pc:sldMk cId="3587362824" sldId="1749"/>
            <ac:spMk id="46" creationId="{61A186CB-79B9-43A5-BF88-9188E65B1A62}"/>
          </ac:spMkLst>
        </pc:spChg>
        <pc:spChg chg="del">
          <ac:chgData name="Yash Ratanpal" userId="5db668b1-93e7-4c08-9786-4ed81315a653" providerId="ADAL" clId="{35CE40C1-3F8C-4A88-9CD7-233EB173ACA1}" dt="2021-08-07T16:07:45.172" v="10829" actId="478"/>
          <ac:spMkLst>
            <pc:docMk/>
            <pc:sldMk cId="3587362824" sldId="1749"/>
            <ac:spMk id="50" creationId="{51E12F93-1E00-449F-9FA8-82474513D000}"/>
          </ac:spMkLst>
        </pc:spChg>
        <pc:spChg chg="mod">
          <ac:chgData name="Yash Ratanpal" userId="5db668b1-93e7-4c08-9786-4ed81315a653" providerId="ADAL" clId="{35CE40C1-3F8C-4A88-9CD7-233EB173ACA1}" dt="2021-08-07T16:07:41.462" v="10828" actId="20577"/>
          <ac:spMkLst>
            <pc:docMk/>
            <pc:sldMk cId="3587362824" sldId="1749"/>
            <ac:spMk id="76" creationId="{2B97D186-EC68-4E8D-A392-DAD160EF5784}"/>
          </ac:spMkLst>
        </pc:spChg>
        <pc:picChg chg="add mod">
          <ac:chgData name="Yash Ratanpal" userId="5db668b1-93e7-4c08-9786-4ed81315a653" providerId="ADAL" clId="{35CE40C1-3F8C-4A88-9CD7-233EB173ACA1}" dt="2021-08-07T16:08:22.013" v="10834" actId="1076"/>
          <ac:picMkLst>
            <pc:docMk/>
            <pc:sldMk cId="3587362824" sldId="1749"/>
            <ac:picMk id="24" creationId="{31A60DB8-C20C-43B8-BBBE-AD5892F979DE}"/>
          </ac:picMkLst>
        </pc:picChg>
        <pc:picChg chg="add mod">
          <ac:chgData name="Yash Ratanpal" userId="5db668b1-93e7-4c08-9786-4ed81315a653" providerId="ADAL" clId="{35CE40C1-3F8C-4A88-9CD7-233EB173ACA1}" dt="2021-08-07T16:08:22.013" v="10834" actId="1076"/>
          <ac:picMkLst>
            <pc:docMk/>
            <pc:sldMk cId="3587362824" sldId="1749"/>
            <ac:picMk id="25" creationId="{8E802C46-6DB4-4F91-87B6-3DF63B84C8CD}"/>
          </ac:picMkLst>
        </pc:picChg>
        <pc:picChg chg="add mod">
          <ac:chgData name="Yash Ratanpal" userId="5db668b1-93e7-4c08-9786-4ed81315a653" providerId="ADAL" clId="{35CE40C1-3F8C-4A88-9CD7-233EB173ACA1}" dt="2021-08-07T16:08:22.013" v="10834" actId="1076"/>
          <ac:picMkLst>
            <pc:docMk/>
            <pc:sldMk cId="3587362824" sldId="1749"/>
            <ac:picMk id="30" creationId="{1C1C9C72-5678-4D01-B440-D0286735B1BF}"/>
          </ac:picMkLst>
        </pc:picChg>
        <pc:picChg chg="add mod">
          <ac:chgData name="Yash Ratanpal" userId="5db668b1-93e7-4c08-9786-4ed81315a653" providerId="ADAL" clId="{35CE40C1-3F8C-4A88-9CD7-233EB173ACA1}" dt="2021-08-07T16:08:22.013" v="10834" actId="1076"/>
          <ac:picMkLst>
            <pc:docMk/>
            <pc:sldMk cId="3587362824" sldId="1749"/>
            <ac:picMk id="31" creationId="{8C1B8BF8-4F6F-45F6-B6D9-F844C97B3A1F}"/>
          </ac:picMkLst>
        </pc:picChg>
        <pc:picChg chg="add mod">
          <ac:chgData name="Yash Ratanpal" userId="5db668b1-93e7-4c08-9786-4ed81315a653" providerId="ADAL" clId="{35CE40C1-3F8C-4A88-9CD7-233EB173ACA1}" dt="2021-08-07T16:08:22.013" v="10834" actId="1076"/>
          <ac:picMkLst>
            <pc:docMk/>
            <pc:sldMk cId="3587362824" sldId="1749"/>
            <ac:picMk id="32" creationId="{70CA2178-DF61-49D6-956B-DC148FA44369}"/>
          </ac:picMkLst>
        </pc:picChg>
        <pc:picChg chg="add mod">
          <ac:chgData name="Yash Ratanpal" userId="5db668b1-93e7-4c08-9786-4ed81315a653" providerId="ADAL" clId="{35CE40C1-3F8C-4A88-9CD7-233EB173ACA1}" dt="2021-08-07T16:08:22.013" v="10834" actId="1076"/>
          <ac:picMkLst>
            <pc:docMk/>
            <pc:sldMk cId="3587362824" sldId="1749"/>
            <ac:picMk id="33" creationId="{421C4698-D35F-487E-8E95-3D6D0AE2DD29}"/>
          </ac:picMkLst>
        </pc:picChg>
        <pc:picChg chg="del">
          <ac:chgData name="Yash Ratanpal" userId="5db668b1-93e7-4c08-9786-4ed81315a653" providerId="ADAL" clId="{35CE40C1-3F8C-4A88-9CD7-233EB173ACA1}" dt="2021-08-07T16:07:45.172" v="10829" actId="478"/>
          <ac:picMkLst>
            <pc:docMk/>
            <pc:sldMk cId="3587362824" sldId="1749"/>
            <ac:picMk id="45" creationId="{049DE403-3B40-4845-8E22-1857A279E5DA}"/>
          </ac:picMkLst>
        </pc:picChg>
        <pc:picChg chg="del">
          <ac:chgData name="Yash Ratanpal" userId="5db668b1-93e7-4c08-9786-4ed81315a653" providerId="ADAL" clId="{35CE40C1-3F8C-4A88-9CD7-233EB173ACA1}" dt="2021-08-07T16:07:45.172" v="10829" actId="478"/>
          <ac:picMkLst>
            <pc:docMk/>
            <pc:sldMk cId="3587362824" sldId="1749"/>
            <ac:picMk id="47" creationId="{19942E18-3132-4FE6-A7FD-A56FA1D21E12}"/>
          </ac:picMkLst>
        </pc:picChg>
        <pc:picChg chg="del">
          <ac:chgData name="Yash Ratanpal" userId="5db668b1-93e7-4c08-9786-4ed81315a653" providerId="ADAL" clId="{35CE40C1-3F8C-4A88-9CD7-233EB173ACA1}" dt="2021-08-07T16:07:45.172" v="10829" actId="478"/>
          <ac:picMkLst>
            <pc:docMk/>
            <pc:sldMk cId="3587362824" sldId="1749"/>
            <ac:picMk id="48" creationId="{0CA05A23-7DCD-49A8-9BC0-97DD4095E5C8}"/>
          </ac:picMkLst>
        </pc:picChg>
        <pc:picChg chg="del">
          <ac:chgData name="Yash Ratanpal" userId="5db668b1-93e7-4c08-9786-4ed81315a653" providerId="ADAL" clId="{35CE40C1-3F8C-4A88-9CD7-233EB173ACA1}" dt="2021-08-07T16:07:45.172" v="10829" actId="478"/>
          <ac:picMkLst>
            <pc:docMk/>
            <pc:sldMk cId="3587362824" sldId="1749"/>
            <ac:picMk id="49" creationId="{1DC5BCAE-5821-4C16-B262-D27702475DE8}"/>
          </ac:picMkLst>
        </pc:picChg>
        <pc:picChg chg="del">
          <ac:chgData name="Yash Ratanpal" userId="5db668b1-93e7-4c08-9786-4ed81315a653" providerId="ADAL" clId="{35CE40C1-3F8C-4A88-9CD7-233EB173ACA1}" dt="2021-08-07T16:07:45.172" v="10829" actId="478"/>
          <ac:picMkLst>
            <pc:docMk/>
            <pc:sldMk cId="3587362824" sldId="1749"/>
            <ac:picMk id="51" creationId="{1DF85F18-7468-42F6-84A1-3881F9642FFE}"/>
          </ac:picMkLst>
        </pc:picChg>
        <pc:picChg chg="del">
          <ac:chgData name="Yash Ratanpal" userId="5db668b1-93e7-4c08-9786-4ed81315a653" providerId="ADAL" clId="{35CE40C1-3F8C-4A88-9CD7-233EB173ACA1}" dt="2021-08-07T16:07:45.172" v="10829" actId="478"/>
          <ac:picMkLst>
            <pc:docMk/>
            <pc:sldMk cId="3587362824" sldId="1749"/>
            <ac:picMk id="52" creationId="{CAC08FA6-9A22-4359-B364-F70165978DE5}"/>
          </ac:picMkLst>
        </pc:picChg>
        <pc:picChg chg="del">
          <ac:chgData name="Yash Ratanpal" userId="5db668b1-93e7-4c08-9786-4ed81315a653" providerId="ADAL" clId="{35CE40C1-3F8C-4A88-9CD7-233EB173ACA1}" dt="2021-08-07T16:07:45.172" v="10829" actId="478"/>
          <ac:picMkLst>
            <pc:docMk/>
            <pc:sldMk cId="3587362824" sldId="1749"/>
            <ac:picMk id="53" creationId="{01498B6E-5420-444D-8357-BE60082F6D7F}"/>
          </ac:picMkLst>
        </pc:picChg>
        <pc:cxnChg chg="add mod">
          <ac:chgData name="Yash Ratanpal" userId="5db668b1-93e7-4c08-9786-4ed81315a653" providerId="ADAL" clId="{35CE40C1-3F8C-4A88-9CD7-233EB173ACA1}" dt="2021-08-07T16:08:22.013" v="10834" actId="1076"/>
          <ac:cxnSpMkLst>
            <pc:docMk/>
            <pc:sldMk cId="3587362824" sldId="1749"/>
            <ac:cxnSpMk id="34" creationId="{C0710053-6137-429C-B372-4853A800BBF3}"/>
          </ac:cxnSpMkLst>
        </pc:cxnChg>
        <pc:cxnChg chg="del">
          <ac:chgData name="Yash Ratanpal" userId="5db668b1-93e7-4c08-9786-4ed81315a653" providerId="ADAL" clId="{35CE40C1-3F8C-4A88-9CD7-233EB173ACA1}" dt="2021-08-07T16:07:45.172" v="10829" actId="478"/>
          <ac:cxnSpMkLst>
            <pc:docMk/>
            <pc:sldMk cId="3587362824" sldId="1749"/>
            <ac:cxnSpMk id="43" creationId="{AA8DE0EF-1B15-4ADA-B32F-985F557E396D}"/>
          </ac:cxnSpMkLst>
        </pc:cxnChg>
      </pc:sldChg>
      <pc:sldChg chg="add del">
        <pc:chgData name="Yash Ratanpal" userId="5db668b1-93e7-4c08-9786-4ed81315a653" providerId="ADAL" clId="{35CE40C1-3F8C-4A88-9CD7-233EB173ACA1}" dt="2021-08-07T16:56:28.483" v="12375" actId="47"/>
        <pc:sldMkLst>
          <pc:docMk/>
          <pc:sldMk cId="4087356337" sldId="1750"/>
        </pc:sldMkLst>
      </pc:sldChg>
      <pc:sldChg chg="addSp delSp modSp add mod">
        <pc:chgData name="Yash Ratanpal" userId="5db668b1-93e7-4c08-9786-4ed81315a653" providerId="ADAL" clId="{35CE40C1-3F8C-4A88-9CD7-233EB173ACA1}" dt="2021-08-09T17:45:48.859" v="13275" actId="478"/>
        <pc:sldMkLst>
          <pc:docMk/>
          <pc:sldMk cId="4004619480" sldId="1751"/>
        </pc:sldMkLst>
        <pc:spChg chg="mod">
          <ac:chgData name="Yash Ratanpal" userId="5db668b1-93e7-4c08-9786-4ed81315a653" providerId="ADAL" clId="{35CE40C1-3F8C-4A88-9CD7-233EB173ACA1}" dt="2021-08-07T16:57:55.537" v="12401"/>
          <ac:spMkLst>
            <pc:docMk/>
            <pc:sldMk cId="4004619480" sldId="1751"/>
            <ac:spMk id="3" creationId="{00000000-0000-0000-0000-000000000000}"/>
          </ac:spMkLst>
        </pc:spChg>
        <pc:spChg chg="add mod">
          <ac:chgData name="Yash Ratanpal" userId="5db668b1-93e7-4c08-9786-4ed81315a653" providerId="ADAL" clId="{35CE40C1-3F8C-4A88-9CD7-233EB173ACA1}" dt="2021-08-07T16:22:27.184" v="11760" actId="164"/>
          <ac:spMkLst>
            <pc:docMk/>
            <pc:sldMk cId="4004619480" sldId="1751"/>
            <ac:spMk id="25" creationId="{805616E2-D7C6-47AC-8EB6-CF7CDF60DE95}"/>
          </ac:spMkLst>
        </pc:spChg>
        <pc:spChg chg="del">
          <ac:chgData name="Yash Ratanpal" userId="5db668b1-93e7-4c08-9786-4ed81315a653" providerId="ADAL" clId="{35CE40C1-3F8C-4A88-9CD7-233EB173ACA1}" dt="2021-08-09T17:45:46.306" v="13273" actId="478"/>
          <ac:spMkLst>
            <pc:docMk/>
            <pc:sldMk cId="4004619480" sldId="1751"/>
            <ac:spMk id="27" creationId="{1169730E-13C0-4A06-87AA-00D155B04C29}"/>
          </ac:spMkLst>
        </pc:spChg>
        <pc:spChg chg="add del mod">
          <ac:chgData name="Yash Ratanpal" userId="5db668b1-93e7-4c08-9786-4ed81315a653" providerId="ADAL" clId="{35CE40C1-3F8C-4A88-9CD7-233EB173ACA1}" dt="2021-08-07T16:28:06.866" v="11878" actId="478"/>
          <ac:spMkLst>
            <pc:docMk/>
            <pc:sldMk cId="4004619480" sldId="1751"/>
            <ac:spMk id="32" creationId="{D7FBBA20-F4D5-4CA6-A9C4-66863E1E73F5}"/>
          </ac:spMkLst>
        </pc:spChg>
        <pc:spChg chg="add del mod">
          <ac:chgData name="Yash Ratanpal" userId="5db668b1-93e7-4c08-9786-4ed81315a653" providerId="ADAL" clId="{35CE40C1-3F8C-4A88-9CD7-233EB173ACA1}" dt="2021-08-07T16:28:06.500" v="11877" actId="478"/>
          <ac:spMkLst>
            <pc:docMk/>
            <pc:sldMk cId="4004619480" sldId="1751"/>
            <ac:spMk id="33" creationId="{17E0779A-38A1-4B94-870A-8686C36C0570}"/>
          </ac:spMkLst>
        </pc:spChg>
        <pc:spChg chg="add del mod">
          <ac:chgData name="Yash Ratanpal" userId="5db668b1-93e7-4c08-9786-4ed81315a653" providerId="ADAL" clId="{35CE40C1-3F8C-4A88-9CD7-233EB173ACA1}" dt="2021-08-07T16:39:35.218" v="11958" actId="478"/>
          <ac:spMkLst>
            <pc:docMk/>
            <pc:sldMk cId="4004619480" sldId="1751"/>
            <ac:spMk id="36" creationId="{2517A24F-A79C-4A64-8950-184B33597DE1}"/>
          </ac:spMkLst>
        </pc:spChg>
        <pc:spChg chg="mod">
          <ac:chgData name="Yash Ratanpal" userId="5db668b1-93e7-4c08-9786-4ed81315a653" providerId="ADAL" clId="{35CE40C1-3F8C-4A88-9CD7-233EB173ACA1}" dt="2021-08-09T15:52:16.827" v="12494" actId="20577"/>
          <ac:spMkLst>
            <pc:docMk/>
            <pc:sldMk cId="4004619480" sldId="1751"/>
            <ac:spMk id="54" creationId="{21B82D35-B480-4C1E-B27F-6969282B95E3}"/>
          </ac:spMkLst>
        </pc:spChg>
        <pc:spChg chg="del">
          <ac:chgData name="Yash Ratanpal" userId="5db668b1-93e7-4c08-9786-4ed81315a653" providerId="ADAL" clId="{35CE40C1-3F8C-4A88-9CD7-233EB173ACA1}" dt="2021-08-07T16:20:50.708" v="11625" actId="478"/>
          <ac:spMkLst>
            <pc:docMk/>
            <pc:sldMk cId="4004619480" sldId="1751"/>
            <ac:spMk id="55" creationId="{BE53431A-04FC-4DE4-91DC-C7E99F5083A2}"/>
          </ac:spMkLst>
        </pc:spChg>
        <pc:spChg chg="del mod">
          <ac:chgData name="Yash Ratanpal" userId="5db668b1-93e7-4c08-9786-4ed81315a653" providerId="ADAL" clId="{35CE40C1-3F8C-4A88-9CD7-233EB173ACA1}" dt="2021-08-07T16:23:11.855" v="11765" actId="478"/>
          <ac:spMkLst>
            <pc:docMk/>
            <pc:sldMk cId="4004619480" sldId="1751"/>
            <ac:spMk id="59" creationId="{33FCED12-D5D5-47D0-BE87-0544170607DD}"/>
          </ac:spMkLst>
        </pc:spChg>
        <pc:spChg chg="del mod">
          <ac:chgData name="Yash Ratanpal" userId="5db668b1-93e7-4c08-9786-4ed81315a653" providerId="ADAL" clId="{35CE40C1-3F8C-4A88-9CD7-233EB173ACA1}" dt="2021-08-07T16:23:11.855" v="11765" actId="478"/>
          <ac:spMkLst>
            <pc:docMk/>
            <pc:sldMk cId="4004619480" sldId="1751"/>
            <ac:spMk id="60" creationId="{D27493E0-AC23-4191-ACF5-08E46C735627}"/>
          </ac:spMkLst>
        </pc:spChg>
        <pc:spChg chg="del mod">
          <ac:chgData name="Yash Ratanpal" userId="5db668b1-93e7-4c08-9786-4ed81315a653" providerId="ADAL" clId="{35CE40C1-3F8C-4A88-9CD7-233EB173ACA1}" dt="2021-08-07T16:23:11.855" v="11765" actId="478"/>
          <ac:spMkLst>
            <pc:docMk/>
            <pc:sldMk cId="4004619480" sldId="1751"/>
            <ac:spMk id="64" creationId="{791FD374-DCDB-424A-AE64-54096D1F3E1E}"/>
          </ac:spMkLst>
        </pc:spChg>
        <pc:spChg chg="del">
          <ac:chgData name="Yash Ratanpal" userId="5db668b1-93e7-4c08-9786-4ed81315a653" providerId="ADAL" clId="{35CE40C1-3F8C-4A88-9CD7-233EB173ACA1}" dt="2021-08-07T16:23:11.855" v="11765" actId="478"/>
          <ac:spMkLst>
            <pc:docMk/>
            <pc:sldMk cId="4004619480" sldId="1751"/>
            <ac:spMk id="65" creationId="{AC59EF3B-E96B-4522-B6C1-000421178691}"/>
          </ac:spMkLst>
        </pc:spChg>
        <pc:spChg chg="del">
          <ac:chgData name="Yash Ratanpal" userId="5db668b1-93e7-4c08-9786-4ed81315a653" providerId="ADAL" clId="{35CE40C1-3F8C-4A88-9CD7-233EB173ACA1}" dt="2021-08-07T16:20:50.708" v="11625" actId="478"/>
          <ac:spMkLst>
            <pc:docMk/>
            <pc:sldMk cId="4004619480" sldId="1751"/>
            <ac:spMk id="69" creationId="{135C4BFC-71B3-4CC9-9805-FCDAD1221CCB}"/>
          </ac:spMkLst>
        </pc:spChg>
        <pc:spChg chg="del">
          <ac:chgData name="Yash Ratanpal" userId="5db668b1-93e7-4c08-9786-4ed81315a653" providerId="ADAL" clId="{35CE40C1-3F8C-4A88-9CD7-233EB173ACA1}" dt="2021-08-07T16:20:50.708" v="11625" actId="478"/>
          <ac:spMkLst>
            <pc:docMk/>
            <pc:sldMk cId="4004619480" sldId="1751"/>
            <ac:spMk id="70" creationId="{296F1208-646E-47DA-BD13-F7D0A3590235}"/>
          </ac:spMkLst>
        </pc:spChg>
        <pc:spChg chg="mod">
          <ac:chgData name="Yash Ratanpal" userId="5db668b1-93e7-4c08-9786-4ed81315a653" providerId="ADAL" clId="{35CE40C1-3F8C-4A88-9CD7-233EB173ACA1}" dt="2021-08-09T15:52:26.476" v="12518" actId="20577"/>
          <ac:spMkLst>
            <pc:docMk/>
            <pc:sldMk cId="4004619480" sldId="1751"/>
            <ac:spMk id="76" creationId="{2B97D186-EC68-4E8D-A392-DAD160EF5784}"/>
          </ac:spMkLst>
        </pc:spChg>
        <pc:grpChg chg="add del mod">
          <ac:chgData name="Yash Ratanpal" userId="5db668b1-93e7-4c08-9786-4ed81315a653" providerId="ADAL" clId="{35CE40C1-3F8C-4A88-9CD7-233EB173ACA1}" dt="2021-08-07T16:23:11.855" v="11765" actId="478"/>
          <ac:grpSpMkLst>
            <pc:docMk/>
            <pc:sldMk cId="4004619480" sldId="1751"/>
            <ac:grpSpMk id="5" creationId="{B61836BE-24DF-485C-BDFB-B93692871360}"/>
          </ac:grpSpMkLst>
        </pc:grpChg>
        <pc:graphicFrameChg chg="add del mod">
          <ac:chgData name="Yash Ratanpal" userId="5db668b1-93e7-4c08-9786-4ed81315a653" providerId="ADAL" clId="{35CE40C1-3F8C-4A88-9CD7-233EB173ACA1}" dt="2021-08-07T16:28:09.666" v="11880"/>
          <ac:graphicFrameMkLst>
            <pc:docMk/>
            <pc:sldMk cId="4004619480" sldId="1751"/>
            <ac:graphicFrameMk id="6" creationId="{FE3E77DD-7AFA-4C1F-81FE-14F8B5AE2856}"/>
          </ac:graphicFrameMkLst>
        </pc:graphicFrameChg>
        <pc:graphicFrameChg chg="add del mod modGraphic">
          <ac:chgData name="Yash Ratanpal" userId="5db668b1-93e7-4c08-9786-4ed81315a653" providerId="ADAL" clId="{35CE40C1-3F8C-4A88-9CD7-233EB173ACA1}" dt="2021-08-07T16:47:55.069" v="12003" actId="478"/>
          <ac:graphicFrameMkLst>
            <pc:docMk/>
            <pc:sldMk cId="4004619480" sldId="1751"/>
            <ac:graphicFrameMk id="7" creationId="{A8E375FE-4DE4-4D29-98DF-8B6278B7C628}"/>
          </ac:graphicFrameMkLst>
        </pc:graphicFrameChg>
        <pc:graphicFrameChg chg="add del mod modGraphic">
          <ac:chgData name="Yash Ratanpal" userId="5db668b1-93e7-4c08-9786-4ed81315a653" providerId="ADAL" clId="{35CE40C1-3F8C-4A88-9CD7-233EB173ACA1}" dt="2021-08-07T16:47:55.069" v="12003" actId="478"/>
          <ac:graphicFrameMkLst>
            <pc:docMk/>
            <pc:sldMk cId="4004619480" sldId="1751"/>
            <ac:graphicFrameMk id="8" creationId="{3045BB56-C2CF-4EE5-AB1C-C66D44D5403F}"/>
          </ac:graphicFrameMkLst>
        </pc:graphicFrameChg>
        <pc:graphicFrameChg chg="add del mod">
          <ac:chgData name="Yash Ratanpal" userId="5db668b1-93e7-4c08-9786-4ed81315a653" providerId="ADAL" clId="{35CE40C1-3F8C-4A88-9CD7-233EB173ACA1}" dt="2021-08-07T16:29:42.328" v="11886"/>
          <ac:graphicFrameMkLst>
            <pc:docMk/>
            <pc:sldMk cId="4004619480" sldId="1751"/>
            <ac:graphicFrameMk id="9" creationId="{3C633797-F536-4388-A5F5-88CBD50CD508}"/>
          </ac:graphicFrameMkLst>
        </pc:graphicFrameChg>
        <pc:graphicFrameChg chg="add del mod modGraphic">
          <ac:chgData name="Yash Ratanpal" userId="5db668b1-93e7-4c08-9786-4ed81315a653" providerId="ADAL" clId="{35CE40C1-3F8C-4A88-9CD7-233EB173ACA1}" dt="2021-08-07T16:47:55.069" v="12003" actId="478"/>
          <ac:graphicFrameMkLst>
            <pc:docMk/>
            <pc:sldMk cId="4004619480" sldId="1751"/>
            <ac:graphicFrameMk id="10" creationId="{AEE99608-A90A-4AFD-B68C-56FDD19609A9}"/>
          </ac:graphicFrameMkLst>
        </pc:graphicFrameChg>
        <pc:graphicFrameChg chg="add del mod modGraphic">
          <ac:chgData name="Yash Ratanpal" userId="5db668b1-93e7-4c08-9786-4ed81315a653" providerId="ADAL" clId="{35CE40C1-3F8C-4A88-9CD7-233EB173ACA1}" dt="2021-08-07T16:38:14.533" v="11946"/>
          <ac:graphicFrameMkLst>
            <pc:docMk/>
            <pc:sldMk cId="4004619480" sldId="1751"/>
            <ac:graphicFrameMk id="11" creationId="{0CD56721-5A39-4EF1-B7A5-D5560D61E446}"/>
          </ac:graphicFrameMkLst>
        </pc:graphicFrameChg>
        <pc:graphicFrameChg chg="add del mod modGraphic">
          <ac:chgData name="Yash Ratanpal" userId="5db668b1-93e7-4c08-9786-4ed81315a653" providerId="ADAL" clId="{35CE40C1-3F8C-4A88-9CD7-233EB173ACA1}" dt="2021-08-07T16:39:36.860" v="11959" actId="478"/>
          <ac:graphicFrameMkLst>
            <pc:docMk/>
            <pc:sldMk cId="4004619480" sldId="1751"/>
            <ac:graphicFrameMk id="12" creationId="{979549C3-ED51-4252-A99F-8F6DF294BF25}"/>
          </ac:graphicFrameMkLst>
        </pc:graphicFrameChg>
        <pc:graphicFrameChg chg="add mod">
          <ac:chgData name="Yash Ratanpal" userId="5db668b1-93e7-4c08-9786-4ed81315a653" providerId="ADAL" clId="{35CE40C1-3F8C-4A88-9CD7-233EB173ACA1}" dt="2021-08-07T16:48:47.433" v="12011" actId="1076"/>
          <ac:graphicFrameMkLst>
            <pc:docMk/>
            <pc:sldMk cId="4004619480" sldId="1751"/>
            <ac:graphicFrameMk id="13" creationId="{BA60CBB1-F764-4870-A264-B430782C905A}"/>
          </ac:graphicFrameMkLst>
        </pc:graphicFrameChg>
        <pc:graphicFrameChg chg="add mod modGraphic">
          <ac:chgData name="Yash Ratanpal" userId="5db668b1-93e7-4c08-9786-4ed81315a653" providerId="ADAL" clId="{35CE40C1-3F8C-4A88-9CD7-233EB173ACA1}" dt="2021-08-07T16:51:03.085" v="12035" actId="14100"/>
          <ac:graphicFrameMkLst>
            <pc:docMk/>
            <pc:sldMk cId="4004619480" sldId="1751"/>
            <ac:graphicFrameMk id="14" creationId="{E459DEFA-A776-411F-BDB4-8D7E28B62A0C}"/>
          </ac:graphicFrameMkLst>
        </pc:graphicFrameChg>
        <pc:graphicFrameChg chg="add mod modGraphic">
          <ac:chgData name="Yash Ratanpal" userId="5db668b1-93e7-4c08-9786-4ed81315a653" providerId="ADAL" clId="{35CE40C1-3F8C-4A88-9CD7-233EB173ACA1}" dt="2021-08-07T16:56:22.486" v="12374" actId="403"/>
          <ac:graphicFrameMkLst>
            <pc:docMk/>
            <pc:sldMk cId="4004619480" sldId="1751"/>
            <ac:graphicFrameMk id="15" creationId="{E844C038-F9D0-4882-8936-FFBCD14493F1}"/>
          </ac:graphicFrameMkLst>
        </pc:graphicFrameChg>
        <pc:graphicFrameChg chg="add mod">
          <ac:chgData name="Yash Ratanpal" userId="5db668b1-93e7-4c08-9786-4ed81315a653" providerId="ADAL" clId="{35CE40C1-3F8C-4A88-9CD7-233EB173ACA1}" dt="2021-08-07T16:36:56.854" v="11932"/>
          <ac:graphicFrameMkLst>
            <pc:docMk/>
            <pc:sldMk cId="4004619480" sldId="1751"/>
            <ac:graphicFrameMk id="37" creationId="{DCB9C46C-EEA4-4760-A605-A72BCB4F0FBC}"/>
          </ac:graphicFrameMkLst>
        </pc:graphicFrameChg>
        <pc:graphicFrameChg chg="add del mod">
          <ac:chgData name="Yash Ratanpal" userId="5db668b1-93e7-4c08-9786-4ed81315a653" providerId="ADAL" clId="{35CE40C1-3F8C-4A88-9CD7-233EB173ACA1}" dt="2021-08-07T16:39:37.763" v="11960" actId="478"/>
          <ac:graphicFrameMkLst>
            <pc:docMk/>
            <pc:sldMk cId="4004619480" sldId="1751"/>
            <ac:graphicFrameMk id="38" creationId="{DCB9C46C-EEA4-4760-A605-A72BCB4F0FBC}"/>
          </ac:graphicFrameMkLst>
        </pc:graphicFrameChg>
        <pc:graphicFrameChg chg="add del mod modGraphic">
          <ac:chgData name="Yash Ratanpal" userId="5db668b1-93e7-4c08-9786-4ed81315a653" providerId="ADAL" clId="{35CE40C1-3F8C-4A88-9CD7-233EB173ACA1}" dt="2021-08-07T16:47:55.069" v="12003" actId="478"/>
          <ac:graphicFrameMkLst>
            <pc:docMk/>
            <pc:sldMk cId="4004619480" sldId="1751"/>
            <ac:graphicFrameMk id="41" creationId="{AD16E02C-5A49-444A-AAED-0C56CC26F5D6}"/>
          </ac:graphicFrameMkLst>
        </pc:graphicFrameChg>
        <pc:graphicFrameChg chg="add mod">
          <ac:chgData name="Yash Ratanpal" userId="5db668b1-93e7-4c08-9786-4ed81315a653" providerId="ADAL" clId="{35CE40C1-3F8C-4A88-9CD7-233EB173ACA1}" dt="2021-08-07T16:48:56.856" v="12014"/>
          <ac:graphicFrameMkLst>
            <pc:docMk/>
            <pc:sldMk cId="4004619480" sldId="1751"/>
            <ac:graphicFrameMk id="45" creationId="{DCB9C46C-EEA4-4760-A605-A72BCB4F0FBC}"/>
          </ac:graphicFrameMkLst>
        </pc:graphicFrameChg>
        <pc:graphicFrameChg chg="add del mod">
          <ac:chgData name="Yash Ratanpal" userId="5db668b1-93e7-4c08-9786-4ed81315a653" providerId="ADAL" clId="{35CE40C1-3F8C-4A88-9CD7-233EB173ACA1}" dt="2021-08-07T16:50:49.500" v="12024" actId="478"/>
          <ac:graphicFrameMkLst>
            <pc:docMk/>
            <pc:sldMk cId="4004619480" sldId="1751"/>
            <ac:graphicFrameMk id="46" creationId="{DCB9C46C-EEA4-4760-A605-A72BCB4F0FBC}"/>
          </ac:graphicFrameMkLst>
        </pc:graphicFrameChg>
        <pc:graphicFrameChg chg="add mod">
          <ac:chgData name="Yash Ratanpal" userId="5db668b1-93e7-4c08-9786-4ed81315a653" providerId="ADAL" clId="{35CE40C1-3F8C-4A88-9CD7-233EB173ACA1}" dt="2021-08-07T16:50:50.740" v="12027"/>
          <ac:graphicFrameMkLst>
            <pc:docMk/>
            <pc:sldMk cId="4004619480" sldId="1751"/>
            <ac:graphicFrameMk id="47" creationId="{8E1FCCB1-000A-4532-B2D9-BFB40C2A7CA4}"/>
          </ac:graphicFrameMkLst>
        </pc:graphicFrameChg>
        <pc:graphicFrameChg chg="add mod">
          <ac:chgData name="Yash Ratanpal" userId="5db668b1-93e7-4c08-9786-4ed81315a653" providerId="ADAL" clId="{35CE40C1-3F8C-4A88-9CD7-233EB173ACA1}" dt="2021-08-07T16:55:11.491" v="12249" actId="20577"/>
          <ac:graphicFrameMkLst>
            <pc:docMk/>
            <pc:sldMk cId="4004619480" sldId="1751"/>
            <ac:graphicFrameMk id="48" creationId="{8E1FCCB1-000A-4532-B2D9-BFB40C2A7CA4}"/>
          </ac:graphicFrameMkLst>
        </pc:graphicFrameChg>
        <pc:picChg chg="add del mod">
          <ac:chgData name="Yash Ratanpal" userId="5db668b1-93e7-4c08-9786-4ed81315a653" providerId="ADAL" clId="{35CE40C1-3F8C-4A88-9CD7-233EB173ACA1}" dt="2021-08-07T16:23:11.855" v="11765" actId="478"/>
          <ac:picMkLst>
            <pc:docMk/>
            <pc:sldMk cId="4004619480" sldId="1751"/>
            <ac:picMk id="23" creationId="{C381C1F1-D356-4BB5-A002-2A1C06022ED9}"/>
          </ac:picMkLst>
        </pc:picChg>
        <pc:picChg chg="del">
          <ac:chgData name="Yash Ratanpal" userId="5db668b1-93e7-4c08-9786-4ed81315a653" providerId="ADAL" clId="{35CE40C1-3F8C-4A88-9CD7-233EB173ACA1}" dt="2021-08-09T17:45:44.919" v="13272" actId="478"/>
          <ac:picMkLst>
            <pc:docMk/>
            <pc:sldMk cId="4004619480" sldId="1751"/>
            <ac:picMk id="26" creationId="{3B5E3F85-1C8C-41AE-908D-2201B25CD615}"/>
          </ac:picMkLst>
        </pc:picChg>
        <pc:picChg chg="del">
          <ac:chgData name="Yash Ratanpal" userId="5db668b1-93e7-4c08-9786-4ed81315a653" providerId="ADAL" clId="{35CE40C1-3F8C-4A88-9CD7-233EB173ACA1}" dt="2021-08-09T17:45:48.859" v="13275" actId="478"/>
          <ac:picMkLst>
            <pc:docMk/>
            <pc:sldMk cId="4004619480" sldId="1751"/>
            <ac:picMk id="28" creationId="{A473D477-B38B-4AE7-8055-0EB39C7A2348}"/>
          </ac:picMkLst>
        </pc:picChg>
        <pc:picChg chg="del">
          <ac:chgData name="Yash Ratanpal" userId="5db668b1-93e7-4c08-9786-4ed81315a653" providerId="ADAL" clId="{35CE40C1-3F8C-4A88-9CD7-233EB173ACA1}" dt="2021-08-09T17:45:48.073" v="13274" actId="478"/>
          <ac:picMkLst>
            <pc:docMk/>
            <pc:sldMk cId="4004619480" sldId="1751"/>
            <ac:picMk id="29" creationId="{A8FDA78C-7792-4A4E-994E-F3F5E3CF6E1F}"/>
          </ac:picMkLst>
        </pc:picChg>
        <pc:picChg chg="add mod">
          <ac:chgData name="Yash Ratanpal" userId="5db668b1-93e7-4c08-9786-4ed81315a653" providerId="ADAL" clId="{35CE40C1-3F8C-4A88-9CD7-233EB173ACA1}" dt="2021-08-07T16:22:38.834" v="11764" actId="1076"/>
          <ac:picMkLst>
            <pc:docMk/>
            <pc:sldMk cId="4004619480" sldId="1751"/>
            <ac:picMk id="30" creationId="{65CCD043-26C6-4C55-B444-151E10AF302B}"/>
          </ac:picMkLst>
        </pc:picChg>
        <pc:picChg chg="add mod">
          <ac:chgData name="Yash Ratanpal" userId="5db668b1-93e7-4c08-9786-4ed81315a653" providerId="ADAL" clId="{35CE40C1-3F8C-4A88-9CD7-233EB173ACA1}" dt="2021-08-07T16:22:27.184" v="11760" actId="164"/>
          <ac:picMkLst>
            <pc:docMk/>
            <pc:sldMk cId="4004619480" sldId="1751"/>
            <ac:picMk id="31" creationId="{A53E8732-3743-4AC5-ADFF-0A17DF22B6B4}"/>
          </ac:picMkLst>
        </pc:picChg>
        <pc:picChg chg="del">
          <ac:chgData name="Yash Ratanpal" userId="5db668b1-93e7-4c08-9786-4ed81315a653" providerId="ADAL" clId="{35CE40C1-3F8C-4A88-9CD7-233EB173ACA1}" dt="2021-08-07T16:21:25.372" v="11716" actId="478"/>
          <ac:picMkLst>
            <pc:docMk/>
            <pc:sldMk cId="4004619480" sldId="1751"/>
            <ac:picMk id="62" creationId="{D595B63F-EE42-4D94-BB38-328A13156094}"/>
          </ac:picMkLst>
        </pc:picChg>
        <pc:picChg chg="del">
          <ac:chgData name="Yash Ratanpal" userId="5db668b1-93e7-4c08-9786-4ed81315a653" providerId="ADAL" clId="{35CE40C1-3F8C-4A88-9CD7-233EB173ACA1}" dt="2021-08-07T16:23:11.855" v="11765" actId="478"/>
          <ac:picMkLst>
            <pc:docMk/>
            <pc:sldMk cId="4004619480" sldId="1751"/>
            <ac:picMk id="63" creationId="{E80CCF94-793C-47B4-A8A2-5ADCAECD1BEF}"/>
          </ac:picMkLst>
        </pc:picChg>
        <pc:picChg chg="del">
          <ac:chgData name="Yash Ratanpal" userId="5db668b1-93e7-4c08-9786-4ed81315a653" providerId="ADAL" clId="{35CE40C1-3F8C-4A88-9CD7-233EB173ACA1}" dt="2021-08-07T16:20:50.708" v="11625" actId="478"/>
          <ac:picMkLst>
            <pc:docMk/>
            <pc:sldMk cId="4004619480" sldId="1751"/>
            <ac:picMk id="75" creationId="{C120912B-144E-469D-B637-888A0D6C01F8}"/>
          </ac:picMkLst>
        </pc:picChg>
        <pc:picChg chg="del">
          <ac:chgData name="Yash Ratanpal" userId="5db668b1-93e7-4c08-9786-4ed81315a653" providerId="ADAL" clId="{35CE40C1-3F8C-4A88-9CD7-233EB173ACA1}" dt="2021-08-07T16:20:50.708" v="11625" actId="478"/>
          <ac:picMkLst>
            <pc:docMk/>
            <pc:sldMk cId="4004619480" sldId="1751"/>
            <ac:picMk id="77" creationId="{B08DDE88-98E8-4140-B288-0AA929D38234}"/>
          </ac:picMkLst>
        </pc:picChg>
        <pc:picChg chg="del">
          <ac:chgData name="Yash Ratanpal" userId="5db668b1-93e7-4c08-9786-4ed81315a653" providerId="ADAL" clId="{35CE40C1-3F8C-4A88-9CD7-233EB173ACA1}" dt="2021-08-07T16:20:50.708" v="11625" actId="478"/>
          <ac:picMkLst>
            <pc:docMk/>
            <pc:sldMk cId="4004619480" sldId="1751"/>
            <ac:picMk id="78" creationId="{7D13C39B-3C98-43E4-A9FD-CF3700A274CD}"/>
          </ac:picMkLst>
        </pc:picChg>
        <pc:picChg chg="del">
          <ac:chgData name="Yash Ratanpal" userId="5db668b1-93e7-4c08-9786-4ed81315a653" providerId="ADAL" clId="{35CE40C1-3F8C-4A88-9CD7-233EB173ACA1}" dt="2021-08-07T16:20:50.708" v="11625" actId="478"/>
          <ac:picMkLst>
            <pc:docMk/>
            <pc:sldMk cId="4004619480" sldId="1751"/>
            <ac:picMk id="79" creationId="{8633D31D-7285-4F84-BC29-CB23551DA560}"/>
          </ac:picMkLst>
        </pc:picChg>
      </pc:sldChg>
      <pc:sldChg chg="add del">
        <pc:chgData name="Yash Ratanpal" userId="5db668b1-93e7-4c08-9786-4ed81315a653" providerId="ADAL" clId="{35CE40C1-3F8C-4A88-9CD7-233EB173ACA1}" dt="2021-08-07T16:55:28.319" v="12254" actId="47"/>
        <pc:sldMkLst>
          <pc:docMk/>
          <pc:sldMk cId="1571053656" sldId="1752"/>
        </pc:sldMkLst>
      </pc:sldChg>
      <pc:sldChg chg="add del">
        <pc:chgData name="Yash Ratanpal" userId="5db668b1-93e7-4c08-9786-4ed81315a653" providerId="ADAL" clId="{35CE40C1-3F8C-4A88-9CD7-233EB173ACA1}" dt="2021-08-07T16:55:26.984" v="12253" actId="47"/>
        <pc:sldMkLst>
          <pc:docMk/>
          <pc:sldMk cId="850722702" sldId="1753"/>
        </pc:sldMkLst>
      </pc:sldChg>
      <pc:sldChg chg="addSp delSp modSp add mod">
        <pc:chgData name="Yash Ratanpal" userId="5db668b1-93e7-4c08-9786-4ed81315a653" providerId="ADAL" clId="{35CE40C1-3F8C-4A88-9CD7-233EB173ACA1}" dt="2021-08-09T17:45:33.635" v="13271" actId="478"/>
        <pc:sldMkLst>
          <pc:docMk/>
          <pc:sldMk cId="3600835777" sldId="1754"/>
        </pc:sldMkLst>
        <pc:spChg chg="mod">
          <ac:chgData name="Yash Ratanpal" userId="5db668b1-93e7-4c08-9786-4ed81315a653" providerId="ADAL" clId="{35CE40C1-3F8C-4A88-9CD7-233EB173ACA1}" dt="2021-08-07T16:57:57.420" v="12402"/>
          <ac:spMkLst>
            <pc:docMk/>
            <pc:sldMk cId="3600835777" sldId="1754"/>
            <ac:spMk id="3" creationId="{00000000-0000-0000-0000-000000000000}"/>
          </ac:spMkLst>
        </pc:spChg>
        <pc:spChg chg="del">
          <ac:chgData name="Yash Ratanpal" userId="5db668b1-93e7-4c08-9786-4ed81315a653" providerId="ADAL" clId="{35CE40C1-3F8C-4A88-9CD7-233EB173ACA1}" dt="2021-08-09T17:45:31.939" v="13269" actId="478"/>
          <ac:spMkLst>
            <pc:docMk/>
            <pc:sldMk cId="3600835777" sldId="1754"/>
            <ac:spMk id="27" creationId="{1169730E-13C0-4A06-87AA-00D155B04C29}"/>
          </ac:spMkLst>
        </pc:spChg>
        <pc:spChg chg="mod">
          <ac:chgData name="Yash Ratanpal" userId="5db668b1-93e7-4c08-9786-4ed81315a653" providerId="ADAL" clId="{35CE40C1-3F8C-4A88-9CD7-233EB173ACA1}" dt="2021-08-09T15:52:21.119" v="12504" actId="20577"/>
          <ac:spMkLst>
            <pc:docMk/>
            <pc:sldMk cId="3600835777" sldId="1754"/>
            <ac:spMk id="54" creationId="{21B82D35-B480-4C1E-B27F-6969282B95E3}"/>
          </ac:spMkLst>
        </pc:spChg>
        <pc:spChg chg="mod">
          <ac:chgData name="Yash Ratanpal" userId="5db668b1-93e7-4c08-9786-4ed81315a653" providerId="ADAL" clId="{35CE40C1-3F8C-4A88-9CD7-233EB173ACA1}" dt="2021-08-09T15:52:31.889" v="12530" actId="20577"/>
          <ac:spMkLst>
            <pc:docMk/>
            <pc:sldMk cId="3600835777" sldId="1754"/>
            <ac:spMk id="76" creationId="{2B97D186-EC68-4E8D-A392-DAD160EF5784}"/>
          </ac:spMkLst>
        </pc:spChg>
        <pc:graphicFrameChg chg="modGraphic">
          <ac:chgData name="Yash Ratanpal" userId="5db668b1-93e7-4c08-9786-4ed81315a653" providerId="ADAL" clId="{35CE40C1-3F8C-4A88-9CD7-233EB173ACA1}" dt="2021-08-07T16:54:15.822" v="12129" actId="20577"/>
          <ac:graphicFrameMkLst>
            <pc:docMk/>
            <pc:sldMk cId="3600835777" sldId="1754"/>
            <ac:graphicFrameMk id="13" creationId="{BA60CBB1-F764-4870-A264-B430782C905A}"/>
          </ac:graphicFrameMkLst>
        </pc:graphicFrameChg>
        <pc:graphicFrameChg chg="mod modGraphic">
          <ac:chgData name="Yash Ratanpal" userId="5db668b1-93e7-4c08-9786-4ed81315a653" providerId="ADAL" clId="{35CE40C1-3F8C-4A88-9CD7-233EB173ACA1}" dt="2021-08-07T16:54:24.417" v="12146" actId="20577"/>
          <ac:graphicFrameMkLst>
            <pc:docMk/>
            <pc:sldMk cId="3600835777" sldId="1754"/>
            <ac:graphicFrameMk id="14" creationId="{E459DEFA-A776-411F-BDB4-8D7E28B62A0C}"/>
          </ac:graphicFrameMkLst>
        </pc:graphicFrameChg>
        <pc:graphicFrameChg chg="mod">
          <ac:chgData name="Yash Ratanpal" userId="5db668b1-93e7-4c08-9786-4ed81315a653" providerId="ADAL" clId="{35CE40C1-3F8C-4A88-9CD7-233EB173ACA1}" dt="2021-08-07T16:52:44.487" v="12111"/>
          <ac:graphicFrameMkLst>
            <pc:docMk/>
            <pc:sldMk cId="3600835777" sldId="1754"/>
            <ac:graphicFrameMk id="15" creationId="{E844C038-F9D0-4882-8936-FFBCD14493F1}"/>
          </ac:graphicFrameMkLst>
        </pc:graphicFrameChg>
        <pc:graphicFrameChg chg="add mod">
          <ac:chgData name="Yash Ratanpal" userId="5db668b1-93e7-4c08-9786-4ed81315a653" providerId="ADAL" clId="{35CE40C1-3F8C-4A88-9CD7-233EB173ACA1}" dt="2021-08-07T16:55:17.437" v="12252" actId="20577"/>
          <ac:graphicFrameMkLst>
            <pc:docMk/>
            <pc:sldMk cId="3600835777" sldId="1754"/>
            <ac:graphicFrameMk id="16" creationId="{3984D6A0-D34A-4DD2-B452-876B15D77B29}"/>
          </ac:graphicFrameMkLst>
        </pc:graphicFrameChg>
        <pc:graphicFrameChg chg="del mod">
          <ac:chgData name="Yash Ratanpal" userId="5db668b1-93e7-4c08-9786-4ed81315a653" providerId="ADAL" clId="{35CE40C1-3F8C-4A88-9CD7-233EB173ACA1}" dt="2021-08-07T16:52:04.519" v="12102" actId="478"/>
          <ac:graphicFrameMkLst>
            <pc:docMk/>
            <pc:sldMk cId="3600835777" sldId="1754"/>
            <ac:graphicFrameMk id="48" creationId="{8E1FCCB1-000A-4532-B2D9-BFB40C2A7CA4}"/>
          </ac:graphicFrameMkLst>
        </pc:graphicFrameChg>
        <pc:picChg chg="del">
          <ac:chgData name="Yash Ratanpal" userId="5db668b1-93e7-4c08-9786-4ed81315a653" providerId="ADAL" clId="{35CE40C1-3F8C-4A88-9CD7-233EB173ACA1}" dt="2021-08-09T17:45:30.537" v="13268" actId="478"/>
          <ac:picMkLst>
            <pc:docMk/>
            <pc:sldMk cId="3600835777" sldId="1754"/>
            <ac:picMk id="26" creationId="{3B5E3F85-1C8C-41AE-908D-2201B25CD615}"/>
          </ac:picMkLst>
        </pc:picChg>
        <pc:picChg chg="del">
          <ac:chgData name="Yash Ratanpal" userId="5db668b1-93e7-4c08-9786-4ed81315a653" providerId="ADAL" clId="{35CE40C1-3F8C-4A88-9CD7-233EB173ACA1}" dt="2021-08-09T17:45:33.635" v="13271" actId="478"/>
          <ac:picMkLst>
            <pc:docMk/>
            <pc:sldMk cId="3600835777" sldId="1754"/>
            <ac:picMk id="28" creationId="{A473D477-B38B-4AE7-8055-0EB39C7A2348}"/>
          </ac:picMkLst>
        </pc:picChg>
        <pc:picChg chg="del">
          <ac:chgData name="Yash Ratanpal" userId="5db668b1-93e7-4c08-9786-4ed81315a653" providerId="ADAL" clId="{35CE40C1-3F8C-4A88-9CD7-233EB173ACA1}" dt="2021-08-09T17:45:32.702" v="13270" actId="478"/>
          <ac:picMkLst>
            <pc:docMk/>
            <pc:sldMk cId="3600835777" sldId="1754"/>
            <ac:picMk id="29" creationId="{A8FDA78C-7792-4A4E-994E-F3F5E3CF6E1F}"/>
          </ac:picMkLst>
        </pc:picChg>
      </pc:sldChg>
      <pc:sldChg chg="addSp delSp modSp add mod">
        <pc:chgData name="Yash Ratanpal" userId="5db668b1-93e7-4c08-9786-4ed81315a653" providerId="ADAL" clId="{35CE40C1-3F8C-4A88-9CD7-233EB173ACA1}" dt="2021-08-09T17:26:58.992" v="13250" actId="478"/>
        <pc:sldMkLst>
          <pc:docMk/>
          <pc:sldMk cId="1772742645" sldId="1755"/>
        </pc:sldMkLst>
        <pc:spChg chg="add mod">
          <ac:chgData name="Yash Ratanpal" userId="5db668b1-93e7-4c08-9786-4ed81315a653" providerId="ADAL" clId="{35CE40C1-3F8C-4A88-9CD7-233EB173ACA1}" dt="2021-08-09T16:50:39.140" v="13038" actId="255"/>
          <ac:spMkLst>
            <pc:docMk/>
            <pc:sldMk cId="1772742645" sldId="1755"/>
            <ac:spMk id="12" creationId="{BE2F3391-CC39-4E3B-9B91-E6493B5B0EB8}"/>
          </ac:spMkLst>
        </pc:spChg>
        <pc:spChg chg="del">
          <ac:chgData name="Yash Ratanpal" userId="5db668b1-93e7-4c08-9786-4ed81315a653" providerId="ADAL" clId="{35CE40C1-3F8C-4A88-9CD7-233EB173ACA1}" dt="2021-08-09T17:26:57.518" v="13249" actId="478"/>
          <ac:spMkLst>
            <pc:docMk/>
            <pc:sldMk cId="1772742645" sldId="1755"/>
            <ac:spMk id="27" creationId="{1169730E-13C0-4A06-87AA-00D155B04C29}"/>
          </ac:spMkLst>
        </pc:spChg>
        <pc:spChg chg="del">
          <ac:chgData name="Yash Ratanpal" userId="5db668b1-93e7-4c08-9786-4ed81315a653" providerId="ADAL" clId="{35CE40C1-3F8C-4A88-9CD7-233EB173ACA1}" dt="2021-08-07T16:58:11.369" v="12414" actId="478"/>
          <ac:spMkLst>
            <pc:docMk/>
            <pc:sldMk cId="1772742645" sldId="1755"/>
            <ac:spMk id="54" creationId="{21B82D35-B480-4C1E-B27F-6969282B95E3}"/>
          </ac:spMkLst>
        </pc:spChg>
        <pc:spChg chg="mod">
          <ac:chgData name="Yash Ratanpal" userId="5db668b1-93e7-4c08-9786-4ed81315a653" providerId="ADAL" clId="{35CE40C1-3F8C-4A88-9CD7-233EB173ACA1}" dt="2021-08-09T17:26:50.183" v="13247" actId="14100"/>
          <ac:spMkLst>
            <pc:docMk/>
            <pc:sldMk cId="1772742645" sldId="1755"/>
            <ac:spMk id="76" creationId="{2B97D186-EC68-4E8D-A392-DAD160EF5784}"/>
          </ac:spMkLst>
        </pc:spChg>
        <pc:graphicFrameChg chg="add del mod">
          <ac:chgData name="Yash Ratanpal" userId="5db668b1-93e7-4c08-9786-4ed81315a653" providerId="ADAL" clId="{35CE40C1-3F8C-4A88-9CD7-233EB173ACA1}" dt="2021-08-09T16:52:13.420" v="13046" actId="478"/>
          <ac:graphicFrameMkLst>
            <pc:docMk/>
            <pc:sldMk cId="1772742645" sldId="1755"/>
            <ac:graphicFrameMk id="5" creationId="{80C20081-D624-490A-95FF-7C5644234D3B}"/>
          </ac:graphicFrameMkLst>
        </pc:graphicFrameChg>
        <pc:graphicFrameChg chg="add del mod">
          <ac:chgData name="Yash Ratanpal" userId="5db668b1-93e7-4c08-9786-4ed81315a653" providerId="ADAL" clId="{35CE40C1-3F8C-4A88-9CD7-233EB173ACA1}" dt="2021-08-09T16:52:16.559" v="13048"/>
          <ac:graphicFrameMkLst>
            <pc:docMk/>
            <pc:sldMk cId="1772742645" sldId="1755"/>
            <ac:graphicFrameMk id="6" creationId="{BDEF82C8-7F6A-4CEC-9DCD-CCC9077BEEF7}"/>
          </ac:graphicFrameMkLst>
        </pc:graphicFrameChg>
        <pc:graphicFrameChg chg="add del mod modGraphic">
          <ac:chgData name="Yash Ratanpal" userId="5db668b1-93e7-4c08-9786-4ed81315a653" providerId="ADAL" clId="{35CE40C1-3F8C-4A88-9CD7-233EB173ACA1}" dt="2021-08-09T16:52:41.786" v="13055" actId="478"/>
          <ac:graphicFrameMkLst>
            <pc:docMk/>
            <pc:sldMk cId="1772742645" sldId="1755"/>
            <ac:graphicFrameMk id="7" creationId="{D03C3BA2-DAAD-4D14-9548-12C8CAE63FCB}"/>
          </ac:graphicFrameMkLst>
        </pc:graphicFrameChg>
        <pc:graphicFrameChg chg="add mod modGraphic">
          <ac:chgData name="Yash Ratanpal" userId="5db668b1-93e7-4c08-9786-4ed81315a653" providerId="ADAL" clId="{35CE40C1-3F8C-4A88-9CD7-233EB173ACA1}" dt="2021-08-09T17:26:35.973" v="13245" actId="20577"/>
          <ac:graphicFrameMkLst>
            <pc:docMk/>
            <pc:sldMk cId="1772742645" sldId="1755"/>
            <ac:graphicFrameMk id="8" creationId="{3B52BFCF-8422-4A4E-8FFB-572EC3632547}"/>
          </ac:graphicFrameMkLst>
        </pc:graphicFrameChg>
        <pc:graphicFrameChg chg="del">
          <ac:chgData name="Yash Ratanpal" userId="5db668b1-93e7-4c08-9786-4ed81315a653" providerId="ADAL" clId="{35CE40C1-3F8C-4A88-9CD7-233EB173ACA1}" dt="2021-08-07T16:58:11.369" v="12414" actId="478"/>
          <ac:graphicFrameMkLst>
            <pc:docMk/>
            <pc:sldMk cId="1772742645" sldId="1755"/>
            <ac:graphicFrameMk id="13" creationId="{BA60CBB1-F764-4870-A264-B430782C905A}"/>
          </ac:graphicFrameMkLst>
        </pc:graphicFrameChg>
        <pc:graphicFrameChg chg="del">
          <ac:chgData name="Yash Ratanpal" userId="5db668b1-93e7-4c08-9786-4ed81315a653" providerId="ADAL" clId="{35CE40C1-3F8C-4A88-9CD7-233EB173ACA1}" dt="2021-08-07T16:58:11.369" v="12414" actId="478"/>
          <ac:graphicFrameMkLst>
            <pc:docMk/>
            <pc:sldMk cId="1772742645" sldId="1755"/>
            <ac:graphicFrameMk id="14" creationId="{E459DEFA-A776-411F-BDB4-8D7E28B62A0C}"/>
          </ac:graphicFrameMkLst>
        </pc:graphicFrameChg>
        <pc:graphicFrameChg chg="add del mod">
          <ac:chgData name="Yash Ratanpal" userId="5db668b1-93e7-4c08-9786-4ed81315a653" providerId="ADAL" clId="{35CE40C1-3F8C-4A88-9CD7-233EB173ACA1}" dt="2021-08-09T16:41:07.977" v="12550"/>
          <ac:graphicFrameMkLst>
            <pc:docMk/>
            <pc:sldMk cId="1772742645" sldId="1755"/>
            <ac:graphicFrameMk id="15" creationId="{2CE06B67-2559-4D46-B176-98437D3B32C9}"/>
          </ac:graphicFrameMkLst>
        </pc:graphicFrameChg>
        <pc:graphicFrameChg chg="del">
          <ac:chgData name="Yash Ratanpal" userId="5db668b1-93e7-4c08-9786-4ed81315a653" providerId="ADAL" clId="{35CE40C1-3F8C-4A88-9CD7-233EB173ACA1}" dt="2021-08-07T16:58:11.369" v="12414" actId="478"/>
          <ac:graphicFrameMkLst>
            <pc:docMk/>
            <pc:sldMk cId="1772742645" sldId="1755"/>
            <ac:graphicFrameMk id="15" creationId="{E844C038-F9D0-4882-8936-FFBCD14493F1}"/>
          </ac:graphicFrameMkLst>
        </pc:graphicFrameChg>
        <pc:graphicFrameChg chg="del">
          <ac:chgData name="Yash Ratanpal" userId="5db668b1-93e7-4c08-9786-4ed81315a653" providerId="ADAL" clId="{35CE40C1-3F8C-4A88-9CD7-233EB173ACA1}" dt="2021-08-07T16:58:11.369" v="12414" actId="478"/>
          <ac:graphicFrameMkLst>
            <pc:docMk/>
            <pc:sldMk cId="1772742645" sldId="1755"/>
            <ac:graphicFrameMk id="16" creationId="{3984D6A0-D34A-4DD2-B452-876B15D77B29}"/>
          </ac:graphicFrameMkLst>
        </pc:graphicFrameChg>
        <pc:graphicFrameChg chg="add del mod modGraphic">
          <ac:chgData name="Yash Ratanpal" userId="5db668b1-93e7-4c08-9786-4ed81315a653" providerId="ADAL" clId="{35CE40C1-3F8C-4A88-9CD7-233EB173ACA1}" dt="2021-08-09T16:39:40.463" v="12543" actId="478"/>
          <ac:graphicFrameMkLst>
            <pc:docMk/>
            <pc:sldMk cId="1772742645" sldId="1755"/>
            <ac:graphicFrameMk id="18" creationId="{6837693F-C88B-41AB-A40B-E045BAA806F9}"/>
          </ac:graphicFrameMkLst>
        </pc:graphicFrameChg>
        <pc:graphicFrameChg chg="add del mod modGraphic">
          <ac:chgData name="Yash Ratanpal" userId="5db668b1-93e7-4c08-9786-4ed81315a653" providerId="ADAL" clId="{35CE40C1-3F8C-4A88-9CD7-233EB173ACA1}" dt="2021-08-09T17:04:15.795" v="13062" actId="478"/>
          <ac:graphicFrameMkLst>
            <pc:docMk/>
            <pc:sldMk cId="1772742645" sldId="1755"/>
            <ac:graphicFrameMk id="19" creationId="{4433F829-4DBC-4533-AFFF-C8A045D5B2A8}"/>
          </ac:graphicFrameMkLst>
        </pc:graphicFrameChg>
        <pc:picChg chg="add del mod">
          <ac:chgData name="Yash Ratanpal" userId="5db668b1-93e7-4c08-9786-4ed81315a653" providerId="ADAL" clId="{35CE40C1-3F8C-4A88-9CD7-233EB173ACA1}" dt="2021-08-09T16:41:04.331" v="12548"/>
          <ac:picMkLst>
            <pc:docMk/>
            <pc:sldMk cId="1772742645" sldId="1755"/>
            <ac:picMk id="13" creationId="{CB014D4A-78DF-4883-B209-0F967409103E}"/>
          </ac:picMkLst>
        </pc:picChg>
        <pc:picChg chg="add del mod">
          <ac:chgData name="Yash Ratanpal" userId="5db668b1-93e7-4c08-9786-4ed81315a653" providerId="ADAL" clId="{35CE40C1-3F8C-4A88-9CD7-233EB173ACA1}" dt="2021-08-09T16:41:07.977" v="12550"/>
          <ac:picMkLst>
            <pc:docMk/>
            <pc:sldMk cId="1772742645" sldId="1755"/>
            <ac:picMk id="14" creationId="{22CE4D68-0A6F-41A6-84EB-A877A4028B6E}"/>
          </ac:picMkLst>
        </pc:picChg>
        <pc:picChg chg="add del mod">
          <ac:chgData name="Yash Ratanpal" userId="5db668b1-93e7-4c08-9786-4ed81315a653" providerId="ADAL" clId="{35CE40C1-3F8C-4A88-9CD7-233EB173ACA1}" dt="2021-08-09T17:04:16.543" v="13063" actId="478"/>
          <ac:picMkLst>
            <pc:docMk/>
            <pc:sldMk cId="1772742645" sldId="1755"/>
            <ac:picMk id="16" creationId="{B8EA8616-3B40-429C-8DD3-0CEEF55528E2}"/>
          </ac:picMkLst>
        </pc:picChg>
        <pc:picChg chg="add del mod">
          <ac:chgData name="Yash Ratanpal" userId="5db668b1-93e7-4c08-9786-4ed81315a653" providerId="ADAL" clId="{35CE40C1-3F8C-4A88-9CD7-233EB173ACA1}" dt="2021-08-09T16:39:36.750" v="12540" actId="478"/>
          <ac:picMkLst>
            <pc:docMk/>
            <pc:sldMk cId="1772742645" sldId="1755"/>
            <ac:picMk id="17" creationId="{1B301B44-FE02-4480-B4CB-5698C2E341A9}"/>
          </ac:picMkLst>
        </pc:picChg>
        <pc:picChg chg="del">
          <ac:chgData name="Yash Ratanpal" userId="5db668b1-93e7-4c08-9786-4ed81315a653" providerId="ADAL" clId="{35CE40C1-3F8C-4A88-9CD7-233EB173ACA1}" dt="2021-08-09T17:26:56.278" v="13248" actId="478"/>
          <ac:picMkLst>
            <pc:docMk/>
            <pc:sldMk cId="1772742645" sldId="1755"/>
            <ac:picMk id="26" creationId="{3B5E3F85-1C8C-41AE-908D-2201B25CD615}"/>
          </ac:picMkLst>
        </pc:picChg>
        <pc:picChg chg="del">
          <ac:chgData name="Yash Ratanpal" userId="5db668b1-93e7-4c08-9786-4ed81315a653" providerId="ADAL" clId="{35CE40C1-3F8C-4A88-9CD7-233EB173ACA1}" dt="2021-08-09T17:26:58.992" v="13250" actId="478"/>
          <ac:picMkLst>
            <pc:docMk/>
            <pc:sldMk cId="1772742645" sldId="1755"/>
            <ac:picMk id="28" creationId="{A473D477-B38B-4AE7-8055-0EB39C7A2348}"/>
          </ac:picMkLst>
        </pc:picChg>
        <pc:picChg chg="del">
          <ac:chgData name="Yash Ratanpal" userId="5db668b1-93e7-4c08-9786-4ed81315a653" providerId="ADAL" clId="{35CE40C1-3F8C-4A88-9CD7-233EB173ACA1}" dt="2021-08-09T17:26:58.992" v="13250" actId="478"/>
          <ac:picMkLst>
            <pc:docMk/>
            <pc:sldMk cId="1772742645" sldId="1755"/>
            <ac:picMk id="29" creationId="{A8FDA78C-7792-4A4E-994E-F3F5E3CF6E1F}"/>
          </ac:picMkLst>
        </pc:picChg>
      </pc:sldChg>
      <pc:sldChg chg="addSp delSp modSp add mod">
        <pc:chgData name="Yash Ratanpal" userId="5db668b1-93e7-4c08-9786-4ed81315a653" providerId="ADAL" clId="{35CE40C1-3F8C-4A88-9CD7-233EB173ACA1}" dt="2021-08-09T17:46:09.361" v="13283" actId="478"/>
        <pc:sldMkLst>
          <pc:docMk/>
          <pc:sldMk cId="1381548127" sldId="1756"/>
        </pc:sldMkLst>
        <pc:spChg chg="del">
          <ac:chgData name="Yash Ratanpal" userId="5db668b1-93e7-4c08-9786-4ed81315a653" providerId="ADAL" clId="{35CE40C1-3F8C-4A88-9CD7-233EB173ACA1}" dt="2021-08-09T17:21:40.579" v="13087" actId="478"/>
          <ac:spMkLst>
            <pc:docMk/>
            <pc:sldMk cId="1381548127" sldId="1756"/>
            <ac:spMk id="12" creationId="{BE2F3391-CC39-4E3B-9B91-E6493B5B0EB8}"/>
          </ac:spMkLst>
        </pc:spChg>
        <pc:spChg chg="del">
          <ac:chgData name="Yash Ratanpal" userId="5db668b1-93e7-4c08-9786-4ed81315a653" providerId="ADAL" clId="{35CE40C1-3F8C-4A88-9CD7-233EB173ACA1}" dt="2021-08-09T17:46:07.904" v="13281" actId="478"/>
          <ac:spMkLst>
            <pc:docMk/>
            <pc:sldMk cId="1381548127" sldId="1756"/>
            <ac:spMk id="27" creationId="{1169730E-13C0-4A06-87AA-00D155B04C29}"/>
          </ac:spMkLst>
        </pc:spChg>
        <pc:spChg chg="mod">
          <ac:chgData name="Yash Ratanpal" userId="5db668b1-93e7-4c08-9786-4ed81315a653" providerId="ADAL" clId="{35CE40C1-3F8C-4A88-9CD7-233EB173ACA1}" dt="2021-08-09T17:21:46.811" v="13090" actId="14100"/>
          <ac:spMkLst>
            <pc:docMk/>
            <pc:sldMk cId="1381548127" sldId="1756"/>
            <ac:spMk id="76" creationId="{2B97D186-EC68-4E8D-A392-DAD160EF5784}"/>
          </ac:spMkLst>
        </pc:spChg>
        <pc:grpChg chg="add del mod">
          <ac:chgData name="Yash Ratanpal" userId="5db668b1-93e7-4c08-9786-4ed81315a653" providerId="ADAL" clId="{35CE40C1-3F8C-4A88-9CD7-233EB173ACA1}" dt="2021-08-09T17:22:18.200" v="13100" actId="165"/>
          <ac:grpSpMkLst>
            <pc:docMk/>
            <pc:sldMk cId="1381548127" sldId="1756"/>
            <ac:grpSpMk id="4" creationId="{F823494E-76F6-468F-8E21-AF4478F35573}"/>
          </ac:grpSpMkLst>
        </pc:grpChg>
        <pc:graphicFrameChg chg="del">
          <ac:chgData name="Yash Ratanpal" userId="5db668b1-93e7-4c08-9786-4ed81315a653" providerId="ADAL" clId="{35CE40C1-3F8C-4A88-9CD7-233EB173ACA1}" dt="2021-08-09T17:21:40.579" v="13087" actId="478"/>
          <ac:graphicFrameMkLst>
            <pc:docMk/>
            <pc:sldMk cId="1381548127" sldId="1756"/>
            <ac:graphicFrameMk id="8" creationId="{3B52BFCF-8422-4A4E-8FFB-572EC3632547}"/>
          </ac:graphicFrameMkLst>
        </pc:graphicFrameChg>
        <pc:graphicFrameChg chg="add mod topLvl">
          <ac:chgData name="Yash Ratanpal" userId="5db668b1-93e7-4c08-9786-4ed81315a653" providerId="ADAL" clId="{35CE40C1-3F8C-4A88-9CD7-233EB173ACA1}" dt="2021-08-09T17:22:24.466" v="13102" actId="1076"/>
          <ac:graphicFrameMkLst>
            <pc:docMk/>
            <pc:sldMk cId="1381548127" sldId="1756"/>
            <ac:graphicFrameMk id="11" creationId="{3D86213D-3AC0-4026-8A5D-308F7EB71721}"/>
          </ac:graphicFrameMkLst>
        </pc:graphicFrameChg>
        <pc:graphicFrameChg chg="add mod topLvl">
          <ac:chgData name="Yash Ratanpal" userId="5db668b1-93e7-4c08-9786-4ed81315a653" providerId="ADAL" clId="{35CE40C1-3F8C-4A88-9CD7-233EB173ACA1}" dt="2021-08-09T17:22:29.676" v="13104" actId="1076"/>
          <ac:graphicFrameMkLst>
            <pc:docMk/>
            <pc:sldMk cId="1381548127" sldId="1756"/>
            <ac:graphicFrameMk id="13" creationId="{F3344343-87C1-4016-B50A-DD2A9BF6D5F9}"/>
          </ac:graphicFrameMkLst>
        </pc:graphicFrameChg>
        <pc:graphicFrameChg chg="add mod topLvl">
          <ac:chgData name="Yash Ratanpal" userId="5db668b1-93e7-4c08-9786-4ed81315a653" providerId="ADAL" clId="{35CE40C1-3F8C-4A88-9CD7-233EB173ACA1}" dt="2021-08-09T17:22:26.417" v="13103" actId="1076"/>
          <ac:graphicFrameMkLst>
            <pc:docMk/>
            <pc:sldMk cId="1381548127" sldId="1756"/>
            <ac:graphicFrameMk id="14" creationId="{9B4A6201-D346-4822-B9E2-AAFC14A4FADA}"/>
          </ac:graphicFrameMkLst>
        </pc:graphicFrameChg>
        <pc:picChg chg="del">
          <ac:chgData name="Yash Ratanpal" userId="5db668b1-93e7-4c08-9786-4ed81315a653" providerId="ADAL" clId="{35CE40C1-3F8C-4A88-9CD7-233EB173ACA1}" dt="2021-08-09T17:46:04.338" v="13280" actId="478"/>
          <ac:picMkLst>
            <pc:docMk/>
            <pc:sldMk cId="1381548127" sldId="1756"/>
            <ac:picMk id="26" creationId="{3B5E3F85-1C8C-41AE-908D-2201B25CD615}"/>
          </ac:picMkLst>
        </pc:picChg>
        <pc:picChg chg="del">
          <ac:chgData name="Yash Ratanpal" userId="5db668b1-93e7-4c08-9786-4ed81315a653" providerId="ADAL" clId="{35CE40C1-3F8C-4A88-9CD7-233EB173ACA1}" dt="2021-08-09T17:46:09.361" v="13283" actId="478"/>
          <ac:picMkLst>
            <pc:docMk/>
            <pc:sldMk cId="1381548127" sldId="1756"/>
            <ac:picMk id="28" creationId="{A473D477-B38B-4AE7-8055-0EB39C7A2348}"/>
          </ac:picMkLst>
        </pc:picChg>
        <pc:picChg chg="del">
          <ac:chgData name="Yash Ratanpal" userId="5db668b1-93e7-4c08-9786-4ed81315a653" providerId="ADAL" clId="{35CE40C1-3F8C-4A88-9CD7-233EB173ACA1}" dt="2021-08-09T17:46:08.537" v="13282" actId="478"/>
          <ac:picMkLst>
            <pc:docMk/>
            <pc:sldMk cId="1381548127" sldId="1756"/>
            <ac:picMk id="29" creationId="{A8FDA78C-7792-4A4E-994E-F3F5E3CF6E1F}"/>
          </ac:picMkLst>
        </pc:picChg>
      </pc:sldChg>
      <pc:sldChg chg="addSp delSp modSp add del mod">
        <pc:chgData name="Yash Ratanpal" userId="5db668b1-93e7-4c08-9786-4ed81315a653" providerId="ADAL" clId="{35CE40C1-3F8C-4A88-9CD7-233EB173ACA1}" dt="2021-08-09T17:21:35.214" v="13085" actId="47"/>
        <pc:sldMkLst>
          <pc:docMk/>
          <pc:sldMk cId="1420982380" sldId="1756"/>
        </pc:sldMkLst>
        <pc:spChg chg="del">
          <ac:chgData name="Yash Ratanpal" userId="5db668b1-93e7-4c08-9786-4ed81315a653" providerId="ADAL" clId="{35CE40C1-3F8C-4A88-9CD7-233EB173ACA1}" dt="2021-08-09T17:21:01.220" v="13070" actId="478"/>
          <ac:spMkLst>
            <pc:docMk/>
            <pc:sldMk cId="1420982380" sldId="1756"/>
            <ac:spMk id="12" creationId="{BE2F3391-CC39-4E3B-9B91-E6493B5B0EB8}"/>
          </ac:spMkLst>
        </pc:spChg>
        <pc:grpChg chg="add mod">
          <ac:chgData name="Yash Ratanpal" userId="5db668b1-93e7-4c08-9786-4ed81315a653" providerId="ADAL" clId="{35CE40C1-3F8C-4A88-9CD7-233EB173ACA1}" dt="2021-08-09T17:21:31.338" v="13079" actId="164"/>
          <ac:grpSpMkLst>
            <pc:docMk/>
            <pc:sldMk cId="1420982380" sldId="1756"/>
            <ac:grpSpMk id="5" creationId="{990FF72F-ECE0-4A39-AC42-6AAA7A431CB9}"/>
          </ac:grpSpMkLst>
        </pc:grpChg>
        <pc:graphicFrameChg chg="add del mod">
          <ac:chgData name="Yash Ratanpal" userId="5db668b1-93e7-4c08-9786-4ed81315a653" providerId="ADAL" clId="{35CE40C1-3F8C-4A88-9CD7-233EB173ACA1}" dt="2021-08-09T17:04:19.818" v="13064" actId="478"/>
          <ac:graphicFrameMkLst>
            <pc:docMk/>
            <pc:sldMk cId="1420982380" sldId="1756"/>
            <ac:graphicFrameMk id="4" creationId="{B02EF28C-7D9D-4FD1-99D3-F70A66678D18}"/>
          </ac:graphicFrameMkLst>
        </pc:graphicFrameChg>
        <pc:graphicFrameChg chg="add mod">
          <ac:chgData name="Yash Ratanpal" userId="5db668b1-93e7-4c08-9786-4ed81315a653" providerId="ADAL" clId="{35CE40C1-3F8C-4A88-9CD7-233EB173ACA1}" dt="2021-08-09T17:21:32.827" v="13084"/>
          <ac:graphicFrameMkLst>
            <pc:docMk/>
            <pc:sldMk cId="1420982380" sldId="1756"/>
            <ac:graphicFrameMk id="13" creationId="{3D86213D-3AC0-4026-8A5D-308F7EB71721}"/>
          </ac:graphicFrameMkLst>
        </pc:graphicFrameChg>
        <pc:graphicFrameChg chg="add mod">
          <ac:chgData name="Yash Ratanpal" userId="5db668b1-93e7-4c08-9786-4ed81315a653" providerId="ADAL" clId="{35CE40C1-3F8C-4A88-9CD7-233EB173ACA1}" dt="2021-08-09T17:21:32.827" v="13084"/>
          <ac:graphicFrameMkLst>
            <pc:docMk/>
            <pc:sldMk cId="1420982380" sldId="1756"/>
            <ac:graphicFrameMk id="14" creationId="{F3344343-87C1-4016-B50A-DD2A9BF6D5F9}"/>
          </ac:graphicFrameMkLst>
        </pc:graphicFrameChg>
        <pc:graphicFrameChg chg="add mod">
          <ac:chgData name="Yash Ratanpal" userId="5db668b1-93e7-4c08-9786-4ed81315a653" providerId="ADAL" clId="{35CE40C1-3F8C-4A88-9CD7-233EB173ACA1}" dt="2021-08-09T17:21:32.827" v="13084"/>
          <ac:graphicFrameMkLst>
            <pc:docMk/>
            <pc:sldMk cId="1420982380" sldId="1756"/>
            <ac:graphicFrameMk id="15" creationId="{9B4A6201-D346-4822-B9E2-AAFC14A4FADA}"/>
          </ac:graphicFrameMkLst>
        </pc:graphicFrameChg>
        <pc:graphicFrameChg chg="del">
          <ac:chgData name="Yash Ratanpal" userId="5db668b1-93e7-4c08-9786-4ed81315a653" providerId="ADAL" clId="{35CE40C1-3F8C-4A88-9CD7-233EB173ACA1}" dt="2021-08-09T17:03:46.881" v="13059" actId="478"/>
          <ac:graphicFrameMkLst>
            <pc:docMk/>
            <pc:sldMk cId="1420982380" sldId="1756"/>
            <ac:graphicFrameMk id="19" creationId="{4433F829-4DBC-4533-AFFF-C8A045D5B2A8}"/>
          </ac:graphicFrameMkLst>
        </pc:graphicFrameChg>
        <pc:picChg chg="del">
          <ac:chgData name="Yash Ratanpal" userId="5db668b1-93e7-4c08-9786-4ed81315a653" providerId="ADAL" clId="{35CE40C1-3F8C-4A88-9CD7-233EB173ACA1}" dt="2021-08-09T17:03:46.881" v="13059" actId="478"/>
          <ac:picMkLst>
            <pc:docMk/>
            <pc:sldMk cId="1420982380" sldId="1756"/>
            <ac:picMk id="16" creationId="{B8EA8616-3B40-429C-8DD3-0CEEF55528E2}"/>
          </ac:picMkLst>
        </pc:picChg>
      </pc:sldChg>
      <pc:sldChg chg="addSp delSp modSp add mod">
        <pc:chgData name="Yash Ratanpal" userId="5db668b1-93e7-4c08-9786-4ed81315a653" providerId="ADAL" clId="{35CE40C1-3F8C-4A88-9CD7-233EB173ACA1}" dt="2021-08-10T19:20:26.155" v="18985" actId="27918"/>
        <pc:sldMkLst>
          <pc:docMk/>
          <pc:sldMk cId="460503176" sldId="1757"/>
        </pc:sldMkLst>
        <pc:spChg chg="mod">
          <ac:chgData name="Yash Ratanpal" userId="5db668b1-93e7-4c08-9786-4ed81315a653" providerId="ADAL" clId="{35CE40C1-3F8C-4A88-9CD7-233EB173ACA1}" dt="2021-08-09T17:23:51.984" v="13151" actId="20577"/>
          <ac:spMkLst>
            <pc:docMk/>
            <pc:sldMk cId="460503176" sldId="1757"/>
            <ac:spMk id="3" creationId="{00000000-0000-0000-0000-000000000000}"/>
          </ac:spMkLst>
        </pc:spChg>
        <pc:spChg chg="add del mod">
          <ac:chgData name="Yash Ratanpal" userId="5db668b1-93e7-4c08-9786-4ed81315a653" providerId="ADAL" clId="{35CE40C1-3F8C-4A88-9CD7-233EB173ACA1}" dt="2021-08-09T17:58:51.978" v="13737" actId="478"/>
          <ac:spMkLst>
            <pc:docMk/>
            <pc:sldMk cId="460503176" sldId="1757"/>
            <ac:spMk id="18" creationId="{A9E105BD-1F36-4B8E-AD40-72DCE36C1C65}"/>
          </ac:spMkLst>
        </pc:spChg>
        <pc:spChg chg="add del mod">
          <ac:chgData name="Yash Ratanpal" userId="5db668b1-93e7-4c08-9786-4ed81315a653" providerId="ADAL" clId="{35CE40C1-3F8C-4A88-9CD7-233EB173ACA1}" dt="2021-08-09T17:58:51.978" v="13737" actId="478"/>
          <ac:spMkLst>
            <pc:docMk/>
            <pc:sldMk cId="460503176" sldId="1757"/>
            <ac:spMk id="19" creationId="{D03A3505-8E2E-4130-924C-F7867245141E}"/>
          </ac:spMkLst>
        </pc:spChg>
        <pc:spChg chg="add del mod">
          <ac:chgData name="Yash Ratanpal" userId="5db668b1-93e7-4c08-9786-4ed81315a653" providerId="ADAL" clId="{35CE40C1-3F8C-4A88-9CD7-233EB173ACA1}" dt="2021-08-09T17:58:51.978" v="13737" actId="478"/>
          <ac:spMkLst>
            <pc:docMk/>
            <pc:sldMk cId="460503176" sldId="1757"/>
            <ac:spMk id="20" creationId="{4D64A1E9-B1BD-40B2-AAF4-5F4ADD120ADD}"/>
          </ac:spMkLst>
        </pc:spChg>
        <pc:spChg chg="add del mod">
          <ac:chgData name="Yash Ratanpal" userId="5db668b1-93e7-4c08-9786-4ed81315a653" providerId="ADAL" clId="{35CE40C1-3F8C-4A88-9CD7-233EB173ACA1}" dt="2021-08-09T17:58:51.978" v="13737" actId="478"/>
          <ac:spMkLst>
            <pc:docMk/>
            <pc:sldMk cId="460503176" sldId="1757"/>
            <ac:spMk id="21" creationId="{32C2111F-3553-4FBF-A5C0-790E5CF2EE63}"/>
          </ac:spMkLst>
        </pc:spChg>
        <pc:spChg chg="del">
          <ac:chgData name="Yash Ratanpal" userId="5db668b1-93e7-4c08-9786-4ed81315a653" providerId="ADAL" clId="{35CE40C1-3F8C-4A88-9CD7-233EB173ACA1}" dt="2021-08-09T17:45:20.827" v="13265" actId="478"/>
          <ac:spMkLst>
            <pc:docMk/>
            <pc:sldMk cId="460503176" sldId="1757"/>
            <ac:spMk id="27" creationId="{1169730E-13C0-4A06-87AA-00D155B04C29}"/>
          </ac:spMkLst>
        </pc:spChg>
        <pc:spChg chg="mod">
          <ac:chgData name="Yash Ratanpal" userId="5db668b1-93e7-4c08-9786-4ed81315a653" providerId="ADAL" clId="{35CE40C1-3F8C-4A88-9CD7-233EB173ACA1}" dt="2021-08-09T17:55:59.284" v="13399" actId="1076"/>
          <ac:spMkLst>
            <pc:docMk/>
            <pc:sldMk cId="460503176" sldId="1757"/>
            <ac:spMk id="76" creationId="{2B97D186-EC68-4E8D-A392-DAD160EF5784}"/>
          </ac:spMkLst>
        </pc:spChg>
        <pc:grpChg chg="add del mod">
          <ac:chgData name="Yash Ratanpal" userId="5db668b1-93e7-4c08-9786-4ed81315a653" providerId="ADAL" clId="{35CE40C1-3F8C-4A88-9CD7-233EB173ACA1}" dt="2021-08-09T17:58:51.978" v="13737" actId="478"/>
          <ac:grpSpMkLst>
            <pc:docMk/>
            <pc:sldMk cId="460503176" sldId="1757"/>
            <ac:grpSpMk id="5" creationId="{AB567BBF-E20A-4D4F-A511-29494BB24725}"/>
          </ac:grpSpMkLst>
        </pc:grpChg>
        <pc:graphicFrameChg chg="add del mod modGraphic">
          <ac:chgData name="Yash Ratanpal" userId="5db668b1-93e7-4c08-9786-4ed81315a653" providerId="ADAL" clId="{35CE40C1-3F8C-4A88-9CD7-233EB173ACA1}" dt="2021-08-09T17:53:11.627" v="13327" actId="478"/>
          <ac:graphicFrameMkLst>
            <pc:docMk/>
            <pc:sldMk cId="460503176" sldId="1757"/>
            <ac:graphicFrameMk id="4" creationId="{6FE2F0DA-C288-4C98-BAB4-08D8DB64F48D}"/>
          </ac:graphicFrameMkLst>
        </pc:graphicFrameChg>
        <pc:graphicFrameChg chg="del">
          <ac:chgData name="Yash Ratanpal" userId="5db668b1-93e7-4c08-9786-4ed81315a653" providerId="ADAL" clId="{35CE40C1-3F8C-4A88-9CD7-233EB173ACA1}" dt="2021-08-09T17:23:54.689" v="13152" actId="478"/>
          <ac:graphicFrameMkLst>
            <pc:docMk/>
            <pc:sldMk cId="460503176" sldId="1757"/>
            <ac:graphicFrameMk id="11" creationId="{3D86213D-3AC0-4026-8A5D-308F7EB71721}"/>
          </ac:graphicFrameMkLst>
        </pc:graphicFrameChg>
        <pc:graphicFrameChg chg="del">
          <ac:chgData name="Yash Ratanpal" userId="5db668b1-93e7-4c08-9786-4ed81315a653" providerId="ADAL" clId="{35CE40C1-3F8C-4A88-9CD7-233EB173ACA1}" dt="2021-08-09T17:23:54.689" v="13152" actId="478"/>
          <ac:graphicFrameMkLst>
            <pc:docMk/>
            <pc:sldMk cId="460503176" sldId="1757"/>
            <ac:graphicFrameMk id="13" creationId="{F3344343-87C1-4016-B50A-DD2A9BF6D5F9}"/>
          </ac:graphicFrameMkLst>
        </pc:graphicFrameChg>
        <pc:graphicFrameChg chg="del">
          <ac:chgData name="Yash Ratanpal" userId="5db668b1-93e7-4c08-9786-4ed81315a653" providerId="ADAL" clId="{35CE40C1-3F8C-4A88-9CD7-233EB173ACA1}" dt="2021-08-09T17:23:54.689" v="13152" actId="478"/>
          <ac:graphicFrameMkLst>
            <pc:docMk/>
            <pc:sldMk cId="460503176" sldId="1757"/>
            <ac:graphicFrameMk id="14" creationId="{9B4A6201-D346-4822-B9E2-AAFC14A4FADA}"/>
          </ac:graphicFrameMkLst>
        </pc:graphicFrameChg>
        <pc:graphicFrameChg chg="add del mod">
          <ac:chgData name="Yash Ratanpal" userId="5db668b1-93e7-4c08-9786-4ed81315a653" providerId="ADAL" clId="{35CE40C1-3F8C-4A88-9CD7-233EB173ACA1}" dt="2021-08-09T17:56:32.779" v="13413" actId="478"/>
          <ac:graphicFrameMkLst>
            <pc:docMk/>
            <pc:sldMk cId="460503176" sldId="1757"/>
            <ac:graphicFrameMk id="15" creationId="{994ED243-5E23-477F-9D3D-F22C20979EC5}"/>
          </ac:graphicFrameMkLst>
        </pc:graphicFrameChg>
        <pc:graphicFrameChg chg="add mod">
          <ac:chgData name="Yash Ratanpal" userId="5db668b1-93e7-4c08-9786-4ed81315a653" providerId="ADAL" clId="{35CE40C1-3F8C-4A88-9CD7-233EB173ACA1}" dt="2021-08-09T17:56:44.411" v="13416" actId="164"/>
          <ac:graphicFrameMkLst>
            <pc:docMk/>
            <pc:sldMk cId="460503176" sldId="1757"/>
            <ac:graphicFrameMk id="16" creationId="{65E1F6FE-ECB6-449F-ACEE-C86C01D7E7E7}"/>
          </ac:graphicFrameMkLst>
        </pc:graphicFrameChg>
        <pc:graphicFrameChg chg="add mod">
          <ac:chgData name="Yash Ratanpal" userId="5db668b1-93e7-4c08-9786-4ed81315a653" providerId="ADAL" clId="{35CE40C1-3F8C-4A88-9CD7-233EB173ACA1}" dt="2021-08-09T17:56:44.411" v="13416" actId="164"/>
          <ac:graphicFrameMkLst>
            <pc:docMk/>
            <pc:sldMk cId="460503176" sldId="1757"/>
            <ac:graphicFrameMk id="17" creationId="{9A31CC74-C5B2-4C20-BFF6-B4E31B9CF35A}"/>
          </ac:graphicFrameMkLst>
        </pc:graphicFrameChg>
        <pc:picChg chg="del">
          <ac:chgData name="Yash Ratanpal" userId="5db668b1-93e7-4c08-9786-4ed81315a653" providerId="ADAL" clId="{35CE40C1-3F8C-4A88-9CD7-233EB173ACA1}" dt="2021-08-09T17:45:19.609" v="13264" actId="478"/>
          <ac:picMkLst>
            <pc:docMk/>
            <pc:sldMk cId="460503176" sldId="1757"/>
            <ac:picMk id="26" creationId="{3B5E3F85-1C8C-41AE-908D-2201B25CD615}"/>
          </ac:picMkLst>
        </pc:picChg>
        <pc:picChg chg="del">
          <ac:chgData name="Yash Ratanpal" userId="5db668b1-93e7-4c08-9786-4ed81315a653" providerId="ADAL" clId="{35CE40C1-3F8C-4A88-9CD7-233EB173ACA1}" dt="2021-08-09T17:45:22.632" v="13267" actId="478"/>
          <ac:picMkLst>
            <pc:docMk/>
            <pc:sldMk cId="460503176" sldId="1757"/>
            <ac:picMk id="28" creationId="{A473D477-B38B-4AE7-8055-0EB39C7A2348}"/>
          </ac:picMkLst>
        </pc:picChg>
        <pc:picChg chg="del">
          <ac:chgData name="Yash Ratanpal" userId="5db668b1-93e7-4c08-9786-4ed81315a653" providerId="ADAL" clId="{35CE40C1-3F8C-4A88-9CD7-233EB173ACA1}" dt="2021-08-09T17:45:21.708" v="13266" actId="478"/>
          <ac:picMkLst>
            <pc:docMk/>
            <pc:sldMk cId="460503176" sldId="1757"/>
            <ac:picMk id="29" creationId="{A8FDA78C-7792-4A4E-994E-F3F5E3CF6E1F}"/>
          </ac:picMkLst>
        </pc:picChg>
      </pc:sldChg>
      <pc:sldChg chg="delSp modSp add del mod">
        <pc:chgData name="Yash Ratanpal" userId="5db668b1-93e7-4c08-9786-4ed81315a653" providerId="ADAL" clId="{35CE40C1-3F8C-4A88-9CD7-233EB173ACA1}" dt="2021-08-09T17:58:26.494" v="13705" actId="47"/>
        <pc:sldMkLst>
          <pc:docMk/>
          <pc:sldMk cId="4284067041" sldId="1758"/>
        </pc:sldMkLst>
        <pc:spChg chg="mod">
          <ac:chgData name="Yash Ratanpal" userId="5db668b1-93e7-4c08-9786-4ed81315a653" providerId="ADAL" clId="{35CE40C1-3F8C-4A88-9CD7-233EB173ACA1}" dt="2021-08-09T17:46:48.186" v="13301" actId="20577"/>
          <ac:spMkLst>
            <pc:docMk/>
            <pc:sldMk cId="4284067041" sldId="1758"/>
            <ac:spMk id="76" creationId="{2B97D186-EC68-4E8D-A392-DAD160EF5784}"/>
          </ac:spMkLst>
        </pc:spChg>
        <pc:graphicFrameChg chg="del">
          <ac:chgData name="Yash Ratanpal" userId="5db668b1-93e7-4c08-9786-4ed81315a653" providerId="ADAL" clId="{35CE40C1-3F8C-4A88-9CD7-233EB173ACA1}" dt="2021-08-09T17:47:04.616" v="13302" actId="478"/>
          <ac:graphicFrameMkLst>
            <pc:docMk/>
            <pc:sldMk cId="4284067041" sldId="1758"/>
            <ac:graphicFrameMk id="4" creationId="{6FE2F0DA-C288-4C98-BAB4-08D8DB64F48D}"/>
          </ac:graphicFrameMkLst>
        </pc:graphicFrameChg>
      </pc:sldChg>
      <pc:sldChg chg="addSp delSp modSp add del mod">
        <pc:chgData name="Yash Ratanpal" userId="5db668b1-93e7-4c08-9786-4ed81315a653" providerId="ADAL" clId="{35CE40C1-3F8C-4A88-9CD7-233EB173ACA1}" dt="2021-08-09T17:58:21.846" v="13703" actId="47"/>
        <pc:sldMkLst>
          <pc:docMk/>
          <pc:sldMk cId="2690248065" sldId="1759"/>
        </pc:sldMkLst>
        <pc:graphicFrameChg chg="del">
          <ac:chgData name="Yash Ratanpal" userId="5db668b1-93e7-4c08-9786-4ed81315a653" providerId="ADAL" clId="{35CE40C1-3F8C-4A88-9CD7-233EB173ACA1}" dt="2021-08-09T17:47:10.461" v="13304" actId="478"/>
          <ac:graphicFrameMkLst>
            <pc:docMk/>
            <pc:sldMk cId="2690248065" sldId="1759"/>
            <ac:graphicFrameMk id="4" creationId="{6FE2F0DA-C288-4C98-BAB4-08D8DB64F48D}"/>
          </ac:graphicFrameMkLst>
        </pc:graphicFrameChg>
        <pc:graphicFrameChg chg="add mod">
          <ac:chgData name="Yash Ratanpal" userId="5db668b1-93e7-4c08-9786-4ed81315a653" providerId="ADAL" clId="{35CE40C1-3F8C-4A88-9CD7-233EB173ACA1}" dt="2021-08-09T17:48:48.925" v="13307"/>
          <ac:graphicFrameMkLst>
            <pc:docMk/>
            <pc:sldMk cId="2690248065" sldId="1759"/>
            <ac:graphicFrameMk id="6" creationId="{65E1F6FE-ECB6-449F-ACEE-C86C01D7E7E7}"/>
          </ac:graphicFrameMkLst>
        </pc:graphicFrameChg>
        <pc:graphicFrameChg chg="add mod">
          <ac:chgData name="Yash Ratanpal" userId="5db668b1-93e7-4c08-9786-4ed81315a653" providerId="ADAL" clId="{35CE40C1-3F8C-4A88-9CD7-233EB173ACA1}" dt="2021-08-09T17:49:47.370" v="13326" actId="1076"/>
          <ac:graphicFrameMkLst>
            <pc:docMk/>
            <pc:sldMk cId="2690248065" sldId="1759"/>
            <ac:graphicFrameMk id="7" creationId="{65E1F6FE-ECB6-449F-ACEE-C86C01D7E7E7}"/>
          </ac:graphicFrameMkLst>
        </pc:graphicFrameChg>
      </pc:sldChg>
      <pc:sldChg chg="addSp delSp modSp add mod">
        <pc:chgData name="Yash Ratanpal" userId="5db668b1-93e7-4c08-9786-4ed81315a653" providerId="ADAL" clId="{35CE40C1-3F8C-4A88-9CD7-233EB173ACA1}" dt="2021-08-09T18:07:32.317" v="13849" actId="14100"/>
        <pc:sldMkLst>
          <pc:docMk/>
          <pc:sldMk cId="3635289124" sldId="1759"/>
        </pc:sldMkLst>
        <pc:spChg chg="del">
          <ac:chgData name="Yash Ratanpal" userId="5db668b1-93e7-4c08-9786-4ed81315a653" providerId="ADAL" clId="{35CE40C1-3F8C-4A88-9CD7-233EB173ACA1}" dt="2021-08-09T17:58:55.776" v="13738" actId="478"/>
          <ac:spMkLst>
            <pc:docMk/>
            <pc:sldMk cId="3635289124" sldId="1759"/>
            <ac:spMk id="18" creationId="{A9E105BD-1F36-4B8E-AD40-72DCE36C1C65}"/>
          </ac:spMkLst>
        </pc:spChg>
        <pc:spChg chg="del">
          <ac:chgData name="Yash Ratanpal" userId="5db668b1-93e7-4c08-9786-4ed81315a653" providerId="ADAL" clId="{35CE40C1-3F8C-4A88-9CD7-233EB173ACA1}" dt="2021-08-09T17:58:55.776" v="13738" actId="478"/>
          <ac:spMkLst>
            <pc:docMk/>
            <pc:sldMk cId="3635289124" sldId="1759"/>
            <ac:spMk id="19" creationId="{D03A3505-8E2E-4130-924C-F7867245141E}"/>
          </ac:spMkLst>
        </pc:spChg>
        <pc:spChg chg="del">
          <ac:chgData name="Yash Ratanpal" userId="5db668b1-93e7-4c08-9786-4ed81315a653" providerId="ADAL" clId="{35CE40C1-3F8C-4A88-9CD7-233EB173ACA1}" dt="2021-08-09T17:58:55.776" v="13738" actId="478"/>
          <ac:spMkLst>
            <pc:docMk/>
            <pc:sldMk cId="3635289124" sldId="1759"/>
            <ac:spMk id="20" creationId="{4D64A1E9-B1BD-40B2-AAF4-5F4ADD120ADD}"/>
          </ac:spMkLst>
        </pc:spChg>
        <pc:spChg chg="del">
          <ac:chgData name="Yash Ratanpal" userId="5db668b1-93e7-4c08-9786-4ed81315a653" providerId="ADAL" clId="{35CE40C1-3F8C-4A88-9CD7-233EB173ACA1}" dt="2021-08-09T17:58:55.776" v="13738" actId="478"/>
          <ac:spMkLst>
            <pc:docMk/>
            <pc:sldMk cId="3635289124" sldId="1759"/>
            <ac:spMk id="21" creationId="{32C2111F-3553-4FBF-A5C0-790E5CF2EE63}"/>
          </ac:spMkLst>
        </pc:spChg>
        <pc:spChg chg="mod">
          <ac:chgData name="Yash Ratanpal" userId="5db668b1-93e7-4c08-9786-4ed81315a653" providerId="ADAL" clId="{35CE40C1-3F8C-4A88-9CD7-233EB173ACA1}" dt="2021-08-09T17:58:59.377" v="13740" actId="20577"/>
          <ac:spMkLst>
            <pc:docMk/>
            <pc:sldMk cId="3635289124" sldId="1759"/>
            <ac:spMk id="76" creationId="{2B97D186-EC68-4E8D-A392-DAD160EF5784}"/>
          </ac:spMkLst>
        </pc:spChg>
        <pc:grpChg chg="del">
          <ac:chgData name="Yash Ratanpal" userId="5db668b1-93e7-4c08-9786-4ed81315a653" providerId="ADAL" clId="{35CE40C1-3F8C-4A88-9CD7-233EB173ACA1}" dt="2021-08-09T17:58:55.776" v="13738" actId="478"/>
          <ac:grpSpMkLst>
            <pc:docMk/>
            <pc:sldMk cId="3635289124" sldId="1759"/>
            <ac:grpSpMk id="5" creationId="{AB567BBF-E20A-4D4F-A511-29494BB24725}"/>
          </ac:grpSpMkLst>
        </pc:grpChg>
        <pc:graphicFrameChg chg="add del mod modGraphic">
          <ac:chgData name="Yash Ratanpal" userId="5db668b1-93e7-4c08-9786-4ed81315a653" providerId="ADAL" clId="{35CE40C1-3F8C-4A88-9CD7-233EB173ACA1}" dt="2021-08-09T18:01:33.308" v="13809" actId="478"/>
          <ac:graphicFrameMkLst>
            <pc:docMk/>
            <pc:sldMk cId="3635289124" sldId="1759"/>
            <ac:graphicFrameMk id="4" creationId="{81989E54-3A7C-472F-9363-24729C89BBB1}"/>
          </ac:graphicFrameMkLst>
        </pc:graphicFrameChg>
        <pc:graphicFrameChg chg="add del mod">
          <ac:chgData name="Yash Ratanpal" userId="5db668b1-93e7-4c08-9786-4ed81315a653" providerId="ADAL" clId="{35CE40C1-3F8C-4A88-9CD7-233EB173ACA1}" dt="2021-08-09T18:02:17.605" v="13812" actId="478"/>
          <ac:graphicFrameMkLst>
            <pc:docMk/>
            <pc:sldMk cId="3635289124" sldId="1759"/>
            <ac:graphicFrameMk id="6" creationId="{1B33F320-CFCF-42A7-9306-523D4F89376B}"/>
          </ac:graphicFrameMkLst>
        </pc:graphicFrameChg>
        <pc:graphicFrameChg chg="add mod modGraphic">
          <ac:chgData name="Yash Ratanpal" userId="5db668b1-93e7-4c08-9786-4ed81315a653" providerId="ADAL" clId="{35CE40C1-3F8C-4A88-9CD7-233EB173ACA1}" dt="2021-08-09T18:07:32.317" v="13849" actId="14100"/>
          <ac:graphicFrameMkLst>
            <pc:docMk/>
            <pc:sldMk cId="3635289124" sldId="1759"/>
            <ac:graphicFrameMk id="7" creationId="{20B3FFC1-C5A8-4CF3-BD1D-126DFA17DB48}"/>
          </ac:graphicFrameMkLst>
        </pc:graphicFrameChg>
      </pc:sldChg>
      <pc:sldChg chg="addSp delSp modSp add mod">
        <pc:chgData name="Yash Ratanpal" userId="5db668b1-93e7-4c08-9786-4ed81315a653" providerId="ADAL" clId="{35CE40C1-3F8C-4A88-9CD7-233EB173ACA1}" dt="2021-08-09T18:46:42.324" v="14086" actId="1076"/>
        <pc:sldMkLst>
          <pc:docMk/>
          <pc:sldMk cId="870808216" sldId="1760"/>
        </pc:sldMkLst>
        <pc:spChg chg="mod">
          <ac:chgData name="Yash Ratanpal" userId="5db668b1-93e7-4c08-9786-4ed81315a653" providerId="ADAL" clId="{35CE40C1-3F8C-4A88-9CD7-233EB173ACA1}" dt="2021-08-09T18:45:02.785" v="14046" actId="20577"/>
          <ac:spMkLst>
            <pc:docMk/>
            <pc:sldMk cId="870808216" sldId="1760"/>
            <ac:spMk id="3" creationId="{00000000-0000-0000-0000-000000000000}"/>
          </ac:spMkLst>
        </pc:spChg>
        <pc:spChg chg="add del mod">
          <ac:chgData name="Yash Ratanpal" userId="5db668b1-93e7-4c08-9786-4ed81315a653" providerId="ADAL" clId="{35CE40C1-3F8C-4A88-9CD7-233EB173ACA1}" dt="2021-08-09T18:32:06.861" v="13905" actId="478"/>
          <ac:spMkLst>
            <pc:docMk/>
            <pc:sldMk cId="870808216" sldId="1760"/>
            <ac:spMk id="8" creationId="{21C856A4-E58D-4D0B-9AA3-573887F829CE}"/>
          </ac:spMkLst>
        </pc:spChg>
        <pc:spChg chg="add mod">
          <ac:chgData name="Yash Ratanpal" userId="5db668b1-93e7-4c08-9786-4ed81315a653" providerId="ADAL" clId="{35CE40C1-3F8C-4A88-9CD7-233EB173ACA1}" dt="2021-08-09T18:46:12.409" v="14077" actId="1076"/>
          <ac:spMkLst>
            <pc:docMk/>
            <pc:sldMk cId="870808216" sldId="1760"/>
            <ac:spMk id="10" creationId="{3E36747F-7476-4E48-B884-2CB1FE877B5A}"/>
          </ac:spMkLst>
        </pc:spChg>
        <pc:spChg chg="add del mod">
          <ac:chgData name="Yash Ratanpal" userId="5db668b1-93e7-4c08-9786-4ed81315a653" providerId="ADAL" clId="{35CE40C1-3F8C-4A88-9CD7-233EB173ACA1}" dt="2021-08-09T18:37:11.548" v="13936" actId="478"/>
          <ac:spMkLst>
            <pc:docMk/>
            <pc:sldMk cId="870808216" sldId="1760"/>
            <ac:spMk id="11" creationId="{721C33B2-BEE6-4977-BC07-B5D8F017B9B9}"/>
          </ac:spMkLst>
        </pc:spChg>
        <pc:spChg chg="mod">
          <ac:chgData name="Yash Ratanpal" userId="5db668b1-93e7-4c08-9786-4ed81315a653" providerId="ADAL" clId="{35CE40C1-3F8C-4A88-9CD7-233EB173ACA1}" dt="2021-08-09T18:35:09.795" v="13928" actId="20577"/>
          <ac:spMkLst>
            <pc:docMk/>
            <pc:sldMk cId="870808216" sldId="1760"/>
            <ac:spMk id="76" creationId="{2B97D186-EC68-4E8D-A392-DAD160EF5784}"/>
          </ac:spMkLst>
        </pc:spChg>
        <pc:graphicFrameChg chg="add del mod">
          <ac:chgData name="Yash Ratanpal" userId="5db668b1-93e7-4c08-9786-4ed81315a653" providerId="ADAL" clId="{35CE40C1-3F8C-4A88-9CD7-233EB173ACA1}" dt="2021-08-09T18:16:43.194" v="13866" actId="478"/>
          <ac:graphicFrameMkLst>
            <pc:docMk/>
            <pc:sldMk cId="870808216" sldId="1760"/>
            <ac:graphicFrameMk id="4" creationId="{061B776F-D61F-4DAA-B70E-4F7971962C19}"/>
          </ac:graphicFrameMkLst>
        </pc:graphicFrameChg>
        <pc:graphicFrameChg chg="add del mod modGraphic">
          <ac:chgData name="Yash Ratanpal" userId="5db668b1-93e7-4c08-9786-4ed81315a653" providerId="ADAL" clId="{35CE40C1-3F8C-4A88-9CD7-233EB173ACA1}" dt="2021-08-09T18:33:46.163" v="13911" actId="478"/>
          <ac:graphicFrameMkLst>
            <pc:docMk/>
            <pc:sldMk cId="870808216" sldId="1760"/>
            <ac:graphicFrameMk id="5" creationId="{205448DF-CFE3-462B-84F4-E2CCD46CE52D}"/>
          </ac:graphicFrameMkLst>
        </pc:graphicFrameChg>
        <pc:graphicFrameChg chg="add mod modGraphic">
          <ac:chgData name="Yash Ratanpal" userId="5db668b1-93e7-4c08-9786-4ed81315a653" providerId="ADAL" clId="{35CE40C1-3F8C-4A88-9CD7-233EB173ACA1}" dt="2021-08-09T18:46:36.588" v="14083" actId="1076"/>
          <ac:graphicFrameMkLst>
            <pc:docMk/>
            <pc:sldMk cId="870808216" sldId="1760"/>
            <ac:graphicFrameMk id="6" creationId="{4CC6646F-5381-44E0-8999-8E27837E2EC3}"/>
          </ac:graphicFrameMkLst>
        </pc:graphicFrameChg>
        <pc:graphicFrameChg chg="del">
          <ac:chgData name="Yash Ratanpal" userId="5db668b1-93e7-4c08-9786-4ed81315a653" providerId="ADAL" clId="{35CE40C1-3F8C-4A88-9CD7-233EB173ACA1}" dt="2021-08-09T18:05:01.039" v="13845" actId="478"/>
          <ac:graphicFrameMkLst>
            <pc:docMk/>
            <pc:sldMk cId="870808216" sldId="1760"/>
            <ac:graphicFrameMk id="7" creationId="{20B3FFC1-C5A8-4CF3-BD1D-126DFA17DB48}"/>
          </ac:graphicFrameMkLst>
        </pc:graphicFrameChg>
        <pc:graphicFrameChg chg="add mod">
          <ac:chgData name="Yash Ratanpal" userId="5db668b1-93e7-4c08-9786-4ed81315a653" providerId="ADAL" clId="{35CE40C1-3F8C-4A88-9CD7-233EB173ACA1}" dt="2021-08-09T18:46:38.615" v="14084" actId="1076"/>
          <ac:graphicFrameMkLst>
            <pc:docMk/>
            <pc:sldMk cId="870808216" sldId="1760"/>
            <ac:graphicFrameMk id="12" creationId="{164E1D5A-A0FA-42B0-A0C8-1262E27A2A2D}"/>
          </ac:graphicFrameMkLst>
        </pc:graphicFrameChg>
        <pc:picChg chg="add mod">
          <ac:chgData name="Yash Ratanpal" userId="5db668b1-93e7-4c08-9786-4ed81315a653" providerId="ADAL" clId="{35CE40C1-3F8C-4A88-9CD7-233EB173ACA1}" dt="2021-08-09T18:46:42.324" v="14086" actId="1076"/>
          <ac:picMkLst>
            <pc:docMk/>
            <pc:sldMk cId="870808216" sldId="1760"/>
            <ac:picMk id="13" creationId="{39AB2908-04C4-4E66-AF41-B5EA5A3B2627}"/>
          </ac:picMkLst>
        </pc:picChg>
      </pc:sldChg>
      <pc:sldChg chg="addSp delSp modSp add mod">
        <pc:chgData name="Yash Ratanpal" userId="5db668b1-93e7-4c08-9786-4ed81315a653" providerId="ADAL" clId="{35CE40C1-3F8C-4A88-9CD7-233EB173ACA1}" dt="2021-08-09T19:01:35.840" v="15060" actId="1076"/>
        <pc:sldMkLst>
          <pc:docMk/>
          <pc:sldMk cId="3065871970" sldId="1761"/>
        </pc:sldMkLst>
        <pc:spChg chg="mod">
          <ac:chgData name="Yash Ratanpal" userId="5db668b1-93e7-4c08-9786-4ed81315a653" providerId="ADAL" clId="{35CE40C1-3F8C-4A88-9CD7-233EB173ACA1}" dt="2021-08-09T18:45:11.679" v="14065" actId="20577"/>
          <ac:spMkLst>
            <pc:docMk/>
            <pc:sldMk cId="3065871970" sldId="1761"/>
            <ac:spMk id="3" creationId="{00000000-0000-0000-0000-000000000000}"/>
          </ac:spMkLst>
        </pc:spChg>
        <pc:spChg chg="add mod">
          <ac:chgData name="Yash Ratanpal" userId="5db668b1-93e7-4c08-9786-4ed81315a653" providerId="ADAL" clId="{35CE40C1-3F8C-4A88-9CD7-233EB173ACA1}" dt="2021-08-09T19:01:31.844" v="15059" actId="1076"/>
          <ac:spMkLst>
            <pc:docMk/>
            <pc:sldMk cId="3065871970" sldId="1761"/>
            <ac:spMk id="8" creationId="{166C33ED-8DE5-4F9A-A30F-472346A21E23}"/>
          </ac:spMkLst>
        </pc:spChg>
        <pc:spChg chg="add del mod">
          <ac:chgData name="Yash Ratanpal" userId="5db668b1-93e7-4c08-9786-4ed81315a653" providerId="ADAL" clId="{35CE40C1-3F8C-4A88-9CD7-233EB173ACA1}" dt="2021-08-09T18:49:36.949" v="14116" actId="478"/>
          <ac:spMkLst>
            <pc:docMk/>
            <pc:sldMk cId="3065871970" sldId="1761"/>
            <ac:spMk id="9" creationId="{629CD345-0CC5-4290-8E4A-7CD7AC6FD81D}"/>
          </ac:spMkLst>
        </pc:spChg>
        <pc:spChg chg="del">
          <ac:chgData name="Yash Ratanpal" userId="5db668b1-93e7-4c08-9786-4ed81315a653" providerId="ADAL" clId="{35CE40C1-3F8C-4A88-9CD7-233EB173ACA1}" dt="2021-08-09T18:40:19.855" v="13996" actId="478"/>
          <ac:spMkLst>
            <pc:docMk/>
            <pc:sldMk cId="3065871970" sldId="1761"/>
            <ac:spMk id="10" creationId="{3E36747F-7476-4E48-B884-2CB1FE877B5A}"/>
          </ac:spMkLst>
        </pc:spChg>
        <pc:spChg chg="add del mod">
          <ac:chgData name="Yash Ratanpal" userId="5db668b1-93e7-4c08-9786-4ed81315a653" providerId="ADAL" clId="{35CE40C1-3F8C-4A88-9CD7-233EB173ACA1}" dt="2021-08-09T18:53:04.426" v="14162" actId="478"/>
          <ac:spMkLst>
            <pc:docMk/>
            <pc:sldMk cId="3065871970" sldId="1761"/>
            <ac:spMk id="14" creationId="{5EE54408-C969-4BD0-889B-C794A47A93B3}"/>
          </ac:spMkLst>
        </pc:spChg>
        <pc:spChg chg="add mod">
          <ac:chgData name="Yash Ratanpal" userId="5db668b1-93e7-4c08-9786-4ed81315a653" providerId="ADAL" clId="{35CE40C1-3F8C-4A88-9CD7-233EB173ACA1}" dt="2021-08-09T18:54:45.976" v="14220" actId="20577"/>
          <ac:spMkLst>
            <pc:docMk/>
            <pc:sldMk cId="3065871970" sldId="1761"/>
            <ac:spMk id="15" creationId="{4AAC0FE1-A884-47D6-A28B-0CF0B7FC772C}"/>
          </ac:spMkLst>
        </pc:spChg>
        <pc:spChg chg="add mod">
          <ac:chgData name="Yash Ratanpal" userId="5db668b1-93e7-4c08-9786-4ed81315a653" providerId="ADAL" clId="{35CE40C1-3F8C-4A88-9CD7-233EB173ACA1}" dt="2021-08-09T19:01:35.840" v="15060" actId="1076"/>
          <ac:spMkLst>
            <pc:docMk/>
            <pc:sldMk cId="3065871970" sldId="1761"/>
            <ac:spMk id="16" creationId="{2EFF6AA0-84E6-4B11-A3C1-2D228E2CF0A9}"/>
          </ac:spMkLst>
        </pc:spChg>
        <pc:spChg chg="mod">
          <ac:chgData name="Yash Ratanpal" userId="5db668b1-93e7-4c08-9786-4ed81315a653" providerId="ADAL" clId="{35CE40C1-3F8C-4A88-9CD7-233EB173ACA1}" dt="2021-08-09T18:40:15.446" v="13995" actId="20577"/>
          <ac:spMkLst>
            <pc:docMk/>
            <pc:sldMk cId="3065871970" sldId="1761"/>
            <ac:spMk id="76" creationId="{2B97D186-EC68-4E8D-A392-DAD160EF5784}"/>
          </ac:spMkLst>
        </pc:spChg>
        <pc:graphicFrameChg chg="add del mod modGraphic">
          <ac:chgData name="Yash Ratanpal" userId="5db668b1-93e7-4c08-9786-4ed81315a653" providerId="ADAL" clId="{35CE40C1-3F8C-4A88-9CD7-233EB173ACA1}" dt="2021-08-09T18:54:16.842" v="14201" actId="1076"/>
          <ac:graphicFrameMkLst>
            <pc:docMk/>
            <pc:sldMk cId="3065871970" sldId="1761"/>
            <ac:graphicFrameMk id="4" creationId="{6DAEE22B-A430-46A4-87C5-58B362E9CF87}"/>
          </ac:graphicFrameMkLst>
        </pc:graphicFrameChg>
        <pc:graphicFrameChg chg="add del mod modGraphic">
          <ac:chgData name="Yash Ratanpal" userId="5db668b1-93e7-4c08-9786-4ed81315a653" providerId="ADAL" clId="{35CE40C1-3F8C-4A88-9CD7-233EB173ACA1}" dt="2021-08-09T18:50:48.505" v="14130"/>
          <ac:graphicFrameMkLst>
            <pc:docMk/>
            <pc:sldMk cId="3065871970" sldId="1761"/>
            <ac:graphicFrameMk id="5" creationId="{D1C03872-5FB3-4C8F-8FC8-75BFB89A6B69}"/>
          </ac:graphicFrameMkLst>
        </pc:graphicFrameChg>
        <pc:graphicFrameChg chg="del">
          <ac:chgData name="Yash Ratanpal" userId="5db668b1-93e7-4c08-9786-4ed81315a653" providerId="ADAL" clId="{35CE40C1-3F8C-4A88-9CD7-233EB173ACA1}" dt="2021-08-09T18:40:19.855" v="13996" actId="478"/>
          <ac:graphicFrameMkLst>
            <pc:docMk/>
            <pc:sldMk cId="3065871970" sldId="1761"/>
            <ac:graphicFrameMk id="6" creationId="{4CC6646F-5381-44E0-8999-8E27837E2EC3}"/>
          </ac:graphicFrameMkLst>
        </pc:graphicFrameChg>
        <pc:graphicFrameChg chg="add mod modGraphic">
          <ac:chgData name="Yash Ratanpal" userId="5db668b1-93e7-4c08-9786-4ed81315a653" providerId="ADAL" clId="{35CE40C1-3F8C-4A88-9CD7-233EB173ACA1}" dt="2021-08-09T18:54:16.842" v="14201" actId="1076"/>
          <ac:graphicFrameMkLst>
            <pc:docMk/>
            <pc:sldMk cId="3065871970" sldId="1761"/>
            <ac:graphicFrameMk id="7" creationId="{6BD78B88-5C0E-4CAF-9465-90CF6E16CA91}"/>
          </ac:graphicFrameMkLst>
        </pc:graphicFrameChg>
        <pc:graphicFrameChg chg="del">
          <ac:chgData name="Yash Ratanpal" userId="5db668b1-93e7-4c08-9786-4ed81315a653" providerId="ADAL" clId="{35CE40C1-3F8C-4A88-9CD7-233EB173ACA1}" dt="2021-08-09T18:40:19.855" v="13996" actId="478"/>
          <ac:graphicFrameMkLst>
            <pc:docMk/>
            <pc:sldMk cId="3065871970" sldId="1761"/>
            <ac:graphicFrameMk id="12" creationId="{164E1D5A-A0FA-42B0-A0C8-1262E27A2A2D}"/>
          </ac:graphicFrameMkLst>
        </pc:graphicFrameChg>
        <pc:picChg chg="add mod">
          <ac:chgData name="Yash Ratanpal" userId="5db668b1-93e7-4c08-9786-4ed81315a653" providerId="ADAL" clId="{35CE40C1-3F8C-4A88-9CD7-233EB173ACA1}" dt="2021-08-09T18:54:27.123" v="14205" actId="1076"/>
          <ac:picMkLst>
            <pc:docMk/>
            <pc:sldMk cId="3065871970" sldId="1761"/>
            <ac:picMk id="11" creationId="{27B2CDF9-1D7D-492B-9749-E4331415F673}"/>
          </ac:picMkLst>
        </pc:picChg>
        <pc:picChg chg="add mod modCrop">
          <ac:chgData name="Yash Ratanpal" userId="5db668b1-93e7-4c08-9786-4ed81315a653" providerId="ADAL" clId="{35CE40C1-3F8C-4A88-9CD7-233EB173ACA1}" dt="2021-08-09T18:54:29.027" v="14206" actId="1076"/>
          <ac:picMkLst>
            <pc:docMk/>
            <pc:sldMk cId="3065871970" sldId="1761"/>
            <ac:picMk id="13" creationId="{DA255C5E-254A-462E-A948-8C02E4C63501}"/>
          </ac:picMkLst>
        </pc:picChg>
      </pc:sldChg>
      <pc:sldChg chg="addSp delSp modSp add mod">
        <pc:chgData name="Yash Ratanpal" userId="5db668b1-93e7-4c08-9786-4ed81315a653" providerId="ADAL" clId="{35CE40C1-3F8C-4A88-9CD7-233EB173ACA1}" dt="2021-08-09T19:10:58.598" v="15489" actId="6549"/>
        <pc:sldMkLst>
          <pc:docMk/>
          <pc:sldMk cId="2038279813" sldId="1762"/>
        </pc:sldMkLst>
        <pc:spChg chg="mod">
          <ac:chgData name="Yash Ratanpal" userId="5db668b1-93e7-4c08-9786-4ed81315a653" providerId="ADAL" clId="{35CE40C1-3F8C-4A88-9CD7-233EB173ACA1}" dt="2021-08-09T19:02:22.540" v="15090" actId="20577"/>
          <ac:spMkLst>
            <pc:docMk/>
            <pc:sldMk cId="2038279813" sldId="1762"/>
            <ac:spMk id="3" creationId="{00000000-0000-0000-0000-000000000000}"/>
          </ac:spMkLst>
        </pc:spChg>
        <pc:spChg chg="del">
          <ac:chgData name="Yash Ratanpal" userId="5db668b1-93e7-4c08-9786-4ed81315a653" providerId="ADAL" clId="{35CE40C1-3F8C-4A88-9CD7-233EB173ACA1}" dt="2021-08-09T19:02:36.937" v="15144" actId="478"/>
          <ac:spMkLst>
            <pc:docMk/>
            <pc:sldMk cId="2038279813" sldId="1762"/>
            <ac:spMk id="8" creationId="{166C33ED-8DE5-4F9A-A30F-472346A21E23}"/>
          </ac:spMkLst>
        </pc:spChg>
        <pc:spChg chg="add del mod">
          <ac:chgData name="Yash Ratanpal" userId="5db668b1-93e7-4c08-9786-4ed81315a653" providerId="ADAL" clId="{35CE40C1-3F8C-4A88-9CD7-233EB173ACA1}" dt="2021-08-09T19:07:15.499" v="15211" actId="478"/>
          <ac:spMkLst>
            <pc:docMk/>
            <pc:sldMk cId="2038279813" sldId="1762"/>
            <ac:spMk id="14" creationId="{8F86AA19-6DF1-402B-942E-8D928388F031}"/>
          </ac:spMkLst>
        </pc:spChg>
        <pc:spChg chg="del">
          <ac:chgData name="Yash Ratanpal" userId="5db668b1-93e7-4c08-9786-4ed81315a653" providerId="ADAL" clId="{35CE40C1-3F8C-4A88-9CD7-233EB173ACA1}" dt="2021-08-09T19:02:36.937" v="15144" actId="478"/>
          <ac:spMkLst>
            <pc:docMk/>
            <pc:sldMk cId="2038279813" sldId="1762"/>
            <ac:spMk id="15" creationId="{4AAC0FE1-A884-47D6-A28B-0CF0B7FC772C}"/>
          </ac:spMkLst>
        </pc:spChg>
        <pc:spChg chg="del">
          <ac:chgData name="Yash Ratanpal" userId="5db668b1-93e7-4c08-9786-4ed81315a653" providerId="ADAL" clId="{35CE40C1-3F8C-4A88-9CD7-233EB173ACA1}" dt="2021-08-09T19:02:39.380" v="15146" actId="478"/>
          <ac:spMkLst>
            <pc:docMk/>
            <pc:sldMk cId="2038279813" sldId="1762"/>
            <ac:spMk id="16" creationId="{2EFF6AA0-84E6-4B11-A3C1-2D228E2CF0A9}"/>
          </ac:spMkLst>
        </pc:spChg>
        <pc:spChg chg="add del mod">
          <ac:chgData name="Yash Ratanpal" userId="5db668b1-93e7-4c08-9786-4ed81315a653" providerId="ADAL" clId="{35CE40C1-3F8C-4A88-9CD7-233EB173ACA1}" dt="2021-08-09T19:07:19.264" v="15213" actId="478"/>
          <ac:spMkLst>
            <pc:docMk/>
            <pc:sldMk cId="2038279813" sldId="1762"/>
            <ac:spMk id="17" creationId="{D1FDE8D8-C698-4526-BA65-919B121FDE05}"/>
          </ac:spMkLst>
        </pc:spChg>
        <pc:spChg chg="add mod">
          <ac:chgData name="Yash Ratanpal" userId="5db668b1-93e7-4c08-9786-4ed81315a653" providerId="ADAL" clId="{35CE40C1-3F8C-4A88-9CD7-233EB173ACA1}" dt="2021-08-09T19:08:09.304" v="15290" actId="1076"/>
          <ac:spMkLst>
            <pc:docMk/>
            <pc:sldMk cId="2038279813" sldId="1762"/>
            <ac:spMk id="18" creationId="{0EC97D12-53E4-4C68-9448-F6740D3C560D}"/>
          </ac:spMkLst>
        </pc:spChg>
        <pc:spChg chg="add mod">
          <ac:chgData name="Yash Ratanpal" userId="5db668b1-93e7-4c08-9786-4ed81315a653" providerId="ADAL" clId="{35CE40C1-3F8C-4A88-9CD7-233EB173ACA1}" dt="2021-08-09T19:10:58.598" v="15489" actId="6549"/>
          <ac:spMkLst>
            <pc:docMk/>
            <pc:sldMk cId="2038279813" sldId="1762"/>
            <ac:spMk id="20" creationId="{EE146294-7F87-41E9-B280-4E5B3ADD4C5C}"/>
          </ac:spMkLst>
        </pc:spChg>
        <pc:spChg chg="add mod">
          <ac:chgData name="Yash Ratanpal" userId="5db668b1-93e7-4c08-9786-4ed81315a653" providerId="ADAL" clId="{35CE40C1-3F8C-4A88-9CD7-233EB173ACA1}" dt="2021-08-09T19:09:19.225" v="15306" actId="1076"/>
          <ac:spMkLst>
            <pc:docMk/>
            <pc:sldMk cId="2038279813" sldId="1762"/>
            <ac:spMk id="21" creationId="{EA61FB06-2526-432B-9152-C5DCEF61189C}"/>
          </ac:spMkLst>
        </pc:spChg>
        <pc:spChg chg="mod">
          <ac:chgData name="Yash Ratanpal" userId="5db668b1-93e7-4c08-9786-4ed81315a653" providerId="ADAL" clId="{35CE40C1-3F8C-4A88-9CD7-233EB173ACA1}" dt="2021-08-09T19:02:33.860" v="15143" actId="20577"/>
          <ac:spMkLst>
            <pc:docMk/>
            <pc:sldMk cId="2038279813" sldId="1762"/>
            <ac:spMk id="76" creationId="{2B97D186-EC68-4E8D-A392-DAD160EF5784}"/>
          </ac:spMkLst>
        </pc:spChg>
        <pc:graphicFrameChg chg="del">
          <ac:chgData name="Yash Ratanpal" userId="5db668b1-93e7-4c08-9786-4ed81315a653" providerId="ADAL" clId="{35CE40C1-3F8C-4A88-9CD7-233EB173ACA1}" dt="2021-08-09T19:02:36.937" v="15144" actId="478"/>
          <ac:graphicFrameMkLst>
            <pc:docMk/>
            <pc:sldMk cId="2038279813" sldId="1762"/>
            <ac:graphicFrameMk id="4" creationId="{6DAEE22B-A430-46A4-87C5-58B362E9CF87}"/>
          </ac:graphicFrameMkLst>
        </pc:graphicFrameChg>
        <pc:graphicFrameChg chg="add mod modGraphic">
          <ac:chgData name="Yash Ratanpal" userId="5db668b1-93e7-4c08-9786-4ed81315a653" providerId="ADAL" clId="{35CE40C1-3F8C-4A88-9CD7-233EB173ACA1}" dt="2021-08-09T19:08:58.606" v="15302" actId="1076"/>
          <ac:graphicFrameMkLst>
            <pc:docMk/>
            <pc:sldMk cId="2038279813" sldId="1762"/>
            <ac:graphicFrameMk id="5" creationId="{9F4C3A75-DBB5-4EE4-BF5B-0E939A194F16}"/>
          </ac:graphicFrameMkLst>
        </pc:graphicFrameChg>
        <pc:graphicFrameChg chg="del">
          <ac:chgData name="Yash Ratanpal" userId="5db668b1-93e7-4c08-9786-4ed81315a653" providerId="ADAL" clId="{35CE40C1-3F8C-4A88-9CD7-233EB173ACA1}" dt="2021-08-09T19:02:36.937" v="15144" actId="478"/>
          <ac:graphicFrameMkLst>
            <pc:docMk/>
            <pc:sldMk cId="2038279813" sldId="1762"/>
            <ac:graphicFrameMk id="7" creationId="{6BD78B88-5C0E-4CAF-9465-90CF6E16CA91}"/>
          </ac:graphicFrameMkLst>
        </pc:graphicFrameChg>
        <pc:picChg chg="del">
          <ac:chgData name="Yash Ratanpal" userId="5db668b1-93e7-4c08-9786-4ed81315a653" providerId="ADAL" clId="{35CE40C1-3F8C-4A88-9CD7-233EB173ACA1}" dt="2021-08-09T19:02:38.191" v="15145" actId="478"/>
          <ac:picMkLst>
            <pc:docMk/>
            <pc:sldMk cId="2038279813" sldId="1762"/>
            <ac:picMk id="11" creationId="{27B2CDF9-1D7D-492B-9749-E4331415F673}"/>
          </ac:picMkLst>
        </pc:picChg>
        <pc:picChg chg="del">
          <ac:chgData name="Yash Ratanpal" userId="5db668b1-93e7-4c08-9786-4ed81315a653" providerId="ADAL" clId="{35CE40C1-3F8C-4A88-9CD7-233EB173ACA1}" dt="2021-08-09T19:02:36.937" v="15144" actId="478"/>
          <ac:picMkLst>
            <pc:docMk/>
            <pc:sldMk cId="2038279813" sldId="1762"/>
            <ac:picMk id="13" creationId="{DA255C5E-254A-462E-A948-8C02E4C63501}"/>
          </ac:picMkLst>
        </pc:picChg>
        <pc:picChg chg="add mod">
          <ac:chgData name="Yash Ratanpal" userId="5db668b1-93e7-4c08-9786-4ed81315a653" providerId="ADAL" clId="{35CE40C1-3F8C-4A88-9CD7-233EB173ACA1}" dt="2021-08-09T19:09:01.563" v="15303" actId="1076"/>
          <ac:picMkLst>
            <pc:docMk/>
            <pc:sldMk cId="2038279813" sldId="1762"/>
            <ac:picMk id="19" creationId="{5AB4568F-B817-49C0-B744-44AEA567D788}"/>
          </ac:picMkLst>
        </pc:picChg>
      </pc:sldChg>
      <pc:sldChg chg="addSp delSp modSp add mod">
        <pc:chgData name="Yash Ratanpal" userId="5db668b1-93e7-4c08-9786-4ed81315a653" providerId="ADAL" clId="{35CE40C1-3F8C-4A88-9CD7-233EB173ACA1}" dt="2021-08-09T19:51:43.646" v="18983" actId="1076"/>
        <pc:sldMkLst>
          <pc:docMk/>
          <pc:sldMk cId="1231805346" sldId="1763"/>
        </pc:sldMkLst>
        <pc:spChg chg="mod">
          <ac:chgData name="Yash Ratanpal" userId="5db668b1-93e7-4c08-9786-4ed81315a653" providerId="ADAL" clId="{35CE40C1-3F8C-4A88-9CD7-233EB173ACA1}" dt="2021-08-09T19:39:48.480" v="17500" actId="1076"/>
          <ac:spMkLst>
            <pc:docMk/>
            <pc:sldMk cId="1231805346" sldId="1763"/>
            <ac:spMk id="24" creationId="{EEDF321D-65E5-4E2C-94A3-CA6E25D2B4E1}"/>
          </ac:spMkLst>
        </pc:spChg>
        <pc:spChg chg="del mod">
          <ac:chgData name="Yash Ratanpal" userId="5db668b1-93e7-4c08-9786-4ed81315a653" providerId="ADAL" clId="{35CE40C1-3F8C-4A88-9CD7-233EB173ACA1}" dt="2021-08-09T19:39:47.175" v="17498" actId="478"/>
          <ac:spMkLst>
            <pc:docMk/>
            <pc:sldMk cId="1231805346" sldId="1763"/>
            <ac:spMk id="25" creationId="{154178BC-23D4-4CD2-BDD2-A40047BDC58F}"/>
          </ac:spMkLst>
        </pc:spChg>
        <pc:spChg chg="add mod">
          <ac:chgData name="Yash Ratanpal" userId="5db668b1-93e7-4c08-9786-4ed81315a653" providerId="ADAL" clId="{35CE40C1-3F8C-4A88-9CD7-233EB173ACA1}" dt="2021-08-09T19:43:20.001" v="17901" actId="1076"/>
          <ac:spMkLst>
            <pc:docMk/>
            <pc:sldMk cId="1231805346" sldId="1763"/>
            <ac:spMk id="26" creationId="{5BC710FB-083E-4584-A993-36C4FFE74639}"/>
          </ac:spMkLst>
        </pc:spChg>
        <pc:spChg chg="add mod">
          <ac:chgData name="Yash Ratanpal" userId="5db668b1-93e7-4c08-9786-4ed81315a653" providerId="ADAL" clId="{35CE40C1-3F8C-4A88-9CD7-233EB173ACA1}" dt="2021-08-09T19:43:22.443" v="17902" actId="1076"/>
          <ac:spMkLst>
            <pc:docMk/>
            <pc:sldMk cId="1231805346" sldId="1763"/>
            <ac:spMk id="27" creationId="{15445C92-C181-472F-BB59-17AF373E4DD5}"/>
          </ac:spMkLst>
        </pc:spChg>
        <pc:spChg chg="add mod">
          <ac:chgData name="Yash Ratanpal" userId="5db668b1-93e7-4c08-9786-4ed81315a653" providerId="ADAL" clId="{35CE40C1-3F8C-4A88-9CD7-233EB173ACA1}" dt="2021-08-09T19:40:28.148" v="17581" actId="20577"/>
          <ac:spMkLst>
            <pc:docMk/>
            <pc:sldMk cId="1231805346" sldId="1763"/>
            <ac:spMk id="28" creationId="{4530499A-66FC-4C8F-92CD-EB146C07A5AA}"/>
          </ac:spMkLst>
        </pc:spChg>
        <pc:spChg chg="del mod">
          <ac:chgData name="Yash Ratanpal" userId="5db668b1-93e7-4c08-9786-4ed81315a653" providerId="ADAL" clId="{35CE40C1-3F8C-4A88-9CD7-233EB173ACA1}" dt="2021-08-09T19:39:47.175" v="17498" actId="478"/>
          <ac:spMkLst>
            <pc:docMk/>
            <pc:sldMk cId="1231805346" sldId="1763"/>
            <ac:spMk id="32" creationId="{4D382AFD-FC41-405A-B827-5609772C9CE5}"/>
          </ac:spMkLst>
        </pc:spChg>
        <pc:spChg chg="del mod">
          <ac:chgData name="Yash Ratanpal" userId="5db668b1-93e7-4c08-9786-4ed81315a653" providerId="ADAL" clId="{35CE40C1-3F8C-4A88-9CD7-233EB173ACA1}" dt="2021-08-09T19:39:47.175" v="17498" actId="478"/>
          <ac:spMkLst>
            <pc:docMk/>
            <pc:sldMk cId="1231805346" sldId="1763"/>
            <ac:spMk id="33" creationId="{8AB58FA2-47C8-44FB-A70E-3CB21A5052AF}"/>
          </ac:spMkLst>
        </pc:spChg>
        <pc:spChg chg="add mod">
          <ac:chgData name="Yash Ratanpal" userId="5db668b1-93e7-4c08-9786-4ed81315a653" providerId="ADAL" clId="{35CE40C1-3F8C-4A88-9CD7-233EB173ACA1}" dt="2021-08-09T19:43:35.086" v="17921" actId="20577"/>
          <ac:spMkLst>
            <pc:docMk/>
            <pc:sldMk cId="1231805346" sldId="1763"/>
            <ac:spMk id="34" creationId="{90EF2BC5-966D-4F52-BD21-5539CA8699CA}"/>
          </ac:spMkLst>
        </pc:spChg>
        <pc:spChg chg="del mod">
          <ac:chgData name="Yash Ratanpal" userId="5db668b1-93e7-4c08-9786-4ed81315a653" providerId="ADAL" clId="{35CE40C1-3F8C-4A88-9CD7-233EB173ACA1}" dt="2021-08-09T19:39:47.175" v="17498" actId="478"/>
          <ac:spMkLst>
            <pc:docMk/>
            <pc:sldMk cId="1231805346" sldId="1763"/>
            <ac:spMk id="45" creationId="{8F37BF69-8CE0-47C9-B7B4-135029BF3446}"/>
          </ac:spMkLst>
        </pc:spChg>
        <pc:spChg chg="mod">
          <ac:chgData name="Yash Ratanpal" userId="5db668b1-93e7-4c08-9786-4ed81315a653" providerId="ADAL" clId="{35CE40C1-3F8C-4A88-9CD7-233EB173ACA1}" dt="2021-08-09T19:50:29.366" v="18841" actId="20577"/>
          <ac:spMkLst>
            <pc:docMk/>
            <pc:sldMk cId="1231805346" sldId="1763"/>
            <ac:spMk id="60" creationId="{729B6CF5-D5E7-440D-BDBC-C8463B81AE93}"/>
          </ac:spMkLst>
        </pc:spChg>
        <pc:spChg chg="mod">
          <ac:chgData name="Yash Ratanpal" userId="5db668b1-93e7-4c08-9786-4ed81315a653" providerId="ADAL" clId="{35CE40C1-3F8C-4A88-9CD7-233EB173ACA1}" dt="2021-08-09T19:51:22.727" v="18918" actId="1076"/>
          <ac:spMkLst>
            <pc:docMk/>
            <pc:sldMk cId="1231805346" sldId="1763"/>
            <ac:spMk id="61" creationId="{6FACB367-ACD8-4494-9368-25A3A450C428}"/>
          </ac:spMkLst>
        </pc:spChg>
        <pc:spChg chg="mod">
          <ac:chgData name="Yash Ratanpal" userId="5db668b1-93e7-4c08-9786-4ed81315a653" providerId="ADAL" clId="{35CE40C1-3F8C-4A88-9CD7-233EB173ACA1}" dt="2021-08-09T19:51:12.186" v="18917" actId="20577"/>
          <ac:spMkLst>
            <pc:docMk/>
            <pc:sldMk cId="1231805346" sldId="1763"/>
            <ac:spMk id="62" creationId="{ABAA9FED-1F29-42EA-9654-C06972C5750F}"/>
          </ac:spMkLst>
        </pc:spChg>
        <pc:spChg chg="mod">
          <ac:chgData name="Yash Ratanpal" userId="5db668b1-93e7-4c08-9786-4ed81315a653" providerId="ADAL" clId="{35CE40C1-3F8C-4A88-9CD7-233EB173ACA1}" dt="2021-08-09T19:51:43.646" v="18983" actId="1076"/>
          <ac:spMkLst>
            <pc:docMk/>
            <pc:sldMk cId="1231805346" sldId="1763"/>
            <ac:spMk id="63" creationId="{7B2EFFAE-9F06-4E7F-B4AE-04D99DD46CC1}"/>
          </ac:spMkLst>
        </pc:spChg>
      </pc:sldChg>
      <pc:sldChg chg="add del">
        <pc:chgData name="Yash Ratanpal" userId="5db668b1-93e7-4c08-9786-4ed81315a653" providerId="ADAL" clId="{35CE40C1-3F8C-4A88-9CD7-233EB173ACA1}" dt="2021-08-09T19:48:33.533" v="18699" actId="47"/>
        <pc:sldMkLst>
          <pc:docMk/>
          <pc:sldMk cId="1835942832" sldId="1764"/>
        </pc:sldMkLst>
      </pc:sldChg>
    </pc:docChg>
  </pc:docChgLst>
  <pc:docChgLst>
    <pc:chgData name="Yash Ratanpal" userId="5db668b1-93e7-4c08-9786-4ed81315a653" providerId="ADAL" clId="{3F7A7787-00CA-42A0-97CD-637349527123}"/>
    <pc:docChg chg="undo redo custSel addSld delSld modSld sldOrd delMainMaster modMainMaster modNotesMaster">
      <pc:chgData name="Yash Ratanpal" userId="5db668b1-93e7-4c08-9786-4ed81315a653" providerId="ADAL" clId="{3F7A7787-00CA-42A0-97CD-637349527123}" dt="2021-07-25T07:17:28.630" v="9171" actId="403"/>
      <pc:docMkLst>
        <pc:docMk/>
      </pc:docMkLst>
      <pc:sldChg chg="addSp del mod">
        <pc:chgData name="Yash Ratanpal" userId="5db668b1-93e7-4c08-9786-4ed81315a653" providerId="ADAL" clId="{3F7A7787-00CA-42A0-97CD-637349527123}" dt="2021-07-11T11:28:40.077" v="125" actId="47"/>
        <pc:sldMkLst>
          <pc:docMk/>
          <pc:sldMk cId="0" sldId="256"/>
        </pc:sldMkLst>
        <pc:spChg chg="add">
          <ac:chgData name="Yash Ratanpal" userId="5db668b1-93e7-4c08-9786-4ed81315a653" providerId="ADAL" clId="{3F7A7787-00CA-42A0-97CD-637349527123}" dt="2021-07-11T11:28:37.151" v="124" actId="22"/>
          <ac:spMkLst>
            <pc:docMk/>
            <pc:sldMk cId="0" sldId="256"/>
            <ac:spMk id="10" creationId="{3D26B867-3336-4241-B953-53A84E3F0DCC}"/>
          </ac:spMkLst>
        </pc:spChg>
      </pc:sldChg>
      <pc:sldChg chg="addSp modSp del mod ord">
        <pc:chgData name="Yash Ratanpal" userId="5db668b1-93e7-4c08-9786-4ed81315a653" providerId="ADAL" clId="{3F7A7787-00CA-42A0-97CD-637349527123}" dt="2021-07-18T14:23:02.550" v="3605" actId="14100"/>
        <pc:sldMkLst>
          <pc:docMk/>
          <pc:sldMk cId="2430438564" sldId="261"/>
        </pc:sldMkLst>
        <pc:spChg chg="mod">
          <ac:chgData name="Yash Ratanpal" userId="5db668b1-93e7-4c08-9786-4ed81315a653" providerId="ADAL" clId="{3F7A7787-00CA-42A0-97CD-637349527123}" dt="2021-07-18T14:23:02.550" v="3605" actId="14100"/>
          <ac:spMkLst>
            <pc:docMk/>
            <pc:sldMk cId="2430438564" sldId="261"/>
            <ac:spMk id="4" creationId="{00000000-0000-0000-0000-000000000000}"/>
          </ac:spMkLst>
        </pc:spChg>
        <pc:spChg chg="mod">
          <ac:chgData name="Yash Ratanpal" userId="5db668b1-93e7-4c08-9786-4ed81315a653" providerId="ADAL" clId="{3F7A7787-00CA-42A0-97CD-637349527123}" dt="2021-07-11T14:33:00.459" v="3108" actId="403"/>
          <ac:spMkLst>
            <pc:docMk/>
            <pc:sldMk cId="2430438564" sldId="261"/>
            <ac:spMk id="5" creationId="{00000000-0000-0000-0000-000000000000}"/>
          </ac:spMkLst>
        </pc:spChg>
        <pc:spChg chg="mod">
          <ac:chgData name="Yash Ratanpal" userId="5db668b1-93e7-4c08-9786-4ed81315a653" providerId="ADAL" clId="{3F7A7787-00CA-42A0-97CD-637349527123}" dt="2021-07-11T14:32:46.592" v="3104" actId="1076"/>
          <ac:spMkLst>
            <pc:docMk/>
            <pc:sldMk cId="2430438564" sldId="261"/>
            <ac:spMk id="6" creationId="{00000000-0000-0000-0000-000000000000}"/>
          </ac:spMkLst>
        </pc:spChg>
        <pc:spChg chg="add mod">
          <ac:chgData name="Yash Ratanpal" userId="5db668b1-93e7-4c08-9786-4ed81315a653" providerId="ADAL" clId="{3F7A7787-00CA-42A0-97CD-637349527123}" dt="2021-07-11T14:32:46.592" v="3104" actId="1076"/>
          <ac:spMkLst>
            <pc:docMk/>
            <pc:sldMk cId="2430438564" sldId="261"/>
            <ac:spMk id="7" creationId="{298E5229-BC68-427A-9FC7-DAECE7307C13}"/>
          </ac:spMkLst>
        </pc:spChg>
        <pc:picChg chg="mod">
          <ac:chgData name="Yash Ratanpal" userId="5db668b1-93e7-4c08-9786-4ed81315a653" providerId="ADAL" clId="{3F7A7787-00CA-42A0-97CD-637349527123}" dt="2021-07-11T11:37:51.357" v="246"/>
          <ac:picMkLst>
            <pc:docMk/>
            <pc:sldMk cId="2430438564" sldId="261"/>
            <ac:picMk id="3" creationId="{00000000-0000-0000-0000-000000000000}"/>
          </ac:picMkLst>
        </pc:picChg>
      </pc:sldChg>
      <pc:sldChg chg="addSp delSp modSp del mod modNotes">
        <pc:chgData name="Yash Ratanpal" userId="5db668b1-93e7-4c08-9786-4ed81315a653" providerId="ADAL" clId="{3F7A7787-00CA-42A0-97CD-637349527123}" dt="2021-07-11T11:41:09.151" v="329" actId="47"/>
        <pc:sldMkLst>
          <pc:docMk/>
          <pc:sldMk cId="1600939351" sldId="262"/>
        </pc:sldMkLst>
        <pc:spChg chg="mod">
          <ac:chgData name="Yash Ratanpal" userId="5db668b1-93e7-4c08-9786-4ed81315a653" providerId="ADAL" clId="{3F7A7787-00CA-42A0-97CD-637349527123}" dt="2021-07-11T11:40:21.695" v="318" actId="404"/>
          <ac:spMkLst>
            <pc:docMk/>
            <pc:sldMk cId="1600939351" sldId="262"/>
            <ac:spMk id="3" creationId="{00000000-0000-0000-0000-000000000000}"/>
          </ac:spMkLst>
        </pc:spChg>
        <pc:spChg chg="mod">
          <ac:chgData name="Yash Ratanpal" userId="5db668b1-93e7-4c08-9786-4ed81315a653" providerId="ADAL" clId="{3F7A7787-00CA-42A0-97CD-637349527123}" dt="2021-07-11T11:38:28.689" v="252" actId="14100"/>
          <ac:spMkLst>
            <pc:docMk/>
            <pc:sldMk cId="1600939351" sldId="262"/>
            <ac:spMk id="4" creationId="{00000000-0000-0000-0000-000000000000}"/>
          </ac:spMkLst>
        </pc:spChg>
        <pc:spChg chg="del mod">
          <ac:chgData name="Yash Ratanpal" userId="5db668b1-93e7-4c08-9786-4ed81315a653" providerId="ADAL" clId="{3F7A7787-00CA-42A0-97CD-637349527123}" dt="2021-07-11T11:38:35.162" v="254" actId="478"/>
          <ac:spMkLst>
            <pc:docMk/>
            <pc:sldMk cId="1600939351" sldId="262"/>
            <ac:spMk id="5" creationId="{00000000-0000-0000-0000-000000000000}"/>
          </ac:spMkLst>
        </pc:spChg>
        <pc:spChg chg="add del">
          <ac:chgData name="Yash Ratanpal" userId="5db668b1-93e7-4c08-9786-4ed81315a653" providerId="ADAL" clId="{3F7A7787-00CA-42A0-97CD-637349527123}" dt="2021-07-11T11:28:47.977" v="127" actId="22"/>
          <ac:spMkLst>
            <pc:docMk/>
            <pc:sldMk cId="1600939351" sldId="262"/>
            <ac:spMk id="7" creationId="{B3CB2E44-6700-4F03-B82A-1EED9E97FB08}"/>
          </ac:spMkLst>
        </pc:spChg>
        <pc:spChg chg="add del">
          <ac:chgData name="Yash Ratanpal" userId="5db668b1-93e7-4c08-9786-4ed81315a653" providerId="ADAL" clId="{3F7A7787-00CA-42A0-97CD-637349527123}" dt="2021-07-11T11:28:55.685" v="129" actId="22"/>
          <ac:spMkLst>
            <pc:docMk/>
            <pc:sldMk cId="1600939351" sldId="262"/>
            <ac:spMk id="9" creationId="{8966C224-1314-42FD-AB8A-99F3AE6F0034}"/>
          </ac:spMkLst>
        </pc:spChg>
        <pc:picChg chg="mod">
          <ac:chgData name="Yash Ratanpal" userId="5db668b1-93e7-4c08-9786-4ed81315a653" providerId="ADAL" clId="{3F7A7787-00CA-42A0-97CD-637349527123}" dt="2021-07-11T11:38:14.836" v="247" actId="1076"/>
          <ac:picMkLst>
            <pc:docMk/>
            <pc:sldMk cId="1600939351" sldId="262"/>
            <ac:picMk id="2" creationId="{00000000-0000-0000-0000-000000000000}"/>
          </ac:picMkLst>
        </pc:picChg>
      </pc:sldChg>
      <pc:sldChg chg="addSp delSp modSp del mod ord modNotes">
        <pc:chgData name="Yash Ratanpal" userId="5db668b1-93e7-4c08-9786-4ed81315a653" providerId="ADAL" clId="{3F7A7787-00CA-42A0-97CD-637349527123}" dt="2021-07-11T11:40:31.199" v="320" actId="47"/>
        <pc:sldMkLst>
          <pc:docMk/>
          <pc:sldMk cId="1336739376" sldId="263"/>
        </pc:sldMkLst>
        <pc:spChg chg="mod">
          <ac:chgData name="Yash Ratanpal" userId="5db668b1-93e7-4c08-9786-4ed81315a653" providerId="ADAL" clId="{3F7A7787-00CA-42A0-97CD-637349527123}" dt="2021-07-11T11:37:51.357" v="246"/>
          <ac:spMkLst>
            <pc:docMk/>
            <pc:sldMk cId="1336739376" sldId="263"/>
            <ac:spMk id="3" creationId="{00000000-0000-0000-0000-000000000000}"/>
          </ac:spMkLst>
        </pc:spChg>
        <pc:spChg chg="mod">
          <ac:chgData name="Yash Ratanpal" userId="5db668b1-93e7-4c08-9786-4ed81315a653" providerId="ADAL" clId="{3F7A7787-00CA-42A0-97CD-637349527123}" dt="2021-07-11T11:37:51.357" v="246"/>
          <ac:spMkLst>
            <pc:docMk/>
            <pc:sldMk cId="1336739376" sldId="263"/>
            <ac:spMk id="4" creationId="{00000000-0000-0000-0000-000000000000}"/>
          </ac:spMkLst>
        </pc:spChg>
        <pc:spChg chg="del">
          <ac:chgData name="Yash Ratanpal" userId="5db668b1-93e7-4c08-9786-4ed81315a653" providerId="ADAL" clId="{3F7A7787-00CA-42A0-97CD-637349527123}" dt="2021-07-11T11:36:34.099" v="242" actId="478"/>
          <ac:spMkLst>
            <pc:docMk/>
            <pc:sldMk cId="1336739376" sldId="263"/>
            <ac:spMk id="5" creationId="{00000000-0000-0000-0000-000000000000}"/>
          </ac:spMkLst>
        </pc:spChg>
        <pc:spChg chg="add mod">
          <ac:chgData name="Yash Ratanpal" userId="5db668b1-93e7-4c08-9786-4ed81315a653" providerId="ADAL" clId="{3F7A7787-00CA-42A0-97CD-637349527123}" dt="2021-07-11T11:37:51.357" v="246"/>
          <ac:spMkLst>
            <pc:docMk/>
            <pc:sldMk cId="1336739376" sldId="263"/>
            <ac:spMk id="47" creationId="{4DAC4464-A53C-443E-9AF1-068205DA3519}"/>
          </ac:spMkLst>
        </pc:spChg>
        <pc:spChg chg="add mod">
          <ac:chgData name="Yash Ratanpal" userId="5db668b1-93e7-4c08-9786-4ed81315a653" providerId="ADAL" clId="{3F7A7787-00CA-42A0-97CD-637349527123}" dt="2021-07-11T11:37:51.357" v="246"/>
          <ac:spMkLst>
            <pc:docMk/>
            <pc:sldMk cId="1336739376" sldId="263"/>
            <ac:spMk id="48" creationId="{81E410F7-AEF2-4411-82A1-F8B20A7B2727}"/>
          </ac:spMkLst>
        </pc:spChg>
        <pc:spChg chg="add mod">
          <ac:chgData name="Yash Ratanpal" userId="5db668b1-93e7-4c08-9786-4ed81315a653" providerId="ADAL" clId="{3F7A7787-00CA-42A0-97CD-637349527123}" dt="2021-07-11T11:37:51.357" v="246"/>
          <ac:spMkLst>
            <pc:docMk/>
            <pc:sldMk cId="1336739376" sldId="263"/>
            <ac:spMk id="50" creationId="{C68FF249-CA04-441D-895C-045C49BE4A3B}"/>
          </ac:spMkLst>
        </pc:spChg>
        <pc:spChg chg="add mod">
          <ac:chgData name="Yash Ratanpal" userId="5db668b1-93e7-4c08-9786-4ed81315a653" providerId="ADAL" clId="{3F7A7787-00CA-42A0-97CD-637349527123}" dt="2021-07-11T11:37:51.357" v="246"/>
          <ac:spMkLst>
            <pc:docMk/>
            <pc:sldMk cId="1336739376" sldId="263"/>
            <ac:spMk id="51" creationId="{E1149B7E-87C2-4A5B-99B1-2FD664E1CD23}"/>
          </ac:spMkLst>
        </pc:spChg>
        <pc:spChg chg="add mod">
          <ac:chgData name="Yash Ratanpal" userId="5db668b1-93e7-4c08-9786-4ed81315a653" providerId="ADAL" clId="{3F7A7787-00CA-42A0-97CD-637349527123}" dt="2021-07-11T11:37:51.357" v="246"/>
          <ac:spMkLst>
            <pc:docMk/>
            <pc:sldMk cId="1336739376" sldId="263"/>
            <ac:spMk id="52" creationId="{2B5FCD84-BC36-44E6-81A8-16EAFC148DC4}"/>
          </ac:spMkLst>
        </pc:spChg>
        <pc:spChg chg="add mod">
          <ac:chgData name="Yash Ratanpal" userId="5db668b1-93e7-4c08-9786-4ed81315a653" providerId="ADAL" clId="{3F7A7787-00CA-42A0-97CD-637349527123}" dt="2021-07-11T11:37:51.357" v="246"/>
          <ac:spMkLst>
            <pc:docMk/>
            <pc:sldMk cId="1336739376" sldId="263"/>
            <ac:spMk id="53" creationId="{4586EF83-370C-4967-BEB8-6FE106106651}"/>
          </ac:spMkLst>
        </pc:spChg>
        <pc:spChg chg="add mod">
          <ac:chgData name="Yash Ratanpal" userId="5db668b1-93e7-4c08-9786-4ed81315a653" providerId="ADAL" clId="{3F7A7787-00CA-42A0-97CD-637349527123}" dt="2021-07-11T11:37:51.357" v="246"/>
          <ac:spMkLst>
            <pc:docMk/>
            <pc:sldMk cId="1336739376" sldId="263"/>
            <ac:spMk id="54" creationId="{71787A4D-E06B-4894-9651-1B9D5CFFCCEB}"/>
          </ac:spMkLst>
        </pc:spChg>
        <pc:spChg chg="add mod">
          <ac:chgData name="Yash Ratanpal" userId="5db668b1-93e7-4c08-9786-4ed81315a653" providerId="ADAL" clId="{3F7A7787-00CA-42A0-97CD-637349527123}" dt="2021-07-11T11:37:51.357" v="246"/>
          <ac:spMkLst>
            <pc:docMk/>
            <pc:sldMk cId="1336739376" sldId="263"/>
            <ac:spMk id="55" creationId="{94269F93-D1F1-4E65-A76D-C9116A76850D}"/>
          </ac:spMkLst>
        </pc:spChg>
        <pc:spChg chg="add mod">
          <ac:chgData name="Yash Ratanpal" userId="5db668b1-93e7-4c08-9786-4ed81315a653" providerId="ADAL" clId="{3F7A7787-00CA-42A0-97CD-637349527123}" dt="2021-07-11T11:37:51.357" v="246"/>
          <ac:spMkLst>
            <pc:docMk/>
            <pc:sldMk cId="1336739376" sldId="263"/>
            <ac:spMk id="56" creationId="{9EAFB3BC-1A56-47EB-9E82-0CEC4D1D3E32}"/>
          </ac:spMkLst>
        </pc:spChg>
        <pc:spChg chg="add mod">
          <ac:chgData name="Yash Ratanpal" userId="5db668b1-93e7-4c08-9786-4ed81315a653" providerId="ADAL" clId="{3F7A7787-00CA-42A0-97CD-637349527123}" dt="2021-07-11T11:37:51.357" v="246"/>
          <ac:spMkLst>
            <pc:docMk/>
            <pc:sldMk cId="1336739376" sldId="263"/>
            <ac:spMk id="57" creationId="{B8E90F0E-D7BA-4DEC-AA93-5CC604C5D149}"/>
          </ac:spMkLst>
        </pc:spChg>
        <pc:spChg chg="add mod">
          <ac:chgData name="Yash Ratanpal" userId="5db668b1-93e7-4c08-9786-4ed81315a653" providerId="ADAL" clId="{3F7A7787-00CA-42A0-97CD-637349527123}" dt="2021-07-11T11:37:51.357" v="246"/>
          <ac:spMkLst>
            <pc:docMk/>
            <pc:sldMk cId="1336739376" sldId="263"/>
            <ac:spMk id="58" creationId="{A163B2BD-FE45-496D-97D0-909E04AE0D19}"/>
          </ac:spMkLst>
        </pc:spChg>
        <pc:spChg chg="add mod">
          <ac:chgData name="Yash Ratanpal" userId="5db668b1-93e7-4c08-9786-4ed81315a653" providerId="ADAL" clId="{3F7A7787-00CA-42A0-97CD-637349527123}" dt="2021-07-11T11:37:51.357" v="246"/>
          <ac:spMkLst>
            <pc:docMk/>
            <pc:sldMk cId="1336739376" sldId="263"/>
            <ac:spMk id="59" creationId="{44A5B718-D118-4E70-B8C9-4A9C24E6A17E}"/>
          </ac:spMkLst>
        </pc:spChg>
        <pc:spChg chg="add mod">
          <ac:chgData name="Yash Ratanpal" userId="5db668b1-93e7-4c08-9786-4ed81315a653" providerId="ADAL" clId="{3F7A7787-00CA-42A0-97CD-637349527123}" dt="2021-07-11T11:37:51.357" v="246"/>
          <ac:spMkLst>
            <pc:docMk/>
            <pc:sldMk cId="1336739376" sldId="263"/>
            <ac:spMk id="60" creationId="{112D75D8-69CB-403F-9825-26A8E7253C78}"/>
          </ac:spMkLst>
        </pc:spChg>
        <pc:spChg chg="add mod">
          <ac:chgData name="Yash Ratanpal" userId="5db668b1-93e7-4c08-9786-4ed81315a653" providerId="ADAL" clId="{3F7A7787-00CA-42A0-97CD-637349527123}" dt="2021-07-11T11:37:51.357" v="246"/>
          <ac:spMkLst>
            <pc:docMk/>
            <pc:sldMk cId="1336739376" sldId="263"/>
            <ac:spMk id="61" creationId="{AA03D104-4694-4F23-B5CC-93CAF74CA131}"/>
          </ac:spMkLst>
        </pc:spChg>
        <pc:spChg chg="add mod">
          <ac:chgData name="Yash Ratanpal" userId="5db668b1-93e7-4c08-9786-4ed81315a653" providerId="ADAL" clId="{3F7A7787-00CA-42A0-97CD-637349527123}" dt="2021-07-11T11:37:51.357" v="246"/>
          <ac:spMkLst>
            <pc:docMk/>
            <pc:sldMk cId="1336739376" sldId="263"/>
            <ac:spMk id="62" creationId="{9D025A7C-74F6-41A2-9EF5-E7BADDCE5F1C}"/>
          </ac:spMkLst>
        </pc:spChg>
        <pc:spChg chg="add mod">
          <ac:chgData name="Yash Ratanpal" userId="5db668b1-93e7-4c08-9786-4ed81315a653" providerId="ADAL" clId="{3F7A7787-00CA-42A0-97CD-637349527123}" dt="2021-07-11T11:37:51.357" v="246"/>
          <ac:spMkLst>
            <pc:docMk/>
            <pc:sldMk cId="1336739376" sldId="263"/>
            <ac:spMk id="63" creationId="{A4FD0476-BF93-4B43-A0C3-B0C5CE4A6047}"/>
          </ac:spMkLst>
        </pc:spChg>
        <pc:spChg chg="add mod">
          <ac:chgData name="Yash Ratanpal" userId="5db668b1-93e7-4c08-9786-4ed81315a653" providerId="ADAL" clId="{3F7A7787-00CA-42A0-97CD-637349527123}" dt="2021-07-11T11:37:51.357" v="246"/>
          <ac:spMkLst>
            <pc:docMk/>
            <pc:sldMk cId="1336739376" sldId="263"/>
            <ac:spMk id="64" creationId="{DBFD0301-4863-433D-9033-9FA879C8C23D}"/>
          </ac:spMkLst>
        </pc:spChg>
        <pc:spChg chg="add mod">
          <ac:chgData name="Yash Ratanpal" userId="5db668b1-93e7-4c08-9786-4ed81315a653" providerId="ADAL" clId="{3F7A7787-00CA-42A0-97CD-637349527123}" dt="2021-07-11T11:37:51.357" v="246"/>
          <ac:spMkLst>
            <pc:docMk/>
            <pc:sldMk cId="1336739376" sldId="263"/>
            <ac:spMk id="65" creationId="{502F50EC-25D5-4DBD-8B97-0BB2EBE0D258}"/>
          </ac:spMkLst>
        </pc:spChg>
        <pc:spChg chg="add mod">
          <ac:chgData name="Yash Ratanpal" userId="5db668b1-93e7-4c08-9786-4ed81315a653" providerId="ADAL" clId="{3F7A7787-00CA-42A0-97CD-637349527123}" dt="2021-07-11T11:37:51.357" v="246"/>
          <ac:spMkLst>
            <pc:docMk/>
            <pc:sldMk cId="1336739376" sldId="263"/>
            <ac:spMk id="66" creationId="{E14B366C-4C43-452D-A28A-2AE8AC8C2E4C}"/>
          </ac:spMkLst>
        </pc:spChg>
        <pc:spChg chg="add mod">
          <ac:chgData name="Yash Ratanpal" userId="5db668b1-93e7-4c08-9786-4ed81315a653" providerId="ADAL" clId="{3F7A7787-00CA-42A0-97CD-637349527123}" dt="2021-07-11T11:37:51.357" v="246"/>
          <ac:spMkLst>
            <pc:docMk/>
            <pc:sldMk cId="1336739376" sldId="263"/>
            <ac:spMk id="67" creationId="{2ECA9FBC-EFAC-42F6-ADF6-DEBC25E12F81}"/>
          </ac:spMkLst>
        </pc:spChg>
        <pc:spChg chg="add mod">
          <ac:chgData name="Yash Ratanpal" userId="5db668b1-93e7-4c08-9786-4ed81315a653" providerId="ADAL" clId="{3F7A7787-00CA-42A0-97CD-637349527123}" dt="2021-07-11T11:37:51.357" v="246"/>
          <ac:spMkLst>
            <pc:docMk/>
            <pc:sldMk cId="1336739376" sldId="263"/>
            <ac:spMk id="68" creationId="{2173B6BF-FBFE-4EF6-981A-779EC6A4CCC4}"/>
          </ac:spMkLst>
        </pc:spChg>
        <pc:spChg chg="mod">
          <ac:chgData name="Yash Ratanpal" userId="5db668b1-93e7-4c08-9786-4ed81315a653" providerId="ADAL" clId="{3F7A7787-00CA-42A0-97CD-637349527123}" dt="2021-07-11T11:37:51.357" v="246"/>
          <ac:spMkLst>
            <pc:docMk/>
            <pc:sldMk cId="1336739376" sldId="263"/>
            <ac:spMk id="70" creationId="{405B6D9E-D82F-4418-9E4B-7E696B33A37E}"/>
          </ac:spMkLst>
        </pc:spChg>
        <pc:spChg chg="mod">
          <ac:chgData name="Yash Ratanpal" userId="5db668b1-93e7-4c08-9786-4ed81315a653" providerId="ADAL" clId="{3F7A7787-00CA-42A0-97CD-637349527123}" dt="2021-07-11T11:37:51.357" v="246"/>
          <ac:spMkLst>
            <pc:docMk/>
            <pc:sldMk cId="1336739376" sldId="263"/>
            <ac:spMk id="71" creationId="{F932F8A6-6D75-47B4-8E44-F146A1685B48}"/>
          </ac:spMkLst>
        </pc:spChg>
        <pc:spChg chg="mod">
          <ac:chgData name="Yash Ratanpal" userId="5db668b1-93e7-4c08-9786-4ed81315a653" providerId="ADAL" clId="{3F7A7787-00CA-42A0-97CD-637349527123}" dt="2021-07-11T11:37:51.357" v="246"/>
          <ac:spMkLst>
            <pc:docMk/>
            <pc:sldMk cId="1336739376" sldId="263"/>
            <ac:spMk id="72" creationId="{DA7B4789-3F86-4101-8348-B13794928D9E}"/>
          </ac:spMkLst>
        </pc:spChg>
        <pc:spChg chg="mod">
          <ac:chgData name="Yash Ratanpal" userId="5db668b1-93e7-4c08-9786-4ed81315a653" providerId="ADAL" clId="{3F7A7787-00CA-42A0-97CD-637349527123}" dt="2021-07-11T11:37:51.357" v="246"/>
          <ac:spMkLst>
            <pc:docMk/>
            <pc:sldMk cId="1336739376" sldId="263"/>
            <ac:spMk id="73" creationId="{7314CF57-7B9B-4BE3-93F3-A79220DB5B77}"/>
          </ac:spMkLst>
        </pc:spChg>
        <pc:spChg chg="mod">
          <ac:chgData name="Yash Ratanpal" userId="5db668b1-93e7-4c08-9786-4ed81315a653" providerId="ADAL" clId="{3F7A7787-00CA-42A0-97CD-637349527123}" dt="2021-07-11T11:37:51.357" v="246"/>
          <ac:spMkLst>
            <pc:docMk/>
            <pc:sldMk cId="1336739376" sldId="263"/>
            <ac:spMk id="74" creationId="{6332A619-F1F3-48BC-A3D1-6639066A316A}"/>
          </ac:spMkLst>
        </pc:spChg>
        <pc:spChg chg="mod">
          <ac:chgData name="Yash Ratanpal" userId="5db668b1-93e7-4c08-9786-4ed81315a653" providerId="ADAL" clId="{3F7A7787-00CA-42A0-97CD-637349527123}" dt="2021-07-11T11:37:51.357" v="246"/>
          <ac:spMkLst>
            <pc:docMk/>
            <pc:sldMk cId="1336739376" sldId="263"/>
            <ac:spMk id="75" creationId="{2F5622F7-FF96-4BFE-B62F-F8A43A7801ED}"/>
          </ac:spMkLst>
        </pc:spChg>
        <pc:spChg chg="mod">
          <ac:chgData name="Yash Ratanpal" userId="5db668b1-93e7-4c08-9786-4ed81315a653" providerId="ADAL" clId="{3F7A7787-00CA-42A0-97CD-637349527123}" dt="2021-07-11T11:37:51.357" v="246"/>
          <ac:spMkLst>
            <pc:docMk/>
            <pc:sldMk cId="1336739376" sldId="263"/>
            <ac:spMk id="76" creationId="{972A6D31-E8BC-4FD9-A110-0CA9F4DA6128}"/>
          </ac:spMkLst>
        </pc:spChg>
        <pc:spChg chg="mod">
          <ac:chgData name="Yash Ratanpal" userId="5db668b1-93e7-4c08-9786-4ed81315a653" providerId="ADAL" clId="{3F7A7787-00CA-42A0-97CD-637349527123}" dt="2021-07-11T11:37:51.357" v="246"/>
          <ac:spMkLst>
            <pc:docMk/>
            <pc:sldMk cId="1336739376" sldId="263"/>
            <ac:spMk id="77" creationId="{47391E76-72DA-459D-9DEA-8D67AAA2447D}"/>
          </ac:spMkLst>
        </pc:spChg>
        <pc:spChg chg="mod">
          <ac:chgData name="Yash Ratanpal" userId="5db668b1-93e7-4c08-9786-4ed81315a653" providerId="ADAL" clId="{3F7A7787-00CA-42A0-97CD-637349527123}" dt="2021-07-11T11:37:51.357" v="246"/>
          <ac:spMkLst>
            <pc:docMk/>
            <pc:sldMk cId="1336739376" sldId="263"/>
            <ac:spMk id="78" creationId="{FF1487C2-8117-40AC-A325-219F3D4FF51C}"/>
          </ac:spMkLst>
        </pc:spChg>
        <pc:spChg chg="mod">
          <ac:chgData name="Yash Ratanpal" userId="5db668b1-93e7-4c08-9786-4ed81315a653" providerId="ADAL" clId="{3F7A7787-00CA-42A0-97CD-637349527123}" dt="2021-07-11T11:37:51.357" v="246"/>
          <ac:spMkLst>
            <pc:docMk/>
            <pc:sldMk cId="1336739376" sldId="263"/>
            <ac:spMk id="79" creationId="{0158DD0A-C733-4415-9F56-A1C9E0F18ACD}"/>
          </ac:spMkLst>
        </pc:spChg>
        <pc:spChg chg="mod">
          <ac:chgData name="Yash Ratanpal" userId="5db668b1-93e7-4c08-9786-4ed81315a653" providerId="ADAL" clId="{3F7A7787-00CA-42A0-97CD-637349527123}" dt="2021-07-11T11:37:51.357" v="246"/>
          <ac:spMkLst>
            <pc:docMk/>
            <pc:sldMk cId="1336739376" sldId="263"/>
            <ac:spMk id="80" creationId="{9C167258-010C-4314-B42B-521D18628EBC}"/>
          </ac:spMkLst>
        </pc:spChg>
        <pc:spChg chg="mod">
          <ac:chgData name="Yash Ratanpal" userId="5db668b1-93e7-4c08-9786-4ed81315a653" providerId="ADAL" clId="{3F7A7787-00CA-42A0-97CD-637349527123}" dt="2021-07-11T11:37:51.357" v="246"/>
          <ac:spMkLst>
            <pc:docMk/>
            <pc:sldMk cId="1336739376" sldId="263"/>
            <ac:spMk id="81" creationId="{9ED552CA-6A39-4751-B5DE-A3284F32C3F3}"/>
          </ac:spMkLst>
        </pc:spChg>
        <pc:spChg chg="mod">
          <ac:chgData name="Yash Ratanpal" userId="5db668b1-93e7-4c08-9786-4ed81315a653" providerId="ADAL" clId="{3F7A7787-00CA-42A0-97CD-637349527123}" dt="2021-07-11T11:37:51.357" v="246"/>
          <ac:spMkLst>
            <pc:docMk/>
            <pc:sldMk cId="1336739376" sldId="263"/>
            <ac:spMk id="82" creationId="{1C92BED8-15C3-4169-92DA-8F98A9CF0C97}"/>
          </ac:spMkLst>
        </pc:spChg>
        <pc:spChg chg="mod">
          <ac:chgData name="Yash Ratanpal" userId="5db668b1-93e7-4c08-9786-4ed81315a653" providerId="ADAL" clId="{3F7A7787-00CA-42A0-97CD-637349527123}" dt="2021-07-11T11:37:51.357" v="246"/>
          <ac:spMkLst>
            <pc:docMk/>
            <pc:sldMk cId="1336739376" sldId="263"/>
            <ac:spMk id="83" creationId="{719A5EAE-0DC0-45ED-8F92-216FC88DA306}"/>
          </ac:spMkLst>
        </pc:spChg>
        <pc:spChg chg="mod">
          <ac:chgData name="Yash Ratanpal" userId="5db668b1-93e7-4c08-9786-4ed81315a653" providerId="ADAL" clId="{3F7A7787-00CA-42A0-97CD-637349527123}" dt="2021-07-11T11:37:51.357" v="246"/>
          <ac:spMkLst>
            <pc:docMk/>
            <pc:sldMk cId="1336739376" sldId="263"/>
            <ac:spMk id="84" creationId="{6EB03283-5958-461E-967A-9F8FDB45D1C9}"/>
          </ac:spMkLst>
        </pc:spChg>
        <pc:spChg chg="mod">
          <ac:chgData name="Yash Ratanpal" userId="5db668b1-93e7-4c08-9786-4ed81315a653" providerId="ADAL" clId="{3F7A7787-00CA-42A0-97CD-637349527123}" dt="2021-07-11T11:37:51.357" v="246"/>
          <ac:spMkLst>
            <pc:docMk/>
            <pc:sldMk cId="1336739376" sldId="263"/>
            <ac:spMk id="85" creationId="{3D1B7A89-9175-4275-BB71-AF0FD6D581A6}"/>
          </ac:spMkLst>
        </pc:spChg>
        <pc:spChg chg="mod">
          <ac:chgData name="Yash Ratanpal" userId="5db668b1-93e7-4c08-9786-4ed81315a653" providerId="ADAL" clId="{3F7A7787-00CA-42A0-97CD-637349527123}" dt="2021-07-11T11:37:51.357" v="246"/>
          <ac:spMkLst>
            <pc:docMk/>
            <pc:sldMk cId="1336739376" sldId="263"/>
            <ac:spMk id="86" creationId="{6C5F53F6-AD91-4324-836C-1745CE340D8B}"/>
          </ac:spMkLst>
        </pc:spChg>
        <pc:spChg chg="mod">
          <ac:chgData name="Yash Ratanpal" userId="5db668b1-93e7-4c08-9786-4ed81315a653" providerId="ADAL" clId="{3F7A7787-00CA-42A0-97CD-637349527123}" dt="2021-07-11T11:37:51.357" v="246"/>
          <ac:spMkLst>
            <pc:docMk/>
            <pc:sldMk cId="1336739376" sldId="263"/>
            <ac:spMk id="87" creationId="{D048DCFE-6813-4AC1-84AE-8EA8C2B4A30E}"/>
          </ac:spMkLst>
        </pc:spChg>
        <pc:grpChg chg="del">
          <ac:chgData name="Yash Ratanpal" userId="5db668b1-93e7-4c08-9786-4ed81315a653" providerId="ADAL" clId="{3F7A7787-00CA-42A0-97CD-637349527123}" dt="2021-07-11T11:36:09.514" v="234" actId="478"/>
          <ac:grpSpMkLst>
            <pc:docMk/>
            <pc:sldMk cId="1336739376" sldId="263"/>
            <ac:grpSpMk id="6" creationId="{0D899FFB-F75B-44EC-BBB4-7DECAC59A401}"/>
          </ac:grpSpMkLst>
        </pc:grpChg>
        <pc:grpChg chg="add mod">
          <ac:chgData name="Yash Ratanpal" userId="5db668b1-93e7-4c08-9786-4ed81315a653" providerId="ADAL" clId="{3F7A7787-00CA-42A0-97CD-637349527123}" dt="2021-07-11T11:37:51.357" v="246"/>
          <ac:grpSpMkLst>
            <pc:docMk/>
            <pc:sldMk cId="1336739376" sldId="263"/>
            <ac:grpSpMk id="9" creationId="{4B9F4D38-2C05-4E8B-94C3-DA42220AD8AD}"/>
          </ac:grpSpMkLst>
        </pc:grpChg>
        <pc:grpChg chg="del">
          <ac:chgData name="Yash Ratanpal" userId="5db668b1-93e7-4c08-9786-4ed81315a653" providerId="ADAL" clId="{3F7A7787-00CA-42A0-97CD-637349527123}" dt="2021-07-11T11:36:09.514" v="234" actId="478"/>
          <ac:grpSpMkLst>
            <pc:docMk/>
            <pc:sldMk cId="1336739376" sldId="263"/>
            <ac:grpSpMk id="46" creationId="{C4F3232E-DCF9-40B3-9A60-96C14B4589B1}"/>
          </ac:grpSpMkLst>
        </pc:grpChg>
        <pc:grpChg chg="add mod">
          <ac:chgData name="Yash Ratanpal" userId="5db668b1-93e7-4c08-9786-4ed81315a653" providerId="ADAL" clId="{3F7A7787-00CA-42A0-97CD-637349527123}" dt="2021-07-11T11:37:51.357" v="246"/>
          <ac:grpSpMkLst>
            <pc:docMk/>
            <pc:sldMk cId="1336739376" sldId="263"/>
            <ac:grpSpMk id="69" creationId="{24E02DDE-AB8B-451F-98E6-9605B736C80C}"/>
          </ac:grpSpMkLst>
        </pc:grpChg>
        <pc:picChg chg="mod">
          <ac:chgData name="Yash Ratanpal" userId="5db668b1-93e7-4c08-9786-4ed81315a653" providerId="ADAL" clId="{3F7A7787-00CA-42A0-97CD-637349527123}" dt="2021-07-11T11:37:51.357" v="246"/>
          <ac:picMkLst>
            <pc:docMk/>
            <pc:sldMk cId="1336739376" sldId="263"/>
            <ac:picMk id="2" creationId="{00000000-0000-0000-0000-000000000000}"/>
          </ac:picMkLst>
        </pc:picChg>
        <pc:picChg chg="add mod">
          <ac:chgData name="Yash Ratanpal" userId="5db668b1-93e7-4c08-9786-4ed81315a653" providerId="ADAL" clId="{3F7A7787-00CA-42A0-97CD-637349527123}" dt="2021-07-11T11:37:51.357" v="246"/>
          <ac:picMkLst>
            <pc:docMk/>
            <pc:sldMk cId="1336739376" sldId="263"/>
            <ac:picMk id="49" creationId="{6E9D6F39-73BC-4392-AE31-B29AF6F8F9A1}"/>
          </ac:picMkLst>
        </pc:picChg>
        <pc:cxnChg chg="mod">
          <ac:chgData name="Yash Ratanpal" userId="5db668b1-93e7-4c08-9786-4ed81315a653" providerId="ADAL" clId="{3F7A7787-00CA-42A0-97CD-637349527123}" dt="2021-07-11T11:36:09.514" v="234" actId="478"/>
          <ac:cxnSpMkLst>
            <pc:docMk/>
            <pc:sldMk cId="1336739376" sldId="263"/>
            <ac:cxnSpMk id="34" creationId="{27F4F03F-A056-4040-B260-8E231F72918A}"/>
          </ac:cxnSpMkLst>
        </pc:cxnChg>
        <pc:cxnChg chg="mod">
          <ac:chgData name="Yash Ratanpal" userId="5db668b1-93e7-4c08-9786-4ed81315a653" providerId="ADAL" clId="{3F7A7787-00CA-42A0-97CD-637349527123}" dt="2021-07-11T11:36:09.514" v="234" actId="478"/>
          <ac:cxnSpMkLst>
            <pc:docMk/>
            <pc:sldMk cId="1336739376" sldId="263"/>
            <ac:cxnSpMk id="36" creationId="{4674425A-3F8D-4CB6-9F5E-6DFD89810AE5}"/>
          </ac:cxnSpMkLst>
        </pc:cxnChg>
        <pc:cxnChg chg="mod">
          <ac:chgData name="Yash Ratanpal" userId="5db668b1-93e7-4c08-9786-4ed81315a653" providerId="ADAL" clId="{3F7A7787-00CA-42A0-97CD-637349527123}" dt="2021-07-11T11:36:09.514" v="234" actId="478"/>
          <ac:cxnSpMkLst>
            <pc:docMk/>
            <pc:sldMk cId="1336739376" sldId="263"/>
            <ac:cxnSpMk id="40" creationId="{6E803236-1F59-4D5F-A204-B6EF58517B0F}"/>
          </ac:cxnSpMkLst>
        </pc:cxnChg>
        <pc:cxnChg chg="mod">
          <ac:chgData name="Yash Ratanpal" userId="5db668b1-93e7-4c08-9786-4ed81315a653" providerId="ADAL" clId="{3F7A7787-00CA-42A0-97CD-637349527123}" dt="2021-07-11T11:36:09.514" v="234" actId="478"/>
          <ac:cxnSpMkLst>
            <pc:docMk/>
            <pc:sldMk cId="1336739376" sldId="263"/>
            <ac:cxnSpMk id="41" creationId="{64798EB0-11B6-4216-AB9B-793E591A21CB}"/>
          </ac:cxnSpMkLst>
        </pc:cxnChg>
        <pc:cxnChg chg="mod">
          <ac:chgData name="Yash Ratanpal" userId="5db668b1-93e7-4c08-9786-4ed81315a653" providerId="ADAL" clId="{3F7A7787-00CA-42A0-97CD-637349527123}" dt="2021-07-11T11:36:09.514" v="234" actId="478"/>
          <ac:cxnSpMkLst>
            <pc:docMk/>
            <pc:sldMk cId="1336739376" sldId="263"/>
            <ac:cxnSpMk id="43" creationId="{9D8A8B72-E2CF-40C4-93C1-C69A19D3661D}"/>
          </ac:cxnSpMkLst>
        </pc:cxnChg>
        <pc:cxnChg chg="mod">
          <ac:chgData name="Yash Ratanpal" userId="5db668b1-93e7-4c08-9786-4ed81315a653" providerId="ADAL" clId="{3F7A7787-00CA-42A0-97CD-637349527123}" dt="2021-07-11T11:36:09.514" v="234" actId="478"/>
          <ac:cxnSpMkLst>
            <pc:docMk/>
            <pc:sldMk cId="1336739376" sldId="263"/>
            <ac:cxnSpMk id="45" creationId="{9D30102F-36B9-4BCD-91EF-79E1D268497A}"/>
          </ac:cxnSpMkLst>
        </pc:cxnChg>
      </pc:sldChg>
      <pc:sldChg chg="modSp del modNotes">
        <pc:chgData name="Yash Ratanpal" userId="5db668b1-93e7-4c08-9786-4ed81315a653" providerId="ADAL" clId="{3F7A7787-00CA-42A0-97CD-637349527123}" dt="2021-07-11T13:45:16.602" v="1748" actId="47"/>
        <pc:sldMkLst>
          <pc:docMk/>
          <pc:sldMk cId="2028793494" sldId="264"/>
        </pc:sldMkLst>
        <pc:spChg chg="mod">
          <ac:chgData name="Yash Ratanpal" userId="5db668b1-93e7-4c08-9786-4ed81315a653" providerId="ADAL" clId="{3F7A7787-00CA-42A0-97CD-637349527123}" dt="2021-07-11T11:37:51.357" v="246"/>
          <ac:spMkLst>
            <pc:docMk/>
            <pc:sldMk cId="2028793494" sldId="264"/>
            <ac:spMk id="3" creationId="{00000000-0000-0000-0000-000000000000}"/>
          </ac:spMkLst>
        </pc:spChg>
        <pc:spChg chg="mod">
          <ac:chgData name="Yash Ratanpal" userId="5db668b1-93e7-4c08-9786-4ed81315a653" providerId="ADAL" clId="{3F7A7787-00CA-42A0-97CD-637349527123}" dt="2021-07-11T11:37:51.357" v="246"/>
          <ac:spMkLst>
            <pc:docMk/>
            <pc:sldMk cId="2028793494" sldId="264"/>
            <ac:spMk id="4" creationId="{00000000-0000-0000-0000-000000000000}"/>
          </ac:spMkLst>
        </pc:spChg>
        <pc:spChg chg="mod">
          <ac:chgData name="Yash Ratanpal" userId="5db668b1-93e7-4c08-9786-4ed81315a653" providerId="ADAL" clId="{3F7A7787-00CA-42A0-97CD-637349527123}" dt="2021-07-11T11:37:51.357" v="246"/>
          <ac:spMkLst>
            <pc:docMk/>
            <pc:sldMk cId="2028793494" sldId="264"/>
            <ac:spMk id="5" creationId="{00000000-0000-0000-0000-000000000000}"/>
          </ac:spMkLst>
        </pc:spChg>
        <pc:spChg chg="mod">
          <ac:chgData name="Yash Ratanpal" userId="5db668b1-93e7-4c08-9786-4ed81315a653" providerId="ADAL" clId="{3F7A7787-00CA-42A0-97CD-637349527123}" dt="2021-07-11T11:37:51.357" v="246"/>
          <ac:spMkLst>
            <pc:docMk/>
            <pc:sldMk cId="2028793494" sldId="264"/>
            <ac:spMk id="47" creationId="{219EEF5D-BD99-40C7-8E37-AA2F7A71022E}"/>
          </ac:spMkLst>
        </pc:spChg>
        <pc:spChg chg="mod">
          <ac:chgData name="Yash Ratanpal" userId="5db668b1-93e7-4c08-9786-4ed81315a653" providerId="ADAL" clId="{3F7A7787-00CA-42A0-97CD-637349527123}" dt="2021-07-11T11:37:51.357" v="246"/>
          <ac:spMkLst>
            <pc:docMk/>
            <pc:sldMk cId="2028793494" sldId="264"/>
            <ac:spMk id="49" creationId="{C8062AFA-7CD0-46D9-A393-9CA4564707C2}"/>
          </ac:spMkLst>
        </pc:spChg>
        <pc:spChg chg="mod">
          <ac:chgData name="Yash Ratanpal" userId="5db668b1-93e7-4c08-9786-4ed81315a653" providerId="ADAL" clId="{3F7A7787-00CA-42A0-97CD-637349527123}" dt="2021-07-11T11:37:51.357" v="246"/>
          <ac:spMkLst>
            <pc:docMk/>
            <pc:sldMk cId="2028793494" sldId="264"/>
            <ac:spMk id="50" creationId="{1D410A7E-AEF3-4E88-876A-237EB059EF39}"/>
          </ac:spMkLst>
        </pc:spChg>
        <pc:spChg chg="mod">
          <ac:chgData name="Yash Ratanpal" userId="5db668b1-93e7-4c08-9786-4ed81315a653" providerId="ADAL" clId="{3F7A7787-00CA-42A0-97CD-637349527123}" dt="2021-07-11T11:37:51.357" v="246"/>
          <ac:spMkLst>
            <pc:docMk/>
            <pc:sldMk cId="2028793494" sldId="264"/>
            <ac:spMk id="51" creationId="{4EB522A2-604B-4F69-993C-2102284C34BA}"/>
          </ac:spMkLst>
        </pc:spChg>
        <pc:spChg chg="mod">
          <ac:chgData name="Yash Ratanpal" userId="5db668b1-93e7-4c08-9786-4ed81315a653" providerId="ADAL" clId="{3F7A7787-00CA-42A0-97CD-637349527123}" dt="2021-07-11T11:37:51.357" v="246"/>
          <ac:spMkLst>
            <pc:docMk/>
            <pc:sldMk cId="2028793494" sldId="264"/>
            <ac:spMk id="52" creationId="{11E76E2F-1941-4140-AEC3-A0B008E4FECE}"/>
          </ac:spMkLst>
        </pc:spChg>
        <pc:spChg chg="mod">
          <ac:chgData name="Yash Ratanpal" userId="5db668b1-93e7-4c08-9786-4ed81315a653" providerId="ADAL" clId="{3F7A7787-00CA-42A0-97CD-637349527123}" dt="2021-07-11T11:37:51.357" v="246"/>
          <ac:spMkLst>
            <pc:docMk/>
            <pc:sldMk cId="2028793494" sldId="264"/>
            <ac:spMk id="53" creationId="{01EE82E9-A021-4841-861C-3302F7A62778}"/>
          </ac:spMkLst>
        </pc:spChg>
        <pc:spChg chg="mod">
          <ac:chgData name="Yash Ratanpal" userId="5db668b1-93e7-4c08-9786-4ed81315a653" providerId="ADAL" clId="{3F7A7787-00CA-42A0-97CD-637349527123}" dt="2021-07-11T11:37:51.357" v="246"/>
          <ac:spMkLst>
            <pc:docMk/>
            <pc:sldMk cId="2028793494" sldId="264"/>
            <ac:spMk id="54" creationId="{5D26C3EC-033B-4477-B7AD-A7C18878D3FC}"/>
          </ac:spMkLst>
        </pc:spChg>
        <pc:spChg chg="mod">
          <ac:chgData name="Yash Ratanpal" userId="5db668b1-93e7-4c08-9786-4ed81315a653" providerId="ADAL" clId="{3F7A7787-00CA-42A0-97CD-637349527123}" dt="2021-07-11T11:37:51.357" v="246"/>
          <ac:spMkLst>
            <pc:docMk/>
            <pc:sldMk cId="2028793494" sldId="264"/>
            <ac:spMk id="55" creationId="{58C9E54A-4CA5-492E-94F3-4C0991F948F0}"/>
          </ac:spMkLst>
        </pc:spChg>
        <pc:spChg chg="mod">
          <ac:chgData name="Yash Ratanpal" userId="5db668b1-93e7-4c08-9786-4ed81315a653" providerId="ADAL" clId="{3F7A7787-00CA-42A0-97CD-637349527123}" dt="2021-07-11T11:37:51.357" v="246"/>
          <ac:spMkLst>
            <pc:docMk/>
            <pc:sldMk cId="2028793494" sldId="264"/>
            <ac:spMk id="56" creationId="{BBED0A09-42FB-4A8B-9EB8-1BE0A3DF797D}"/>
          </ac:spMkLst>
        </pc:spChg>
        <pc:spChg chg="mod">
          <ac:chgData name="Yash Ratanpal" userId="5db668b1-93e7-4c08-9786-4ed81315a653" providerId="ADAL" clId="{3F7A7787-00CA-42A0-97CD-637349527123}" dt="2021-07-11T11:37:51.357" v="246"/>
          <ac:spMkLst>
            <pc:docMk/>
            <pc:sldMk cId="2028793494" sldId="264"/>
            <ac:spMk id="60" creationId="{9941EC88-DE69-4122-A963-96C0D5C136CF}"/>
          </ac:spMkLst>
        </pc:spChg>
        <pc:spChg chg="mod">
          <ac:chgData name="Yash Ratanpal" userId="5db668b1-93e7-4c08-9786-4ed81315a653" providerId="ADAL" clId="{3F7A7787-00CA-42A0-97CD-637349527123}" dt="2021-07-11T11:37:51.357" v="246"/>
          <ac:spMkLst>
            <pc:docMk/>
            <pc:sldMk cId="2028793494" sldId="264"/>
            <ac:spMk id="61" creationId="{95519439-A13E-4F9A-92C4-E22E1E6070FE}"/>
          </ac:spMkLst>
        </pc:spChg>
        <pc:spChg chg="mod">
          <ac:chgData name="Yash Ratanpal" userId="5db668b1-93e7-4c08-9786-4ed81315a653" providerId="ADAL" clId="{3F7A7787-00CA-42A0-97CD-637349527123}" dt="2021-07-11T11:37:51.357" v="246"/>
          <ac:spMkLst>
            <pc:docMk/>
            <pc:sldMk cId="2028793494" sldId="264"/>
            <ac:spMk id="62" creationId="{264940E2-42B6-4BE9-8F77-AAD6B06D5E05}"/>
          </ac:spMkLst>
        </pc:spChg>
        <pc:spChg chg="mod">
          <ac:chgData name="Yash Ratanpal" userId="5db668b1-93e7-4c08-9786-4ed81315a653" providerId="ADAL" clId="{3F7A7787-00CA-42A0-97CD-637349527123}" dt="2021-07-11T11:37:51.357" v="246"/>
          <ac:spMkLst>
            <pc:docMk/>
            <pc:sldMk cId="2028793494" sldId="264"/>
            <ac:spMk id="63" creationId="{D1676A1B-33C1-4012-8405-115684899B8B}"/>
          </ac:spMkLst>
        </pc:spChg>
        <pc:spChg chg="mod">
          <ac:chgData name="Yash Ratanpal" userId="5db668b1-93e7-4c08-9786-4ed81315a653" providerId="ADAL" clId="{3F7A7787-00CA-42A0-97CD-637349527123}" dt="2021-07-11T11:37:51.357" v="246"/>
          <ac:spMkLst>
            <pc:docMk/>
            <pc:sldMk cId="2028793494" sldId="264"/>
            <ac:spMk id="65" creationId="{85CF7C70-2130-4E7C-8872-DD79CF1D6970}"/>
          </ac:spMkLst>
        </pc:spChg>
        <pc:spChg chg="mod">
          <ac:chgData name="Yash Ratanpal" userId="5db668b1-93e7-4c08-9786-4ed81315a653" providerId="ADAL" clId="{3F7A7787-00CA-42A0-97CD-637349527123}" dt="2021-07-11T11:37:51.357" v="246"/>
          <ac:spMkLst>
            <pc:docMk/>
            <pc:sldMk cId="2028793494" sldId="264"/>
            <ac:spMk id="66" creationId="{69960B7D-5CA3-407B-A7EC-FDF5ACFCE6A6}"/>
          </ac:spMkLst>
        </pc:spChg>
        <pc:spChg chg="mod">
          <ac:chgData name="Yash Ratanpal" userId="5db668b1-93e7-4c08-9786-4ed81315a653" providerId="ADAL" clId="{3F7A7787-00CA-42A0-97CD-637349527123}" dt="2021-07-11T11:37:51.357" v="246"/>
          <ac:spMkLst>
            <pc:docMk/>
            <pc:sldMk cId="2028793494" sldId="264"/>
            <ac:spMk id="67" creationId="{4A179F7A-C0AB-4000-9801-6BC932B029D4}"/>
          </ac:spMkLst>
        </pc:spChg>
        <pc:spChg chg="mod">
          <ac:chgData name="Yash Ratanpal" userId="5db668b1-93e7-4c08-9786-4ed81315a653" providerId="ADAL" clId="{3F7A7787-00CA-42A0-97CD-637349527123}" dt="2021-07-11T11:37:51.357" v="246"/>
          <ac:spMkLst>
            <pc:docMk/>
            <pc:sldMk cId="2028793494" sldId="264"/>
            <ac:spMk id="68" creationId="{EA557C9F-E067-4480-A2BF-55EB74758A0E}"/>
          </ac:spMkLst>
        </pc:spChg>
        <pc:spChg chg="mod">
          <ac:chgData name="Yash Ratanpal" userId="5db668b1-93e7-4c08-9786-4ed81315a653" providerId="ADAL" clId="{3F7A7787-00CA-42A0-97CD-637349527123}" dt="2021-07-11T11:37:51.357" v="246"/>
          <ac:spMkLst>
            <pc:docMk/>
            <pc:sldMk cId="2028793494" sldId="264"/>
            <ac:spMk id="69" creationId="{2434C198-CA75-4548-891E-7935D610C292}"/>
          </ac:spMkLst>
        </pc:spChg>
        <pc:spChg chg="mod">
          <ac:chgData name="Yash Ratanpal" userId="5db668b1-93e7-4c08-9786-4ed81315a653" providerId="ADAL" clId="{3F7A7787-00CA-42A0-97CD-637349527123}" dt="2021-07-11T11:37:51.357" v="246"/>
          <ac:spMkLst>
            <pc:docMk/>
            <pc:sldMk cId="2028793494" sldId="264"/>
            <ac:spMk id="70" creationId="{0E7928A1-8283-49CA-9EAC-DF2F3E688A14}"/>
          </ac:spMkLst>
        </pc:spChg>
        <pc:spChg chg="mod">
          <ac:chgData name="Yash Ratanpal" userId="5db668b1-93e7-4c08-9786-4ed81315a653" providerId="ADAL" clId="{3F7A7787-00CA-42A0-97CD-637349527123}" dt="2021-07-11T11:37:51.357" v="246"/>
          <ac:spMkLst>
            <pc:docMk/>
            <pc:sldMk cId="2028793494" sldId="264"/>
            <ac:spMk id="71" creationId="{000062D2-56FF-4D2F-B305-8A6DA71B5525}"/>
          </ac:spMkLst>
        </pc:spChg>
        <pc:spChg chg="mod">
          <ac:chgData name="Yash Ratanpal" userId="5db668b1-93e7-4c08-9786-4ed81315a653" providerId="ADAL" clId="{3F7A7787-00CA-42A0-97CD-637349527123}" dt="2021-07-11T11:37:51.357" v="246"/>
          <ac:spMkLst>
            <pc:docMk/>
            <pc:sldMk cId="2028793494" sldId="264"/>
            <ac:spMk id="72" creationId="{BA837CFF-BC9E-4596-A11B-D0E8EA0A7842}"/>
          </ac:spMkLst>
        </pc:spChg>
        <pc:spChg chg="mod">
          <ac:chgData name="Yash Ratanpal" userId="5db668b1-93e7-4c08-9786-4ed81315a653" providerId="ADAL" clId="{3F7A7787-00CA-42A0-97CD-637349527123}" dt="2021-07-11T11:37:51.357" v="246"/>
          <ac:spMkLst>
            <pc:docMk/>
            <pc:sldMk cId="2028793494" sldId="264"/>
            <ac:spMk id="73" creationId="{1154EC4D-E6CF-426E-B296-783BBB4EDDA1}"/>
          </ac:spMkLst>
        </pc:spChg>
        <pc:spChg chg="mod">
          <ac:chgData name="Yash Ratanpal" userId="5db668b1-93e7-4c08-9786-4ed81315a653" providerId="ADAL" clId="{3F7A7787-00CA-42A0-97CD-637349527123}" dt="2021-07-11T11:37:51.357" v="246"/>
          <ac:spMkLst>
            <pc:docMk/>
            <pc:sldMk cId="2028793494" sldId="264"/>
            <ac:spMk id="74" creationId="{5D97CDCE-B47A-4A61-8BEC-3813D261BC07}"/>
          </ac:spMkLst>
        </pc:spChg>
        <pc:spChg chg="mod">
          <ac:chgData name="Yash Ratanpal" userId="5db668b1-93e7-4c08-9786-4ed81315a653" providerId="ADAL" clId="{3F7A7787-00CA-42A0-97CD-637349527123}" dt="2021-07-11T11:37:51.357" v="246"/>
          <ac:spMkLst>
            <pc:docMk/>
            <pc:sldMk cId="2028793494" sldId="264"/>
            <ac:spMk id="75" creationId="{29BA3CC4-02A6-40AD-805C-A8991193FCB7}"/>
          </ac:spMkLst>
        </pc:spChg>
        <pc:spChg chg="mod">
          <ac:chgData name="Yash Ratanpal" userId="5db668b1-93e7-4c08-9786-4ed81315a653" providerId="ADAL" clId="{3F7A7787-00CA-42A0-97CD-637349527123}" dt="2021-07-11T11:37:51.357" v="246"/>
          <ac:spMkLst>
            <pc:docMk/>
            <pc:sldMk cId="2028793494" sldId="264"/>
            <ac:spMk id="76" creationId="{95EDB6F7-D84E-4147-864C-C1F21541A437}"/>
          </ac:spMkLst>
        </pc:spChg>
        <pc:spChg chg="mod">
          <ac:chgData name="Yash Ratanpal" userId="5db668b1-93e7-4c08-9786-4ed81315a653" providerId="ADAL" clId="{3F7A7787-00CA-42A0-97CD-637349527123}" dt="2021-07-11T11:37:51.357" v="246"/>
          <ac:spMkLst>
            <pc:docMk/>
            <pc:sldMk cId="2028793494" sldId="264"/>
            <ac:spMk id="77" creationId="{6E9AEAAA-6A77-47BF-AF32-1B0DDF90AB82}"/>
          </ac:spMkLst>
        </pc:spChg>
        <pc:spChg chg="mod">
          <ac:chgData name="Yash Ratanpal" userId="5db668b1-93e7-4c08-9786-4ed81315a653" providerId="ADAL" clId="{3F7A7787-00CA-42A0-97CD-637349527123}" dt="2021-07-11T11:37:51.357" v="246"/>
          <ac:spMkLst>
            <pc:docMk/>
            <pc:sldMk cId="2028793494" sldId="264"/>
            <ac:spMk id="78" creationId="{29078932-6F97-4BE4-95F5-5B0835C6701E}"/>
          </ac:spMkLst>
        </pc:spChg>
        <pc:spChg chg="mod">
          <ac:chgData name="Yash Ratanpal" userId="5db668b1-93e7-4c08-9786-4ed81315a653" providerId="ADAL" clId="{3F7A7787-00CA-42A0-97CD-637349527123}" dt="2021-07-11T11:37:51.357" v="246"/>
          <ac:spMkLst>
            <pc:docMk/>
            <pc:sldMk cId="2028793494" sldId="264"/>
            <ac:spMk id="79" creationId="{6EC84974-2DAF-4B89-961D-8A0328FE918E}"/>
          </ac:spMkLst>
        </pc:spChg>
        <pc:grpChg chg="mod">
          <ac:chgData name="Yash Ratanpal" userId="5db668b1-93e7-4c08-9786-4ed81315a653" providerId="ADAL" clId="{3F7A7787-00CA-42A0-97CD-637349527123}" dt="2021-07-11T11:37:51.357" v="246"/>
          <ac:grpSpMkLst>
            <pc:docMk/>
            <pc:sldMk cId="2028793494" sldId="264"/>
            <ac:grpSpMk id="9" creationId="{C486507B-0D98-4699-A9B5-1DE1417536AD}"/>
          </ac:grpSpMkLst>
        </pc:grpChg>
        <pc:grpChg chg="mod">
          <ac:chgData name="Yash Ratanpal" userId="5db668b1-93e7-4c08-9786-4ed81315a653" providerId="ADAL" clId="{3F7A7787-00CA-42A0-97CD-637349527123}" dt="2021-07-11T11:37:51.357" v="246"/>
          <ac:grpSpMkLst>
            <pc:docMk/>
            <pc:sldMk cId="2028793494" sldId="264"/>
            <ac:grpSpMk id="48" creationId="{0A5AAB43-AF53-478F-A804-F23474F44226}"/>
          </ac:grpSpMkLst>
        </pc:grpChg>
        <pc:grpChg chg="mod">
          <ac:chgData name="Yash Ratanpal" userId="5db668b1-93e7-4c08-9786-4ed81315a653" providerId="ADAL" clId="{3F7A7787-00CA-42A0-97CD-637349527123}" dt="2021-07-11T11:37:51.357" v="246"/>
          <ac:grpSpMkLst>
            <pc:docMk/>
            <pc:sldMk cId="2028793494" sldId="264"/>
            <ac:grpSpMk id="57" creationId="{2CB8EB58-9D97-47F7-9881-3BDDA3824306}"/>
          </ac:grpSpMkLst>
        </pc:grpChg>
        <pc:grpChg chg="mod">
          <ac:chgData name="Yash Ratanpal" userId="5db668b1-93e7-4c08-9786-4ed81315a653" providerId="ADAL" clId="{3F7A7787-00CA-42A0-97CD-637349527123}" dt="2021-07-11T11:37:51.357" v="246"/>
          <ac:grpSpMkLst>
            <pc:docMk/>
            <pc:sldMk cId="2028793494" sldId="264"/>
            <ac:grpSpMk id="58" creationId="{FF15F9FA-B292-4BF6-BBBA-79B64463FA95}"/>
          </ac:grpSpMkLst>
        </pc:grpChg>
        <pc:grpChg chg="mod">
          <ac:chgData name="Yash Ratanpal" userId="5db668b1-93e7-4c08-9786-4ed81315a653" providerId="ADAL" clId="{3F7A7787-00CA-42A0-97CD-637349527123}" dt="2021-07-11T11:37:51.357" v="246"/>
          <ac:grpSpMkLst>
            <pc:docMk/>
            <pc:sldMk cId="2028793494" sldId="264"/>
            <ac:grpSpMk id="59" creationId="{FC0D35D3-828D-4EF0-BD4C-4E6BBC759B50}"/>
          </ac:grpSpMkLst>
        </pc:grpChg>
        <pc:grpChg chg="mod">
          <ac:chgData name="Yash Ratanpal" userId="5db668b1-93e7-4c08-9786-4ed81315a653" providerId="ADAL" clId="{3F7A7787-00CA-42A0-97CD-637349527123}" dt="2021-07-11T11:37:51.357" v="246"/>
          <ac:grpSpMkLst>
            <pc:docMk/>
            <pc:sldMk cId="2028793494" sldId="264"/>
            <ac:grpSpMk id="64" creationId="{EE332F78-EB66-4447-AC82-164874FDB741}"/>
          </ac:grpSpMkLst>
        </pc:grpChg>
        <pc:picChg chg="mod">
          <ac:chgData name="Yash Ratanpal" userId="5db668b1-93e7-4c08-9786-4ed81315a653" providerId="ADAL" clId="{3F7A7787-00CA-42A0-97CD-637349527123}" dt="2021-07-11T11:37:51.357" v="246"/>
          <ac:picMkLst>
            <pc:docMk/>
            <pc:sldMk cId="2028793494" sldId="264"/>
            <ac:picMk id="2" creationId="{00000000-0000-0000-0000-000000000000}"/>
          </ac:picMkLst>
        </pc:picChg>
      </pc:sldChg>
      <pc:sldChg chg="del">
        <pc:chgData name="Yash Ratanpal" userId="5db668b1-93e7-4c08-9786-4ed81315a653" providerId="ADAL" clId="{3F7A7787-00CA-42A0-97CD-637349527123}" dt="2021-07-11T11:21:07.853" v="31" actId="47"/>
        <pc:sldMkLst>
          <pc:docMk/>
          <pc:sldMk cId="2215712342" sldId="266"/>
        </pc:sldMkLst>
      </pc:sldChg>
      <pc:sldChg chg="modSp del modNotes">
        <pc:chgData name="Yash Ratanpal" userId="5db668b1-93e7-4c08-9786-4ed81315a653" providerId="ADAL" clId="{3F7A7787-00CA-42A0-97CD-637349527123}" dt="2021-07-11T13:45:16.602" v="1748" actId="47"/>
        <pc:sldMkLst>
          <pc:docMk/>
          <pc:sldMk cId="243467176" sldId="268"/>
        </pc:sldMkLst>
        <pc:spChg chg="mod">
          <ac:chgData name="Yash Ratanpal" userId="5db668b1-93e7-4c08-9786-4ed81315a653" providerId="ADAL" clId="{3F7A7787-00CA-42A0-97CD-637349527123}" dt="2021-07-11T11:37:51.357" v="246"/>
          <ac:spMkLst>
            <pc:docMk/>
            <pc:sldMk cId="243467176" sldId="268"/>
            <ac:spMk id="3" creationId="{00000000-0000-0000-0000-000000000000}"/>
          </ac:spMkLst>
        </pc:spChg>
        <pc:spChg chg="mod">
          <ac:chgData name="Yash Ratanpal" userId="5db668b1-93e7-4c08-9786-4ed81315a653" providerId="ADAL" clId="{3F7A7787-00CA-42A0-97CD-637349527123}" dt="2021-07-11T11:37:51.357" v="246"/>
          <ac:spMkLst>
            <pc:docMk/>
            <pc:sldMk cId="243467176" sldId="268"/>
            <ac:spMk id="68" creationId="{F6D25F34-50B0-4518-982E-8F0C17EB91C9}"/>
          </ac:spMkLst>
        </pc:spChg>
        <pc:spChg chg="mod">
          <ac:chgData name="Yash Ratanpal" userId="5db668b1-93e7-4c08-9786-4ed81315a653" providerId="ADAL" clId="{3F7A7787-00CA-42A0-97CD-637349527123}" dt="2021-07-11T11:37:51.357" v="246"/>
          <ac:spMkLst>
            <pc:docMk/>
            <pc:sldMk cId="243467176" sldId="268"/>
            <ac:spMk id="69" creationId="{66F3D30E-940D-4DCB-88C7-315DA53E7EDC}"/>
          </ac:spMkLst>
        </pc:spChg>
        <pc:spChg chg="mod">
          <ac:chgData name="Yash Ratanpal" userId="5db668b1-93e7-4c08-9786-4ed81315a653" providerId="ADAL" clId="{3F7A7787-00CA-42A0-97CD-637349527123}" dt="2021-07-11T11:37:51.357" v="246"/>
          <ac:spMkLst>
            <pc:docMk/>
            <pc:sldMk cId="243467176" sldId="268"/>
            <ac:spMk id="70" creationId="{8E07D548-A2A1-4F28-82DA-DF505CBC1E5B}"/>
          </ac:spMkLst>
        </pc:spChg>
        <pc:spChg chg="mod">
          <ac:chgData name="Yash Ratanpal" userId="5db668b1-93e7-4c08-9786-4ed81315a653" providerId="ADAL" clId="{3F7A7787-00CA-42A0-97CD-637349527123}" dt="2021-07-11T11:37:51.357" v="246"/>
          <ac:spMkLst>
            <pc:docMk/>
            <pc:sldMk cId="243467176" sldId="268"/>
            <ac:spMk id="71" creationId="{08E09025-0B88-4F3B-B80C-4AAD20039560}"/>
          </ac:spMkLst>
        </pc:spChg>
        <pc:spChg chg="mod">
          <ac:chgData name="Yash Ratanpal" userId="5db668b1-93e7-4c08-9786-4ed81315a653" providerId="ADAL" clId="{3F7A7787-00CA-42A0-97CD-637349527123}" dt="2021-07-11T11:37:51.357" v="246"/>
          <ac:spMkLst>
            <pc:docMk/>
            <pc:sldMk cId="243467176" sldId="268"/>
            <ac:spMk id="72" creationId="{F9A42A38-B070-4CA2-A10A-EC28346C1323}"/>
          </ac:spMkLst>
        </pc:spChg>
        <pc:spChg chg="mod">
          <ac:chgData name="Yash Ratanpal" userId="5db668b1-93e7-4c08-9786-4ed81315a653" providerId="ADAL" clId="{3F7A7787-00CA-42A0-97CD-637349527123}" dt="2021-07-11T11:37:51.357" v="246"/>
          <ac:spMkLst>
            <pc:docMk/>
            <pc:sldMk cId="243467176" sldId="268"/>
            <ac:spMk id="73" creationId="{0C878C2C-AFB1-4386-AC79-B27C7E15891E}"/>
          </ac:spMkLst>
        </pc:spChg>
        <pc:spChg chg="mod">
          <ac:chgData name="Yash Ratanpal" userId="5db668b1-93e7-4c08-9786-4ed81315a653" providerId="ADAL" clId="{3F7A7787-00CA-42A0-97CD-637349527123}" dt="2021-07-11T11:37:51.357" v="246"/>
          <ac:spMkLst>
            <pc:docMk/>
            <pc:sldMk cId="243467176" sldId="268"/>
            <ac:spMk id="74" creationId="{6DC0D07C-134D-4C03-ABE7-9C389E07A115}"/>
          </ac:spMkLst>
        </pc:spChg>
        <pc:spChg chg="mod">
          <ac:chgData name="Yash Ratanpal" userId="5db668b1-93e7-4c08-9786-4ed81315a653" providerId="ADAL" clId="{3F7A7787-00CA-42A0-97CD-637349527123}" dt="2021-07-11T11:37:51.357" v="246"/>
          <ac:spMkLst>
            <pc:docMk/>
            <pc:sldMk cId="243467176" sldId="268"/>
            <ac:spMk id="75" creationId="{E01A190F-67CE-4D52-B459-07D6A0E58A19}"/>
          </ac:spMkLst>
        </pc:spChg>
        <pc:spChg chg="mod">
          <ac:chgData name="Yash Ratanpal" userId="5db668b1-93e7-4c08-9786-4ed81315a653" providerId="ADAL" clId="{3F7A7787-00CA-42A0-97CD-637349527123}" dt="2021-07-11T11:37:51.357" v="246"/>
          <ac:spMkLst>
            <pc:docMk/>
            <pc:sldMk cId="243467176" sldId="268"/>
            <ac:spMk id="76" creationId="{43A54C46-7C98-4138-AC56-3E1B6EF1E694}"/>
          </ac:spMkLst>
        </pc:spChg>
        <pc:spChg chg="mod">
          <ac:chgData name="Yash Ratanpal" userId="5db668b1-93e7-4c08-9786-4ed81315a653" providerId="ADAL" clId="{3F7A7787-00CA-42A0-97CD-637349527123}" dt="2021-07-11T11:37:51.357" v="246"/>
          <ac:spMkLst>
            <pc:docMk/>
            <pc:sldMk cId="243467176" sldId="268"/>
            <ac:spMk id="77" creationId="{BEF4AB27-18E5-4F6B-8F1D-D1642A499155}"/>
          </ac:spMkLst>
        </pc:spChg>
        <pc:spChg chg="mod">
          <ac:chgData name="Yash Ratanpal" userId="5db668b1-93e7-4c08-9786-4ed81315a653" providerId="ADAL" clId="{3F7A7787-00CA-42A0-97CD-637349527123}" dt="2021-07-11T11:37:51.357" v="246"/>
          <ac:spMkLst>
            <pc:docMk/>
            <pc:sldMk cId="243467176" sldId="268"/>
            <ac:spMk id="78" creationId="{31065B86-6EA1-4C16-9C9E-A12714DA6DEC}"/>
          </ac:spMkLst>
        </pc:spChg>
        <pc:spChg chg="mod">
          <ac:chgData name="Yash Ratanpal" userId="5db668b1-93e7-4c08-9786-4ed81315a653" providerId="ADAL" clId="{3F7A7787-00CA-42A0-97CD-637349527123}" dt="2021-07-11T11:37:51.357" v="246"/>
          <ac:spMkLst>
            <pc:docMk/>
            <pc:sldMk cId="243467176" sldId="268"/>
            <ac:spMk id="79" creationId="{F9AF3A71-B3D6-47EC-95D9-788A02AD2DBF}"/>
          </ac:spMkLst>
        </pc:spChg>
        <pc:spChg chg="mod">
          <ac:chgData name="Yash Ratanpal" userId="5db668b1-93e7-4c08-9786-4ed81315a653" providerId="ADAL" clId="{3F7A7787-00CA-42A0-97CD-637349527123}" dt="2021-07-11T11:37:51.357" v="246"/>
          <ac:spMkLst>
            <pc:docMk/>
            <pc:sldMk cId="243467176" sldId="268"/>
            <ac:spMk id="105" creationId="{47E1EDE4-62C0-4F2A-85DB-F34AF63426AD}"/>
          </ac:spMkLst>
        </pc:spChg>
        <pc:spChg chg="mod">
          <ac:chgData name="Yash Ratanpal" userId="5db668b1-93e7-4c08-9786-4ed81315a653" providerId="ADAL" clId="{3F7A7787-00CA-42A0-97CD-637349527123}" dt="2021-07-11T11:37:51.357" v="246"/>
          <ac:spMkLst>
            <pc:docMk/>
            <pc:sldMk cId="243467176" sldId="268"/>
            <ac:spMk id="106" creationId="{566FECD6-70B2-4193-9850-4D560F10BFBC}"/>
          </ac:spMkLst>
        </pc:spChg>
        <pc:spChg chg="mod">
          <ac:chgData name="Yash Ratanpal" userId="5db668b1-93e7-4c08-9786-4ed81315a653" providerId="ADAL" clId="{3F7A7787-00CA-42A0-97CD-637349527123}" dt="2021-07-11T11:37:51.357" v="246"/>
          <ac:spMkLst>
            <pc:docMk/>
            <pc:sldMk cId="243467176" sldId="268"/>
            <ac:spMk id="107" creationId="{E8DAE8A3-6822-4934-9BF2-FF26A5176FF6}"/>
          </ac:spMkLst>
        </pc:spChg>
        <pc:spChg chg="mod">
          <ac:chgData name="Yash Ratanpal" userId="5db668b1-93e7-4c08-9786-4ed81315a653" providerId="ADAL" clId="{3F7A7787-00CA-42A0-97CD-637349527123}" dt="2021-07-11T11:37:51.357" v="246"/>
          <ac:spMkLst>
            <pc:docMk/>
            <pc:sldMk cId="243467176" sldId="268"/>
            <ac:spMk id="108" creationId="{EAD4327E-4C4D-4038-B459-352AC3BFA543}"/>
          </ac:spMkLst>
        </pc:spChg>
        <pc:spChg chg="mod">
          <ac:chgData name="Yash Ratanpal" userId="5db668b1-93e7-4c08-9786-4ed81315a653" providerId="ADAL" clId="{3F7A7787-00CA-42A0-97CD-637349527123}" dt="2021-07-11T11:37:51.357" v="246"/>
          <ac:spMkLst>
            <pc:docMk/>
            <pc:sldMk cId="243467176" sldId="268"/>
            <ac:spMk id="109" creationId="{F41E1B6A-9BEF-4024-979D-B8D4587E7581}"/>
          </ac:spMkLst>
        </pc:spChg>
        <pc:spChg chg="mod">
          <ac:chgData name="Yash Ratanpal" userId="5db668b1-93e7-4c08-9786-4ed81315a653" providerId="ADAL" clId="{3F7A7787-00CA-42A0-97CD-637349527123}" dt="2021-07-11T11:37:51.357" v="246"/>
          <ac:spMkLst>
            <pc:docMk/>
            <pc:sldMk cId="243467176" sldId="268"/>
            <ac:spMk id="110" creationId="{CC14A6E3-F0EB-48FA-A2B4-A6042E86B58D}"/>
          </ac:spMkLst>
        </pc:spChg>
        <pc:spChg chg="mod">
          <ac:chgData name="Yash Ratanpal" userId="5db668b1-93e7-4c08-9786-4ed81315a653" providerId="ADAL" clId="{3F7A7787-00CA-42A0-97CD-637349527123}" dt="2021-07-11T11:37:51.357" v="246"/>
          <ac:spMkLst>
            <pc:docMk/>
            <pc:sldMk cId="243467176" sldId="268"/>
            <ac:spMk id="111" creationId="{BFE06721-BA83-45DF-AA64-27A2606A636C}"/>
          </ac:spMkLst>
        </pc:spChg>
        <pc:spChg chg="mod">
          <ac:chgData name="Yash Ratanpal" userId="5db668b1-93e7-4c08-9786-4ed81315a653" providerId="ADAL" clId="{3F7A7787-00CA-42A0-97CD-637349527123}" dt="2021-07-11T11:37:51.357" v="246"/>
          <ac:spMkLst>
            <pc:docMk/>
            <pc:sldMk cId="243467176" sldId="268"/>
            <ac:spMk id="112" creationId="{41578D9A-2B22-4185-BAB6-7E0E2E6DD0B7}"/>
          </ac:spMkLst>
        </pc:spChg>
        <pc:spChg chg="mod">
          <ac:chgData name="Yash Ratanpal" userId="5db668b1-93e7-4c08-9786-4ed81315a653" providerId="ADAL" clId="{3F7A7787-00CA-42A0-97CD-637349527123}" dt="2021-07-11T11:37:51.357" v="246"/>
          <ac:spMkLst>
            <pc:docMk/>
            <pc:sldMk cId="243467176" sldId="268"/>
            <ac:spMk id="113" creationId="{8AB7DAD1-76F8-43FD-ABA5-FC7EA3DFA957}"/>
          </ac:spMkLst>
        </pc:spChg>
        <pc:spChg chg="mod">
          <ac:chgData name="Yash Ratanpal" userId="5db668b1-93e7-4c08-9786-4ed81315a653" providerId="ADAL" clId="{3F7A7787-00CA-42A0-97CD-637349527123}" dt="2021-07-11T11:37:51.357" v="246"/>
          <ac:spMkLst>
            <pc:docMk/>
            <pc:sldMk cId="243467176" sldId="268"/>
            <ac:spMk id="114" creationId="{2198FD26-9B8C-4AA9-934B-ECF407542412}"/>
          </ac:spMkLst>
        </pc:spChg>
        <pc:grpChg chg="mod">
          <ac:chgData name="Yash Ratanpal" userId="5db668b1-93e7-4c08-9786-4ed81315a653" providerId="ADAL" clId="{3F7A7787-00CA-42A0-97CD-637349527123}" dt="2021-07-11T11:37:51.357" v="246"/>
          <ac:grpSpMkLst>
            <pc:docMk/>
            <pc:sldMk cId="243467176" sldId="268"/>
            <ac:grpSpMk id="67" creationId="{26CD74CC-6F88-4BA4-B9C0-26DFB896D766}"/>
          </ac:grpSpMkLst>
        </pc:grpChg>
        <pc:picChg chg="mod">
          <ac:chgData name="Yash Ratanpal" userId="5db668b1-93e7-4c08-9786-4ed81315a653" providerId="ADAL" clId="{3F7A7787-00CA-42A0-97CD-637349527123}" dt="2021-07-11T11:37:51.357" v="246"/>
          <ac:picMkLst>
            <pc:docMk/>
            <pc:sldMk cId="243467176" sldId="268"/>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1085239399" sldId="269"/>
        </pc:sldMkLst>
        <pc:spChg chg="mod">
          <ac:chgData name="Yash Ratanpal" userId="5db668b1-93e7-4c08-9786-4ed81315a653" providerId="ADAL" clId="{3F7A7787-00CA-42A0-97CD-637349527123}" dt="2021-07-11T11:37:51.357" v="246"/>
          <ac:spMkLst>
            <pc:docMk/>
            <pc:sldMk cId="1085239399" sldId="269"/>
            <ac:spMk id="3" creationId="{00000000-0000-0000-0000-000000000000}"/>
          </ac:spMkLst>
        </pc:spChg>
        <pc:spChg chg="mod">
          <ac:chgData name="Yash Ratanpal" userId="5db668b1-93e7-4c08-9786-4ed81315a653" providerId="ADAL" clId="{3F7A7787-00CA-42A0-97CD-637349527123}" dt="2021-07-11T11:37:51.357" v="246"/>
          <ac:spMkLst>
            <pc:docMk/>
            <pc:sldMk cId="1085239399" sldId="269"/>
            <ac:spMk id="28" creationId="{96A2C9EA-F285-4B64-AE75-A560DC66FFF5}"/>
          </ac:spMkLst>
        </pc:spChg>
        <pc:spChg chg="mod">
          <ac:chgData name="Yash Ratanpal" userId="5db668b1-93e7-4c08-9786-4ed81315a653" providerId="ADAL" clId="{3F7A7787-00CA-42A0-97CD-637349527123}" dt="2021-07-11T11:37:51.357" v="246"/>
          <ac:spMkLst>
            <pc:docMk/>
            <pc:sldMk cId="1085239399" sldId="269"/>
            <ac:spMk id="29" creationId="{577E21F2-79C3-4FD0-8645-88ACE8751040}"/>
          </ac:spMkLst>
        </pc:spChg>
        <pc:spChg chg="mod">
          <ac:chgData name="Yash Ratanpal" userId="5db668b1-93e7-4c08-9786-4ed81315a653" providerId="ADAL" clId="{3F7A7787-00CA-42A0-97CD-637349527123}" dt="2021-07-11T11:37:51.357" v="246"/>
          <ac:spMkLst>
            <pc:docMk/>
            <pc:sldMk cId="1085239399" sldId="269"/>
            <ac:spMk id="30" creationId="{13ACADB3-21A5-4124-86BD-4379CFED6322}"/>
          </ac:spMkLst>
        </pc:spChg>
        <pc:spChg chg="mod">
          <ac:chgData name="Yash Ratanpal" userId="5db668b1-93e7-4c08-9786-4ed81315a653" providerId="ADAL" clId="{3F7A7787-00CA-42A0-97CD-637349527123}" dt="2021-07-11T11:37:51.357" v="246"/>
          <ac:spMkLst>
            <pc:docMk/>
            <pc:sldMk cId="1085239399" sldId="269"/>
            <ac:spMk id="31" creationId="{7E8D8B88-BF4D-4479-960F-A65A75D57104}"/>
          </ac:spMkLst>
        </pc:spChg>
        <pc:spChg chg="mod">
          <ac:chgData name="Yash Ratanpal" userId="5db668b1-93e7-4c08-9786-4ed81315a653" providerId="ADAL" clId="{3F7A7787-00CA-42A0-97CD-637349527123}" dt="2021-07-11T11:37:51.357" v="246"/>
          <ac:spMkLst>
            <pc:docMk/>
            <pc:sldMk cId="1085239399" sldId="269"/>
            <ac:spMk id="32" creationId="{2279B079-AEC7-4BCE-800B-5A7B0B1092D1}"/>
          </ac:spMkLst>
        </pc:spChg>
        <pc:spChg chg="mod">
          <ac:chgData name="Yash Ratanpal" userId="5db668b1-93e7-4c08-9786-4ed81315a653" providerId="ADAL" clId="{3F7A7787-00CA-42A0-97CD-637349527123}" dt="2021-07-11T11:37:51.357" v="246"/>
          <ac:spMkLst>
            <pc:docMk/>
            <pc:sldMk cId="1085239399" sldId="269"/>
            <ac:spMk id="33" creationId="{27FBFAAE-F762-401A-91C0-F88F76F5D774}"/>
          </ac:spMkLst>
        </pc:spChg>
        <pc:spChg chg="mod">
          <ac:chgData name="Yash Ratanpal" userId="5db668b1-93e7-4c08-9786-4ed81315a653" providerId="ADAL" clId="{3F7A7787-00CA-42A0-97CD-637349527123}" dt="2021-07-11T11:37:51.357" v="246"/>
          <ac:spMkLst>
            <pc:docMk/>
            <pc:sldMk cId="1085239399" sldId="269"/>
            <ac:spMk id="34" creationId="{33FAB682-800E-4812-B7C5-680435CE5AF9}"/>
          </ac:spMkLst>
        </pc:spChg>
        <pc:spChg chg="mod">
          <ac:chgData name="Yash Ratanpal" userId="5db668b1-93e7-4c08-9786-4ed81315a653" providerId="ADAL" clId="{3F7A7787-00CA-42A0-97CD-637349527123}" dt="2021-07-11T11:37:51.357" v="246"/>
          <ac:spMkLst>
            <pc:docMk/>
            <pc:sldMk cId="1085239399" sldId="269"/>
            <ac:spMk id="35" creationId="{3ACC2A9B-FB7B-4F70-A5B6-FD9366F430FE}"/>
          </ac:spMkLst>
        </pc:spChg>
        <pc:spChg chg="mod">
          <ac:chgData name="Yash Ratanpal" userId="5db668b1-93e7-4c08-9786-4ed81315a653" providerId="ADAL" clId="{3F7A7787-00CA-42A0-97CD-637349527123}" dt="2021-07-11T11:37:51.357" v="246"/>
          <ac:spMkLst>
            <pc:docMk/>
            <pc:sldMk cId="1085239399" sldId="269"/>
            <ac:spMk id="36" creationId="{12B7AA1B-58A7-48CE-BC98-966CD343E998}"/>
          </ac:spMkLst>
        </pc:spChg>
        <pc:spChg chg="mod">
          <ac:chgData name="Yash Ratanpal" userId="5db668b1-93e7-4c08-9786-4ed81315a653" providerId="ADAL" clId="{3F7A7787-00CA-42A0-97CD-637349527123}" dt="2021-07-11T11:37:51.357" v="246"/>
          <ac:spMkLst>
            <pc:docMk/>
            <pc:sldMk cId="1085239399" sldId="269"/>
            <ac:spMk id="37" creationId="{DED668F5-6334-4A1E-8163-B39288A1CF7F}"/>
          </ac:spMkLst>
        </pc:spChg>
        <pc:grpChg chg="mod">
          <ac:chgData name="Yash Ratanpal" userId="5db668b1-93e7-4c08-9786-4ed81315a653" providerId="ADAL" clId="{3F7A7787-00CA-42A0-97CD-637349527123}" dt="2021-07-11T11:37:51.357" v="246"/>
          <ac:grpSpMkLst>
            <pc:docMk/>
            <pc:sldMk cId="1085239399" sldId="269"/>
            <ac:grpSpMk id="4" creationId="{20D6D6A5-E8B4-4EE3-9D2B-E74A6909C1A7}"/>
          </ac:grpSpMkLst>
        </pc:grpChg>
        <pc:grpChg chg="mod">
          <ac:chgData name="Yash Ratanpal" userId="5db668b1-93e7-4c08-9786-4ed81315a653" providerId="ADAL" clId="{3F7A7787-00CA-42A0-97CD-637349527123}" dt="2021-07-11T11:37:51.357" v="246"/>
          <ac:grpSpMkLst>
            <pc:docMk/>
            <pc:sldMk cId="1085239399" sldId="269"/>
            <ac:grpSpMk id="27" creationId="{F7EEF63C-FCBD-44A2-B304-21AA8C6C03C7}"/>
          </ac:grpSpMkLst>
        </pc:grpChg>
        <pc:picChg chg="mod">
          <ac:chgData name="Yash Ratanpal" userId="5db668b1-93e7-4c08-9786-4ed81315a653" providerId="ADAL" clId="{3F7A7787-00CA-42A0-97CD-637349527123}" dt="2021-07-11T11:37:51.357" v="246"/>
          <ac:picMkLst>
            <pc:docMk/>
            <pc:sldMk cId="1085239399" sldId="269"/>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2678811907" sldId="270"/>
        </pc:sldMkLst>
        <pc:spChg chg="mod">
          <ac:chgData name="Yash Ratanpal" userId="5db668b1-93e7-4c08-9786-4ed81315a653" providerId="ADAL" clId="{3F7A7787-00CA-42A0-97CD-637349527123}" dt="2021-07-11T11:37:51.357" v="246"/>
          <ac:spMkLst>
            <pc:docMk/>
            <pc:sldMk cId="2678811907" sldId="270"/>
            <ac:spMk id="3" creationId="{00000000-0000-0000-0000-000000000000}"/>
          </ac:spMkLst>
        </pc:spChg>
        <pc:spChg chg="mod">
          <ac:chgData name="Yash Ratanpal" userId="5db668b1-93e7-4c08-9786-4ed81315a653" providerId="ADAL" clId="{3F7A7787-00CA-42A0-97CD-637349527123}" dt="2021-07-11T11:37:51.357" v="246"/>
          <ac:spMkLst>
            <pc:docMk/>
            <pc:sldMk cId="2678811907" sldId="270"/>
            <ac:spMk id="60" creationId="{2BA00E6B-7D6D-40E2-B39A-061217309119}"/>
          </ac:spMkLst>
        </pc:spChg>
        <pc:spChg chg="mod">
          <ac:chgData name="Yash Ratanpal" userId="5db668b1-93e7-4c08-9786-4ed81315a653" providerId="ADAL" clId="{3F7A7787-00CA-42A0-97CD-637349527123}" dt="2021-07-11T11:37:51.357" v="246"/>
          <ac:spMkLst>
            <pc:docMk/>
            <pc:sldMk cId="2678811907" sldId="270"/>
            <ac:spMk id="61" creationId="{FFFA90DF-32A0-42C2-915F-FDC70C5C018C}"/>
          </ac:spMkLst>
        </pc:spChg>
        <pc:spChg chg="mod">
          <ac:chgData name="Yash Ratanpal" userId="5db668b1-93e7-4c08-9786-4ed81315a653" providerId="ADAL" clId="{3F7A7787-00CA-42A0-97CD-637349527123}" dt="2021-07-11T11:37:51.357" v="246"/>
          <ac:spMkLst>
            <pc:docMk/>
            <pc:sldMk cId="2678811907" sldId="270"/>
            <ac:spMk id="62" creationId="{B954408E-A365-4A02-8DE8-02CE5742DAE7}"/>
          </ac:spMkLst>
        </pc:spChg>
        <pc:spChg chg="mod">
          <ac:chgData name="Yash Ratanpal" userId="5db668b1-93e7-4c08-9786-4ed81315a653" providerId="ADAL" clId="{3F7A7787-00CA-42A0-97CD-637349527123}" dt="2021-07-11T11:37:51.357" v="246"/>
          <ac:spMkLst>
            <pc:docMk/>
            <pc:sldMk cId="2678811907" sldId="270"/>
            <ac:spMk id="63" creationId="{99272621-2142-469C-ADF6-A99C7AB73008}"/>
          </ac:spMkLst>
        </pc:spChg>
        <pc:spChg chg="mod">
          <ac:chgData name="Yash Ratanpal" userId="5db668b1-93e7-4c08-9786-4ed81315a653" providerId="ADAL" clId="{3F7A7787-00CA-42A0-97CD-637349527123}" dt="2021-07-11T11:37:51.357" v="246"/>
          <ac:spMkLst>
            <pc:docMk/>
            <pc:sldMk cId="2678811907" sldId="270"/>
            <ac:spMk id="64" creationId="{B50EB8E0-D414-4215-8DD2-24B6153EF209}"/>
          </ac:spMkLst>
        </pc:spChg>
        <pc:spChg chg="mod">
          <ac:chgData name="Yash Ratanpal" userId="5db668b1-93e7-4c08-9786-4ed81315a653" providerId="ADAL" clId="{3F7A7787-00CA-42A0-97CD-637349527123}" dt="2021-07-11T11:37:51.357" v="246"/>
          <ac:spMkLst>
            <pc:docMk/>
            <pc:sldMk cId="2678811907" sldId="270"/>
            <ac:spMk id="65" creationId="{7137D14D-9887-42D9-8B6F-351F0BB3E703}"/>
          </ac:spMkLst>
        </pc:spChg>
        <pc:spChg chg="mod">
          <ac:chgData name="Yash Ratanpal" userId="5db668b1-93e7-4c08-9786-4ed81315a653" providerId="ADAL" clId="{3F7A7787-00CA-42A0-97CD-637349527123}" dt="2021-07-11T11:37:51.357" v="246"/>
          <ac:spMkLst>
            <pc:docMk/>
            <pc:sldMk cId="2678811907" sldId="270"/>
            <ac:spMk id="66" creationId="{89E9E1AA-7EB2-4C4A-85FE-98BBC47BA0A9}"/>
          </ac:spMkLst>
        </pc:spChg>
        <pc:spChg chg="mod">
          <ac:chgData name="Yash Ratanpal" userId="5db668b1-93e7-4c08-9786-4ed81315a653" providerId="ADAL" clId="{3F7A7787-00CA-42A0-97CD-637349527123}" dt="2021-07-11T11:37:51.357" v="246"/>
          <ac:spMkLst>
            <pc:docMk/>
            <pc:sldMk cId="2678811907" sldId="270"/>
            <ac:spMk id="67" creationId="{F8DDD19C-F76A-46EB-BFA8-25A7D3E2F3B0}"/>
          </ac:spMkLst>
        </pc:spChg>
        <pc:spChg chg="mod">
          <ac:chgData name="Yash Ratanpal" userId="5db668b1-93e7-4c08-9786-4ed81315a653" providerId="ADAL" clId="{3F7A7787-00CA-42A0-97CD-637349527123}" dt="2021-07-11T11:37:51.357" v="246"/>
          <ac:spMkLst>
            <pc:docMk/>
            <pc:sldMk cId="2678811907" sldId="270"/>
            <ac:spMk id="68" creationId="{3D744812-E2A4-4689-9D8E-E6C22BBF82D2}"/>
          </ac:spMkLst>
        </pc:spChg>
        <pc:spChg chg="mod">
          <ac:chgData name="Yash Ratanpal" userId="5db668b1-93e7-4c08-9786-4ed81315a653" providerId="ADAL" clId="{3F7A7787-00CA-42A0-97CD-637349527123}" dt="2021-07-11T11:37:51.357" v="246"/>
          <ac:spMkLst>
            <pc:docMk/>
            <pc:sldMk cId="2678811907" sldId="270"/>
            <ac:spMk id="69" creationId="{6BBF9546-332A-49EA-82A3-160A8C0E9854}"/>
          </ac:spMkLst>
        </pc:spChg>
        <pc:spChg chg="mod">
          <ac:chgData name="Yash Ratanpal" userId="5db668b1-93e7-4c08-9786-4ed81315a653" providerId="ADAL" clId="{3F7A7787-00CA-42A0-97CD-637349527123}" dt="2021-07-11T11:37:51.357" v="246"/>
          <ac:spMkLst>
            <pc:docMk/>
            <pc:sldMk cId="2678811907" sldId="270"/>
            <ac:spMk id="70" creationId="{A8D80847-0E22-4F30-94FE-EF324CC8DC50}"/>
          </ac:spMkLst>
        </pc:spChg>
        <pc:spChg chg="mod">
          <ac:chgData name="Yash Ratanpal" userId="5db668b1-93e7-4c08-9786-4ed81315a653" providerId="ADAL" clId="{3F7A7787-00CA-42A0-97CD-637349527123}" dt="2021-07-11T11:37:51.357" v="246"/>
          <ac:spMkLst>
            <pc:docMk/>
            <pc:sldMk cId="2678811907" sldId="270"/>
            <ac:spMk id="71" creationId="{0FEF9435-D786-42A9-96D6-3DE5E4610534}"/>
          </ac:spMkLst>
        </pc:spChg>
        <pc:spChg chg="mod">
          <ac:chgData name="Yash Ratanpal" userId="5db668b1-93e7-4c08-9786-4ed81315a653" providerId="ADAL" clId="{3F7A7787-00CA-42A0-97CD-637349527123}" dt="2021-07-11T11:37:51.357" v="246"/>
          <ac:spMkLst>
            <pc:docMk/>
            <pc:sldMk cId="2678811907" sldId="270"/>
            <ac:spMk id="74" creationId="{8E3C25A3-A713-4B07-9F12-530B5AFA0463}"/>
          </ac:spMkLst>
        </pc:spChg>
        <pc:spChg chg="mod">
          <ac:chgData name="Yash Ratanpal" userId="5db668b1-93e7-4c08-9786-4ed81315a653" providerId="ADAL" clId="{3F7A7787-00CA-42A0-97CD-637349527123}" dt="2021-07-11T11:37:51.357" v="246"/>
          <ac:spMkLst>
            <pc:docMk/>
            <pc:sldMk cId="2678811907" sldId="270"/>
            <ac:spMk id="75" creationId="{13049B1F-F8C9-4707-AA86-10A4F2A42058}"/>
          </ac:spMkLst>
        </pc:spChg>
        <pc:spChg chg="mod">
          <ac:chgData name="Yash Ratanpal" userId="5db668b1-93e7-4c08-9786-4ed81315a653" providerId="ADAL" clId="{3F7A7787-00CA-42A0-97CD-637349527123}" dt="2021-07-11T11:37:51.357" v="246"/>
          <ac:spMkLst>
            <pc:docMk/>
            <pc:sldMk cId="2678811907" sldId="270"/>
            <ac:spMk id="76" creationId="{2DC383BF-7BD4-4E80-9FC0-601DAFEE40B2}"/>
          </ac:spMkLst>
        </pc:spChg>
        <pc:spChg chg="mod">
          <ac:chgData name="Yash Ratanpal" userId="5db668b1-93e7-4c08-9786-4ed81315a653" providerId="ADAL" clId="{3F7A7787-00CA-42A0-97CD-637349527123}" dt="2021-07-11T11:37:51.357" v="246"/>
          <ac:spMkLst>
            <pc:docMk/>
            <pc:sldMk cId="2678811907" sldId="270"/>
            <ac:spMk id="77" creationId="{78C198D0-C4A5-44F9-BB5C-D51D8CDBFEA1}"/>
          </ac:spMkLst>
        </pc:spChg>
        <pc:spChg chg="mod">
          <ac:chgData name="Yash Ratanpal" userId="5db668b1-93e7-4c08-9786-4ed81315a653" providerId="ADAL" clId="{3F7A7787-00CA-42A0-97CD-637349527123}" dt="2021-07-11T11:37:51.357" v="246"/>
          <ac:spMkLst>
            <pc:docMk/>
            <pc:sldMk cId="2678811907" sldId="270"/>
            <ac:spMk id="78" creationId="{73825A54-64C1-42A8-B89E-97F792E7B85A}"/>
          </ac:spMkLst>
        </pc:spChg>
        <pc:spChg chg="mod">
          <ac:chgData name="Yash Ratanpal" userId="5db668b1-93e7-4c08-9786-4ed81315a653" providerId="ADAL" clId="{3F7A7787-00CA-42A0-97CD-637349527123}" dt="2021-07-11T11:37:51.357" v="246"/>
          <ac:spMkLst>
            <pc:docMk/>
            <pc:sldMk cId="2678811907" sldId="270"/>
            <ac:spMk id="82" creationId="{7FD659B0-8729-4657-A5FA-3390347D1B63}"/>
          </ac:spMkLst>
        </pc:spChg>
        <pc:grpChg chg="mod">
          <ac:chgData name="Yash Ratanpal" userId="5db668b1-93e7-4c08-9786-4ed81315a653" providerId="ADAL" clId="{3F7A7787-00CA-42A0-97CD-637349527123}" dt="2021-07-11T11:37:51.357" v="246"/>
          <ac:grpSpMkLst>
            <pc:docMk/>
            <pc:sldMk cId="2678811907" sldId="270"/>
            <ac:grpSpMk id="5" creationId="{3EA73622-71C6-44A2-AB9D-EC693F68AD96}"/>
          </ac:grpSpMkLst>
        </pc:grpChg>
        <pc:picChg chg="mod">
          <ac:chgData name="Yash Ratanpal" userId="5db668b1-93e7-4c08-9786-4ed81315a653" providerId="ADAL" clId="{3F7A7787-00CA-42A0-97CD-637349527123}" dt="2021-07-11T11:37:51.357" v="246"/>
          <ac:picMkLst>
            <pc:docMk/>
            <pc:sldMk cId="2678811907" sldId="270"/>
            <ac:picMk id="2" creationId="{00000000-0000-0000-0000-000000000000}"/>
          </ac:picMkLst>
        </pc:picChg>
        <pc:cxnChg chg="mod">
          <ac:chgData name="Yash Ratanpal" userId="5db668b1-93e7-4c08-9786-4ed81315a653" providerId="ADAL" clId="{3F7A7787-00CA-42A0-97CD-637349527123}" dt="2021-07-11T11:37:51.357" v="246"/>
          <ac:cxnSpMkLst>
            <pc:docMk/>
            <pc:sldMk cId="2678811907" sldId="270"/>
            <ac:cxnSpMk id="72" creationId="{7893C66F-6CFB-45A5-A58A-534FF56BC2D6}"/>
          </ac:cxnSpMkLst>
        </pc:cxnChg>
        <pc:cxnChg chg="mod">
          <ac:chgData name="Yash Ratanpal" userId="5db668b1-93e7-4c08-9786-4ed81315a653" providerId="ADAL" clId="{3F7A7787-00CA-42A0-97CD-637349527123}" dt="2021-07-11T11:37:51.357" v="246"/>
          <ac:cxnSpMkLst>
            <pc:docMk/>
            <pc:sldMk cId="2678811907" sldId="270"/>
            <ac:cxnSpMk id="73" creationId="{B9364E1B-FF72-48F6-876E-9AA81C0D6115}"/>
          </ac:cxnSpMkLst>
        </pc:cxnChg>
        <pc:cxnChg chg="mod">
          <ac:chgData name="Yash Ratanpal" userId="5db668b1-93e7-4c08-9786-4ed81315a653" providerId="ADAL" clId="{3F7A7787-00CA-42A0-97CD-637349527123}" dt="2021-07-11T11:37:51.357" v="246"/>
          <ac:cxnSpMkLst>
            <pc:docMk/>
            <pc:sldMk cId="2678811907" sldId="270"/>
            <ac:cxnSpMk id="79" creationId="{117C41D3-BF77-4F91-9E1D-67BABF3782D7}"/>
          </ac:cxnSpMkLst>
        </pc:cxnChg>
        <pc:cxnChg chg="mod">
          <ac:chgData name="Yash Ratanpal" userId="5db668b1-93e7-4c08-9786-4ed81315a653" providerId="ADAL" clId="{3F7A7787-00CA-42A0-97CD-637349527123}" dt="2021-07-11T11:37:51.357" v="246"/>
          <ac:cxnSpMkLst>
            <pc:docMk/>
            <pc:sldMk cId="2678811907" sldId="270"/>
            <ac:cxnSpMk id="80" creationId="{81FBBBA6-BF84-42D1-ADDE-599B346F4BE1}"/>
          </ac:cxnSpMkLst>
        </pc:cxnChg>
        <pc:cxnChg chg="mod">
          <ac:chgData name="Yash Ratanpal" userId="5db668b1-93e7-4c08-9786-4ed81315a653" providerId="ADAL" clId="{3F7A7787-00CA-42A0-97CD-637349527123}" dt="2021-07-11T11:37:51.357" v="246"/>
          <ac:cxnSpMkLst>
            <pc:docMk/>
            <pc:sldMk cId="2678811907" sldId="270"/>
            <ac:cxnSpMk id="81" creationId="{BC89F8E1-FDBA-458F-BA96-8A2EF85DD4C5}"/>
          </ac:cxnSpMkLst>
        </pc:cxnChg>
        <pc:cxnChg chg="mod">
          <ac:chgData name="Yash Ratanpal" userId="5db668b1-93e7-4c08-9786-4ed81315a653" providerId="ADAL" clId="{3F7A7787-00CA-42A0-97CD-637349527123}" dt="2021-07-11T11:37:51.357" v="246"/>
          <ac:cxnSpMkLst>
            <pc:docMk/>
            <pc:sldMk cId="2678811907" sldId="270"/>
            <ac:cxnSpMk id="83" creationId="{303ABECA-B0E6-4A4F-8894-83A14150E20F}"/>
          </ac:cxnSpMkLst>
        </pc:cxnChg>
        <pc:cxnChg chg="mod">
          <ac:chgData name="Yash Ratanpal" userId="5db668b1-93e7-4c08-9786-4ed81315a653" providerId="ADAL" clId="{3F7A7787-00CA-42A0-97CD-637349527123}" dt="2021-07-11T11:37:51.357" v="246"/>
          <ac:cxnSpMkLst>
            <pc:docMk/>
            <pc:sldMk cId="2678811907" sldId="270"/>
            <ac:cxnSpMk id="84" creationId="{8D11A51A-6A17-4C10-B76D-B045FCE4BC0D}"/>
          </ac:cxnSpMkLst>
        </pc:cxnChg>
      </pc:sldChg>
      <pc:sldChg chg="modSp del modNotes">
        <pc:chgData name="Yash Ratanpal" userId="5db668b1-93e7-4c08-9786-4ed81315a653" providerId="ADAL" clId="{3F7A7787-00CA-42A0-97CD-637349527123}" dt="2021-07-11T13:45:16.602" v="1748" actId="47"/>
        <pc:sldMkLst>
          <pc:docMk/>
          <pc:sldMk cId="3098860267" sldId="271"/>
        </pc:sldMkLst>
        <pc:spChg chg="mod">
          <ac:chgData name="Yash Ratanpal" userId="5db668b1-93e7-4c08-9786-4ed81315a653" providerId="ADAL" clId="{3F7A7787-00CA-42A0-97CD-637349527123}" dt="2021-07-11T11:37:51.357" v="246"/>
          <ac:spMkLst>
            <pc:docMk/>
            <pc:sldMk cId="3098860267" sldId="271"/>
            <ac:spMk id="3" creationId="{00000000-0000-0000-0000-000000000000}"/>
          </ac:spMkLst>
        </pc:spChg>
        <pc:spChg chg="mod">
          <ac:chgData name="Yash Ratanpal" userId="5db668b1-93e7-4c08-9786-4ed81315a653" providerId="ADAL" clId="{3F7A7787-00CA-42A0-97CD-637349527123}" dt="2021-07-11T11:37:51.357" v="246"/>
          <ac:spMkLst>
            <pc:docMk/>
            <pc:sldMk cId="3098860267" sldId="271"/>
            <ac:spMk id="36" creationId="{78831874-B4A3-481A-A883-015960F848C7}"/>
          </ac:spMkLst>
        </pc:spChg>
        <pc:spChg chg="mod">
          <ac:chgData name="Yash Ratanpal" userId="5db668b1-93e7-4c08-9786-4ed81315a653" providerId="ADAL" clId="{3F7A7787-00CA-42A0-97CD-637349527123}" dt="2021-07-11T11:37:51.357" v="246"/>
          <ac:spMkLst>
            <pc:docMk/>
            <pc:sldMk cId="3098860267" sldId="271"/>
            <ac:spMk id="37" creationId="{9F441798-B566-4DFE-A90D-51C895F807FB}"/>
          </ac:spMkLst>
        </pc:spChg>
        <pc:spChg chg="mod">
          <ac:chgData name="Yash Ratanpal" userId="5db668b1-93e7-4c08-9786-4ed81315a653" providerId="ADAL" clId="{3F7A7787-00CA-42A0-97CD-637349527123}" dt="2021-07-11T11:37:51.357" v="246"/>
          <ac:spMkLst>
            <pc:docMk/>
            <pc:sldMk cId="3098860267" sldId="271"/>
            <ac:spMk id="38" creationId="{093128D0-94B4-4C14-88A7-3422E39E0DE8}"/>
          </ac:spMkLst>
        </pc:spChg>
        <pc:spChg chg="mod">
          <ac:chgData name="Yash Ratanpal" userId="5db668b1-93e7-4c08-9786-4ed81315a653" providerId="ADAL" clId="{3F7A7787-00CA-42A0-97CD-637349527123}" dt="2021-07-11T11:37:51.357" v="246"/>
          <ac:spMkLst>
            <pc:docMk/>
            <pc:sldMk cId="3098860267" sldId="271"/>
            <ac:spMk id="39" creationId="{4758F742-489D-4DEF-A68C-AA5533ADB0C3}"/>
          </ac:spMkLst>
        </pc:spChg>
        <pc:grpChg chg="mod">
          <ac:chgData name="Yash Ratanpal" userId="5db668b1-93e7-4c08-9786-4ed81315a653" providerId="ADAL" clId="{3F7A7787-00CA-42A0-97CD-637349527123}" dt="2021-07-11T11:37:51.357" v="246"/>
          <ac:grpSpMkLst>
            <pc:docMk/>
            <pc:sldMk cId="3098860267" sldId="271"/>
            <ac:grpSpMk id="4" creationId="{148B5F57-3C0E-4340-8AAB-0BAC415DED47}"/>
          </ac:grpSpMkLst>
        </pc:grpChg>
        <pc:graphicFrameChg chg="mod">
          <ac:chgData name="Yash Ratanpal" userId="5db668b1-93e7-4c08-9786-4ed81315a653" providerId="ADAL" clId="{3F7A7787-00CA-42A0-97CD-637349527123}" dt="2021-07-11T11:37:51.357" v="246"/>
          <ac:graphicFrameMkLst>
            <pc:docMk/>
            <pc:sldMk cId="3098860267" sldId="271"/>
            <ac:graphicFrameMk id="34" creationId="{C7AC6EDB-13D1-4F45-9BE7-5044F175816F}"/>
          </ac:graphicFrameMkLst>
        </pc:graphicFrameChg>
        <pc:graphicFrameChg chg="mod">
          <ac:chgData name="Yash Ratanpal" userId="5db668b1-93e7-4c08-9786-4ed81315a653" providerId="ADAL" clId="{3F7A7787-00CA-42A0-97CD-637349527123}" dt="2021-07-11T11:37:51.357" v="246"/>
          <ac:graphicFrameMkLst>
            <pc:docMk/>
            <pc:sldMk cId="3098860267" sldId="271"/>
            <ac:graphicFrameMk id="35" creationId="{9ECB2DEC-5901-481A-8870-F1975C724C92}"/>
          </ac:graphicFrameMkLst>
        </pc:graphicFrameChg>
        <pc:picChg chg="mod">
          <ac:chgData name="Yash Ratanpal" userId="5db668b1-93e7-4c08-9786-4ed81315a653" providerId="ADAL" clId="{3F7A7787-00CA-42A0-97CD-637349527123}" dt="2021-07-11T11:37:51.357" v="246"/>
          <ac:picMkLst>
            <pc:docMk/>
            <pc:sldMk cId="3098860267" sldId="271"/>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2620761649" sldId="272"/>
        </pc:sldMkLst>
        <pc:spChg chg="mod">
          <ac:chgData name="Yash Ratanpal" userId="5db668b1-93e7-4c08-9786-4ed81315a653" providerId="ADAL" clId="{3F7A7787-00CA-42A0-97CD-637349527123}" dt="2021-07-11T11:37:51.357" v="246"/>
          <ac:spMkLst>
            <pc:docMk/>
            <pc:sldMk cId="2620761649" sldId="272"/>
            <ac:spMk id="3" creationId="{00000000-0000-0000-0000-000000000000}"/>
          </ac:spMkLst>
        </pc:spChg>
        <pc:spChg chg="mod">
          <ac:chgData name="Yash Ratanpal" userId="5db668b1-93e7-4c08-9786-4ed81315a653" providerId="ADAL" clId="{3F7A7787-00CA-42A0-97CD-637349527123}" dt="2021-07-11T11:37:51.357" v="246"/>
          <ac:spMkLst>
            <pc:docMk/>
            <pc:sldMk cId="2620761649" sldId="272"/>
            <ac:spMk id="16" creationId="{6B44EC52-BC45-4460-935E-56261F7B8E8D}"/>
          </ac:spMkLst>
        </pc:spChg>
        <pc:spChg chg="mod">
          <ac:chgData name="Yash Ratanpal" userId="5db668b1-93e7-4c08-9786-4ed81315a653" providerId="ADAL" clId="{3F7A7787-00CA-42A0-97CD-637349527123}" dt="2021-07-11T11:37:51.357" v="246"/>
          <ac:spMkLst>
            <pc:docMk/>
            <pc:sldMk cId="2620761649" sldId="272"/>
            <ac:spMk id="17" creationId="{8DA1B471-5E3B-4EB3-90A5-79C679725F27}"/>
          </ac:spMkLst>
        </pc:spChg>
        <pc:spChg chg="mod">
          <ac:chgData name="Yash Ratanpal" userId="5db668b1-93e7-4c08-9786-4ed81315a653" providerId="ADAL" clId="{3F7A7787-00CA-42A0-97CD-637349527123}" dt="2021-07-11T11:37:51.357" v="246"/>
          <ac:spMkLst>
            <pc:docMk/>
            <pc:sldMk cId="2620761649" sldId="272"/>
            <ac:spMk id="18" creationId="{A6B2C611-B169-4B76-9DA0-70CBBE42ED33}"/>
          </ac:spMkLst>
        </pc:spChg>
        <pc:spChg chg="mod">
          <ac:chgData name="Yash Ratanpal" userId="5db668b1-93e7-4c08-9786-4ed81315a653" providerId="ADAL" clId="{3F7A7787-00CA-42A0-97CD-637349527123}" dt="2021-07-11T11:37:51.357" v="246"/>
          <ac:spMkLst>
            <pc:docMk/>
            <pc:sldMk cId="2620761649" sldId="272"/>
            <ac:spMk id="19" creationId="{6B9E840B-DE9F-4266-A66C-F4DCD27F9BDB}"/>
          </ac:spMkLst>
        </pc:spChg>
        <pc:spChg chg="mod">
          <ac:chgData name="Yash Ratanpal" userId="5db668b1-93e7-4c08-9786-4ed81315a653" providerId="ADAL" clId="{3F7A7787-00CA-42A0-97CD-637349527123}" dt="2021-07-11T11:37:51.357" v="246"/>
          <ac:spMkLst>
            <pc:docMk/>
            <pc:sldMk cId="2620761649" sldId="272"/>
            <ac:spMk id="20" creationId="{E190F4F3-C74E-47F1-917B-C9D60DB57885}"/>
          </ac:spMkLst>
        </pc:spChg>
        <pc:spChg chg="mod">
          <ac:chgData name="Yash Ratanpal" userId="5db668b1-93e7-4c08-9786-4ed81315a653" providerId="ADAL" clId="{3F7A7787-00CA-42A0-97CD-637349527123}" dt="2021-07-11T11:37:51.357" v="246"/>
          <ac:spMkLst>
            <pc:docMk/>
            <pc:sldMk cId="2620761649" sldId="272"/>
            <ac:spMk id="21" creationId="{90EE2CE0-6C67-4EDB-92FF-7FDCF9F43537}"/>
          </ac:spMkLst>
        </pc:spChg>
        <pc:spChg chg="mod">
          <ac:chgData name="Yash Ratanpal" userId="5db668b1-93e7-4c08-9786-4ed81315a653" providerId="ADAL" clId="{3F7A7787-00CA-42A0-97CD-637349527123}" dt="2021-07-11T11:37:51.357" v="246"/>
          <ac:spMkLst>
            <pc:docMk/>
            <pc:sldMk cId="2620761649" sldId="272"/>
            <ac:spMk id="22" creationId="{C155721E-01C4-48B7-B3AD-8D1F44491024}"/>
          </ac:spMkLst>
        </pc:spChg>
        <pc:spChg chg="mod">
          <ac:chgData name="Yash Ratanpal" userId="5db668b1-93e7-4c08-9786-4ed81315a653" providerId="ADAL" clId="{3F7A7787-00CA-42A0-97CD-637349527123}" dt="2021-07-11T11:37:51.357" v="246"/>
          <ac:spMkLst>
            <pc:docMk/>
            <pc:sldMk cId="2620761649" sldId="272"/>
            <ac:spMk id="23" creationId="{5743D8B2-39E9-4F66-A400-9FA71E8DD478}"/>
          </ac:spMkLst>
        </pc:spChg>
        <pc:spChg chg="mod">
          <ac:chgData name="Yash Ratanpal" userId="5db668b1-93e7-4c08-9786-4ed81315a653" providerId="ADAL" clId="{3F7A7787-00CA-42A0-97CD-637349527123}" dt="2021-07-11T11:37:51.357" v="246"/>
          <ac:spMkLst>
            <pc:docMk/>
            <pc:sldMk cId="2620761649" sldId="272"/>
            <ac:spMk id="24" creationId="{C10A735A-F13E-4B3D-95E4-3BC65BAA3E50}"/>
          </ac:spMkLst>
        </pc:spChg>
        <pc:spChg chg="mod">
          <ac:chgData name="Yash Ratanpal" userId="5db668b1-93e7-4c08-9786-4ed81315a653" providerId="ADAL" clId="{3F7A7787-00CA-42A0-97CD-637349527123}" dt="2021-07-11T11:37:51.357" v="246"/>
          <ac:spMkLst>
            <pc:docMk/>
            <pc:sldMk cId="2620761649" sldId="272"/>
            <ac:spMk id="26" creationId="{A3686232-EB8B-4DAD-8D0B-8A4D1A777ECF}"/>
          </ac:spMkLst>
        </pc:spChg>
        <pc:spChg chg="mod">
          <ac:chgData name="Yash Ratanpal" userId="5db668b1-93e7-4c08-9786-4ed81315a653" providerId="ADAL" clId="{3F7A7787-00CA-42A0-97CD-637349527123}" dt="2021-07-11T11:37:51.357" v="246"/>
          <ac:spMkLst>
            <pc:docMk/>
            <pc:sldMk cId="2620761649" sldId="272"/>
            <ac:spMk id="27" creationId="{AF46A2BD-90AB-481C-9CF2-C40B1E91DCD7}"/>
          </ac:spMkLst>
        </pc:spChg>
        <pc:spChg chg="mod">
          <ac:chgData name="Yash Ratanpal" userId="5db668b1-93e7-4c08-9786-4ed81315a653" providerId="ADAL" clId="{3F7A7787-00CA-42A0-97CD-637349527123}" dt="2021-07-11T11:37:51.357" v="246"/>
          <ac:spMkLst>
            <pc:docMk/>
            <pc:sldMk cId="2620761649" sldId="272"/>
            <ac:spMk id="28" creationId="{0B62E0FF-A57B-4F76-B81B-AB0793C84C9A}"/>
          </ac:spMkLst>
        </pc:spChg>
        <pc:spChg chg="mod">
          <ac:chgData name="Yash Ratanpal" userId="5db668b1-93e7-4c08-9786-4ed81315a653" providerId="ADAL" clId="{3F7A7787-00CA-42A0-97CD-637349527123}" dt="2021-07-11T11:37:51.357" v="246"/>
          <ac:spMkLst>
            <pc:docMk/>
            <pc:sldMk cId="2620761649" sldId="272"/>
            <ac:spMk id="29" creationId="{6F422354-BC40-4DD8-BF46-E98106194C35}"/>
          </ac:spMkLst>
        </pc:spChg>
        <pc:spChg chg="mod">
          <ac:chgData name="Yash Ratanpal" userId="5db668b1-93e7-4c08-9786-4ed81315a653" providerId="ADAL" clId="{3F7A7787-00CA-42A0-97CD-637349527123}" dt="2021-07-11T11:37:51.357" v="246"/>
          <ac:spMkLst>
            <pc:docMk/>
            <pc:sldMk cId="2620761649" sldId="272"/>
            <ac:spMk id="30" creationId="{EB458BE5-0A89-4ED4-99F4-9DD7DF0E0C4E}"/>
          </ac:spMkLst>
        </pc:spChg>
        <pc:spChg chg="mod">
          <ac:chgData name="Yash Ratanpal" userId="5db668b1-93e7-4c08-9786-4ed81315a653" providerId="ADAL" clId="{3F7A7787-00CA-42A0-97CD-637349527123}" dt="2021-07-11T11:37:51.357" v="246"/>
          <ac:spMkLst>
            <pc:docMk/>
            <pc:sldMk cId="2620761649" sldId="272"/>
            <ac:spMk id="31" creationId="{FACA4A3A-85C5-4EE3-A0CB-F80AFB5DD723}"/>
          </ac:spMkLst>
        </pc:spChg>
        <pc:spChg chg="mod">
          <ac:chgData name="Yash Ratanpal" userId="5db668b1-93e7-4c08-9786-4ed81315a653" providerId="ADAL" clId="{3F7A7787-00CA-42A0-97CD-637349527123}" dt="2021-07-11T11:37:51.357" v="246"/>
          <ac:spMkLst>
            <pc:docMk/>
            <pc:sldMk cId="2620761649" sldId="272"/>
            <ac:spMk id="32" creationId="{73673E64-405B-45FB-8541-D954E029D387}"/>
          </ac:spMkLst>
        </pc:spChg>
        <pc:grpChg chg="mod">
          <ac:chgData name="Yash Ratanpal" userId="5db668b1-93e7-4c08-9786-4ed81315a653" providerId="ADAL" clId="{3F7A7787-00CA-42A0-97CD-637349527123}" dt="2021-07-11T11:37:51.357" v="246"/>
          <ac:grpSpMkLst>
            <pc:docMk/>
            <pc:sldMk cId="2620761649" sldId="272"/>
            <ac:grpSpMk id="5" creationId="{4A94DA67-C669-4C93-83B3-207890FAD9FD}"/>
          </ac:grpSpMkLst>
        </pc:grpChg>
        <pc:grpChg chg="mod">
          <ac:chgData name="Yash Ratanpal" userId="5db668b1-93e7-4c08-9786-4ed81315a653" providerId="ADAL" clId="{3F7A7787-00CA-42A0-97CD-637349527123}" dt="2021-07-11T11:37:51.357" v="246"/>
          <ac:grpSpMkLst>
            <pc:docMk/>
            <pc:sldMk cId="2620761649" sldId="272"/>
            <ac:grpSpMk id="11" creationId="{86240652-B8F4-41D1-98C7-696CB7765C7F}"/>
          </ac:grpSpMkLst>
        </pc:grpChg>
        <pc:grpChg chg="mod">
          <ac:chgData name="Yash Ratanpal" userId="5db668b1-93e7-4c08-9786-4ed81315a653" providerId="ADAL" clId="{3F7A7787-00CA-42A0-97CD-637349527123}" dt="2021-07-11T11:37:51.357" v="246"/>
          <ac:grpSpMkLst>
            <pc:docMk/>
            <pc:sldMk cId="2620761649" sldId="272"/>
            <ac:grpSpMk id="12" creationId="{5F7AE9B6-0AAD-49FA-B774-3F3DF4FF0F33}"/>
          </ac:grpSpMkLst>
        </pc:grpChg>
        <pc:grpChg chg="mod">
          <ac:chgData name="Yash Ratanpal" userId="5db668b1-93e7-4c08-9786-4ed81315a653" providerId="ADAL" clId="{3F7A7787-00CA-42A0-97CD-637349527123}" dt="2021-07-11T11:37:51.357" v="246"/>
          <ac:grpSpMkLst>
            <pc:docMk/>
            <pc:sldMk cId="2620761649" sldId="272"/>
            <ac:grpSpMk id="13" creationId="{8B252165-9440-4506-88F8-7B125998C487}"/>
          </ac:grpSpMkLst>
        </pc:grpChg>
        <pc:grpChg chg="mod">
          <ac:chgData name="Yash Ratanpal" userId="5db668b1-93e7-4c08-9786-4ed81315a653" providerId="ADAL" clId="{3F7A7787-00CA-42A0-97CD-637349527123}" dt="2021-07-11T11:37:51.357" v="246"/>
          <ac:grpSpMkLst>
            <pc:docMk/>
            <pc:sldMk cId="2620761649" sldId="272"/>
            <ac:grpSpMk id="14" creationId="{33E80F23-9BAB-40FF-9B5A-4726B2FDD3C9}"/>
          </ac:grpSpMkLst>
        </pc:grpChg>
        <pc:grpChg chg="mod">
          <ac:chgData name="Yash Ratanpal" userId="5db668b1-93e7-4c08-9786-4ed81315a653" providerId="ADAL" clId="{3F7A7787-00CA-42A0-97CD-637349527123}" dt="2021-07-11T11:37:51.357" v="246"/>
          <ac:grpSpMkLst>
            <pc:docMk/>
            <pc:sldMk cId="2620761649" sldId="272"/>
            <ac:grpSpMk id="15" creationId="{49526301-AC46-4CCA-946D-EF92355E9B29}"/>
          </ac:grpSpMkLst>
        </pc:grpChg>
        <pc:grpChg chg="mod">
          <ac:chgData name="Yash Ratanpal" userId="5db668b1-93e7-4c08-9786-4ed81315a653" providerId="ADAL" clId="{3F7A7787-00CA-42A0-97CD-637349527123}" dt="2021-07-11T11:37:51.357" v="246"/>
          <ac:grpSpMkLst>
            <pc:docMk/>
            <pc:sldMk cId="2620761649" sldId="272"/>
            <ac:grpSpMk id="25" creationId="{AF883FE8-1A9C-4E1D-8A22-A8EEF27F82F0}"/>
          </ac:grpSpMkLst>
        </pc:grpChg>
        <pc:picChg chg="mod">
          <ac:chgData name="Yash Ratanpal" userId="5db668b1-93e7-4c08-9786-4ed81315a653" providerId="ADAL" clId="{3F7A7787-00CA-42A0-97CD-637349527123}" dt="2021-07-11T11:37:51.357" v="246"/>
          <ac:picMkLst>
            <pc:docMk/>
            <pc:sldMk cId="2620761649" sldId="272"/>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1134598504" sldId="273"/>
        </pc:sldMkLst>
        <pc:spChg chg="mod">
          <ac:chgData name="Yash Ratanpal" userId="5db668b1-93e7-4c08-9786-4ed81315a653" providerId="ADAL" clId="{3F7A7787-00CA-42A0-97CD-637349527123}" dt="2021-07-11T11:37:51.357" v="246"/>
          <ac:spMkLst>
            <pc:docMk/>
            <pc:sldMk cId="1134598504" sldId="273"/>
            <ac:spMk id="3" creationId="{00000000-0000-0000-0000-000000000000}"/>
          </ac:spMkLst>
        </pc:spChg>
        <pc:spChg chg="mod">
          <ac:chgData name="Yash Ratanpal" userId="5db668b1-93e7-4c08-9786-4ed81315a653" providerId="ADAL" clId="{3F7A7787-00CA-42A0-97CD-637349527123}" dt="2021-07-11T11:37:51.357" v="246"/>
          <ac:spMkLst>
            <pc:docMk/>
            <pc:sldMk cId="1134598504" sldId="273"/>
            <ac:spMk id="47" creationId="{BF8F7F28-F0A3-4698-8AD7-462CAB47190E}"/>
          </ac:spMkLst>
        </pc:spChg>
        <pc:spChg chg="mod">
          <ac:chgData name="Yash Ratanpal" userId="5db668b1-93e7-4c08-9786-4ed81315a653" providerId="ADAL" clId="{3F7A7787-00CA-42A0-97CD-637349527123}" dt="2021-07-11T11:37:51.357" v="246"/>
          <ac:spMkLst>
            <pc:docMk/>
            <pc:sldMk cId="1134598504" sldId="273"/>
            <ac:spMk id="48" creationId="{6945BC42-FEA1-45DD-BE91-6871B6A93147}"/>
          </ac:spMkLst>
        </pc:spChg>
        <pc:spChg chg="mod">
          <ac:chgData name="Yash Ratanpal" userId="5db668b1-93e7-4c08-9786-4ed81315a653" providerId="ADAL" clId="{3F7A7787-00CA-42A0-97CD-637349527123}" dt="2021-07-11T11:37:51.357" v="246"/>
          <ac:spMkLst>
            <pc:docMk/>
            <pc:sldMk cId="1134598504" sldId="273"/>
            <ac:spMk id="49" creationId="{1B2E23B8-0357-4C5D-9212-72FCF26F16D2}"/>
          </ac:spMkLst>
        </pc:spChg>
        <pc:spChg chg="mod">
          <ac:chgData name="Yash Ratanpal" userId="5db668b1-93e7-4c08-9786-4ed81315a653" providerId="ADAL" clId="{3F7A7787-00CA-42A0-97CD-637349527123}" dt="2021-07-11T11:37:51.357" v="246"/>
          <ac:spMkLst>
            <pc:docMk/>
            <pc:sldMk cId="1134598504" sldId="273"/>
            <ac:spMk id="50" creationId="{CE8AA673-B24E-4128-B11E-43322E6A8917}"/>
          </ac:spMkLst>
        </pc:spChg>
        <pc:spChg chg="mod">
          <ac:chgData name="Yash Ratanpal" userId="5db668b1-93e7-4c08-9786-4ed81315a653" providerId="ADAL" clId="{3F7A7787-00CA-42A0-97CD-637349527123}" dt="2021-07-11T11:37:51.357" v="246"/>
          <ac:spMkLst>
            <pc:docMk/>
            <pc:sldMk cId="1134598504" sldId="273"/>
            <ac:spMk id="51" creationId="{2C4B9A90-139E-4535-ACC6-7EB253681438}"/>
          </ac:spMkLst>
        </pc:spChg>
        <pc:spChg chg="mod">
          <ac:chgData name="Yash Ratanpal" userId="5db668b1-93e7-4c08-9786-4ed81315a653" providerId="ADAL" clId="{3F7A7787-00CA-42A0-97CD-637349527123}" dt="2021-07-11T11:37:51.357" v="246"/>
          <ac:spMkLst>
            <pc:docMk/>
            <pc:sldMk cId="1134598504" sldId="273"/>
            <ac:spMk id="52" creationId="{A352DCDD-341A-4D12-BDE4-6BAA75CC0178}"/>
          </ac:spMkLst>
        </pc:spChg>
        <pc:spChg chg="mod">
          <ac:chgData name="Yash Ratanpal" userId="5db668b1-93e7-4c08-9786-4ed81315a653" providerId="ADAL" clId="{3F7A7787-00CA-42A0-97CD-637349527123}" dt="2021-07-11T11:37:51.357" v="246"/>
          <ac:spMkLst>
            <pc:docMk/>
            <pc:sldMk cId="1134598504" sldId="273"/>
            <ac:spMk id="53" creationId="{663B7A41-9FBA-4E16-8951-6E8952AD1D3C}"/>
          </ac:spMkLst>
        </pc:spChg>
        <pc:spChg chg="mod">
          <ac:chgData name="Yash Ratanpal" userId="5db668b1-93e7-4c08-9786-4ed81315a653" providerId="ADAL" clId="{3F7A7787-00CA-42A0-97CD-637349527123}" dt="2021-07-11T11:37:51.357" v="246"/>
          <ac:spMkLst>
            <pc:docMk/>
            <pc:sldMk cId="1134598504" sldId="273"/>
            <ac:spMk id="54" creationId="{1738C665-50D4-4864-8814-BE220281031B}"/>
          </ac:spMkLst>
        </pc:spChg>
        <pc:graphicFrameChg chg="mod">
          <ac:chgData name="Yash Ratanpal" userId="5db668b1-93e7-4c08-9786-4ed81315a653" providerId="ADAL" clId="{3F7A7787-00CA-42A0-97CD-637349527123}" dt="2021-07-11T11:37:51.357" v="246"/>
          <ac:graphicFrameMkLst>
            <pc:docMk/>
            <pc:sldMk cId="1134598504" sldId="273"/>
            <ac:graphicFrameMk id="37" creationId="{BC066F2D-42CB-4732-B76A-D6A55CB9D57A}"/>
          </ac:graphicFrameMkLst>
        </pc:graphicFrameChg>
        <pc:graphicFrameChg chg="mod">
          <ac:chgData name="Yash Ratanpal" userId="5db668b1-93e7-4c08-9786-4ed81315a653" providerId="ADAL" clId="{3F7A7787-00CA-42A0-97CD-637349527123}" dt="2021-07-11T11:37:51.357" v="246"/>
          <ac:graphicFrameMkLst>
            <pc:docMk/>
            <pc:sldMk cId="1134598504" sldId="273"/>
            <ac:graphicFrameMk id="40" creationId="{D26C81F2-B63F-4356-8CF1-7555CEEAA7EE}"/>
          </ac:graphicFrameMkLst>
        </pc:graphicFrameChg>
        <pc:picChg chg="mod">
          <ac:chgData name="Yash Ratanpal" userId="5db668b1-93e7-4c08-9786-4ed81315a653" providerId="ADAL" clId="{3F7A7787-00CA-42A0-97CD-637349527123}" dt="2021-07-11T11:37:51.357" v="246"/>
          <ac:picMkLst>
            <pc:docMk/>
            <pc:sldMk cId="1134598504" sldId="273"/>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2417186151" sldId="274"/>
        </pc:sldMkLst>
        <pc:spChg chg="mod">
          <ac:chgData name="Yash Ratanpal" userId="5db668b1-93e7-4c08-9786-4ed81315a653" providerId="ADAL" clId="{3F7A7787-00CA-42A0-97CD-637349527123}" dt="2021-07-11T11:37:51.357" v="246"/>
          <ac:spMkLst>
            <pc:docMk/>
            <pc:sldMk cId="2417186151" sldId="274"/>
            <ac:spMk id="3" creationId="{00000000-0000-0000-0000-000000000000}"/>
          </ac:spMkLst>
        </pc:spChg>
        <pc:spChg chg="mod">
          <ac:chgData name="Yash Ratanpal" userId="5db668b1-93e7-4c08-9786-4ed81315a653" providerId="ADAL" clId="{3F7A7787-00CA-42A0-97CD-637349527123}" dt="2021-07-11T11:37:51.357" v="246"/>
          <ac:spMkLst>
            <pc:docMk/>
            <pc:sldMk cId="2417186151" sldId="274"/>
            <ac:spMk id="25" creationId="{03E3F738-A472-4248-9C29-9550C2D8A61C}"/>
          </ac:spMkLst>
        </pc:spChg>
        <pc:spChg chg="mod">
          <ac:chgData name="Yash Ratanpal" userId="5db668b1-93e7-4c08-9786-4ed81315a653" providerId="ADAL" clId="{3F7A7787-00CA-42A0-97CD-637349527123}" dt="2021-07-11T11:37:51.357" v="246"/>
          <ac:spMkLst>
            <pc:docMk/>
            <pc:sldMk cId="2417186151" sldId="274"/>
            <ac:spMk id="26" creationId="{0EE998F1-B241-4A49-A92D-E813FCC818C5}"/>
          </ac:spMkLst>
        </pc:spChg>
        <pc:spChg chg="mod">
          <ac:chgData name="Yash Ratanpal" userId="5db668b1-93e7-4c08-9786-4ed81315a653" providerId="ADAL" clId="{3F7A7787-00CA-42A0-97CD-637349527123}" dt="2021-07-11T11:37:51.357" v="246"/>
          <ac:spMkLst>
            <pc:docMk/>
            <pc:sldMk cId="2417186151" sldId="274"/>
            <ac:spMk id="27" creationId="{98B138C2-20BA-4245-81CF-A39BC5F3A37A}"/>
          </ac:spMkLst>
        </pc:spChg>
        <pc:spChg chg="mod">
          <ac:chgData name="Yash Ratanpal" userId="5db668b1-93e7-4c08-9786-4ed81315a653" providerId="ADAL" clId="{3F7A7787-00CA-42A0-97CD-637349527123}" dt="2021-07-11T11:37:51.357" v="246"/>
          <ac:spMkLst>
            <pc:docMk/>
            <pc:sldMk cId="2417186151" sldId="274"/>
            <ac:spMk id="28" creationId="{22C1B640-224A-4C1E-AD97-7D6588195B64}"/>
          </ac:spMkLst>
        </pc:spChg>
        <pc:graphicFrameChg chg="mod">
          <ac:chgData name="Yash Ratanpal" userId="5db668b1-93e7-4c08-9786-4ed81315a653" providerId="ADAL" clId="{3F7A7787-00CA-42A0-97CD-637349527123}" dt="2021-07-11T11:37:51.357" v="246"/>
          <ac:graphicFrameMkLst>
            <pc:docMk/>
            <pc:sldMk cId="2417186151" sldId="274"/>
            <ac:graphicFrameMk id="23" creationId="{8F6DBB83-0AFA-436F-9A11-DB131BDD2ADA}"/>
          </ac:graphicFrameMkLst>
        </pc:graphicFrameChg>
        <pc:graphicFrameChg chg="mod">
          <ac:chgData name="Yash Ratanpal" userId="5db668b1-93e7-4c08-9786-4ed81315a653" providerId="ADAL" clId="{3F7A7787-00CA-42A0-97CD-637349527123}" dt="2021-07-11T11:37:51.357" v="246"/>
          <ac:graphicFrameMkLst>
            <pc:docMk/>
            <pc:sldMk cId="2417186151" sldId="274"/>
            <ac:graphicFrameMk id="24" creationId="{6D7E0E05-97E4-43AB-A935-ADBF431F3003}"/>
          </ac:graphicFrameMkLst>
        </pc:graphicFrameChg>
        <pc:picChg chg="mod">
          <ac:chgData name="Yash Ratanpal" userId="5db668b1-93e7-4c08-9786-4ed81315a653" providerId="ADAL" clId="{3F7A7787-00CA-42A0-97CD-637349527123}" dt="2021-07-11T11:37:51.357" v="246"/>
          <ac:picMkLst>
            <pc:docMk/>
            <pc:sldMk cId="2417186151" sldId="274"/>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695205185" sldId="275"/>
        </pc:sldMkLst>
        <pc:spChg chg="mod">
          <ac:chgData name="Yash Ratanpal" userId="5db668b1-93e7-4c08-9786-4ed81315a653" providerId="ADAL" clId="{3F7A7787-00CA-42A0-97CD-637349527123}" dt="2021-07-11T11:37:51.357" v="246"/>
          <ac:spMkLst>
            <pc:docMk/>
            <pc:sldMk cId="695205185" sldId="275"/>
            <ac:spMk id="3" creationId="{00000000-0000-0000-0000-000000000000}"/>
          </ac:spMkLst>
        </pc:spChg>
        <pc:grpChg chg="mod">
          <ac:chgData name="Yash Ratanpal" userId="5db668b1-93e7-4c08-9786-4ed81315a653" providerId="ADAL" clId="{3F7A7787-00CA-42A0-97CD-637349527123}" dt="2021-07-11T11:37:51.357" v="246"/>
          <ac:grpSpMkLst>
            <pc:docMk/>
            <pc:sldMk cId="695205185" sldId="275"/>
            <ac:grpSpMk id="4" creationId="{270F8A50-899F-4183-AE4A-48FF104D3276}"/>
          </ac:grpSpMkLst>
        </pc:grpChg>
        <pc:graphicFrameChg chg="mod">
          <ac:chgData name="Yash Ratanpal" userId="5db668b1-93e7-4c08-9786-4ed81315a653" providerId="ADAL" clId="{3F7A7787-00CA-42A0-97CD-637349527123}" dt="2021-07-11T11:37:51.357" v="246"/>
          <ac:graphicFrameMkLst>
            <pc:docMk/>
            <pc:sldMk cId="695205185" sldId="275"/>
            <ac:graphicFrameMk id="30" creationId="{498C1681-45B2-4A31-8869-7EC88CC6DE61}"/>
          </ac:graphicFrameMkLst>
        </pc:graphicFrameChg>
        <pc:graphicFrameChg chg="mod">
          <ac:chgData name="Yash Ratanpal" userId="5db668b1-93e7-4c08-9786-4ed81315a653" providerId="ADAL" clId="{3F7A7787-00CA-42A0-97CD-637349527123}" dt="2021-07-11T11:37:51.357" v="246"/>
          <ac:graphicFrameMkLst>
            <pc:docMk/>
            <pc:sldMk cId="695205185" sldId="275"/>
            <ac:graphicFrameMk id="31" creationId="{B30A914D-A8D9-411B-B667-D909EB170D20}"/>
          </ac:graphicFrameMkLst>
        </pc:graphicFrameChg>
        <pc:graphicFrameChg chg="mod">
          <ac:chgData name="Yash Ratanpal" userId="5db668b1-93e7-4c08-9786-4ed81315a653" providerId="ADAL" clId="{3F7A7787-00CA-42A0-97CD-637349527123}" dt="2021-07-11T11:37:51.357" v="246"/>
          <ac:graphicFrameMkLst>
            <pc:docMk/>
            <pc:sldMk cId="695205185" sldId="275"/>
            <ac:graphicFrameMk id="32" creationId="{10625755-A950-4885-8676-82080BD49ABA}"/>
          </ac:graphicFrameMkLst>
        </pc:graphicFrameChg>
        <pc:graphicFrameChg chg="mod">
          <ac:chgData name="Yash Ratanpal" userId="5db668b1-93e7-4c08-9786-4ed81315a653" providerId="ADAL" clId="{3F7A7787-00CA-42A0-97CD-637349527123}" dt="2021-07-11T11:37:51.357" v="246"/>
          <ac:graphicFrameMkLst>
            <pc:docMk/>
            <pc:sldMk cId="695205185" sldId="275"/>
            <ac:graphicFrameMk id="33" creationId="{0CDAEE64-9FB0-42A0-B42E-FA72DBD2F5CB}"/>
          </ac:graphicFrameMkLst>
        </pc:graphicFrameChg>
        <pc:picChg chg="mod">
          <ac:chgData name="Yash Ratanpal" userId="5db668b1-93e7-4c08-9786-4ed81315a653" providerId="ADAL" clId="{3F7A7787-00CA-42A0-97CD-637349527123}" dt="2021-07-11T11:37:51.357" v="246"/>
          <ac:picMkLst>
            <pc:docMk/>
            <pc:sldMk cId="695205185" sldId="275"/>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821617242" sldId="276"/>
        </pc:sldMkLst>
        <pc:spChg chg="mod">
          <ac:chgData name="Yash Ratanpal" userId="5db668b1-93e7-4c08-9786-4ed81315a653" providerId="ADAL" clId="{3F7A7787-00CA-42A0-97CD-637349527123}" dt="2021-07-11T11:37:51.357" v="246"/>
          <ac:spMkLst>
            <pc:docMk/>
            <pc:sldMk cId="821617242" sldId="276"/>
            <ac:spMk id="3" creationId="{00000000-0000-0000-0000-000000000000}"/>
          </ac:spMkLst>
        </pc:spChg>
        <pc:spChg chg="mod">
          <ac:chgData name="Yash Ratanpal" userId="5db668b1-93e7-4c08-9786-4ed81315a653" providerId="ADAL" clId="{3F7A7787-00CA-42A0-97CD-637349527123}" dt="2021-07-11T11:37:51.357" v="246"/>
          <ac:spMkLst>
            <pc:docMk/>
            <pc:sldMk cId="821617242" sldId="276"/>
            <ac:spMk id="9" creationId="{86384371-AB21-4C58-B6EA-DC9BD623EFDD}"/>
          </ac:spMkLst>
        </pc:spChg>
        <pc:spChg chg="mod">
          <ac:chgData name="Yash Ratanpal" userId="5db668b1-93e7-4c08-9786-4ed81315a653" providerId="ADAL" clId="{3F7A7787-00CA-42A0-97CD-637349527123}" dt="2021-07-11T11:37:51.357" v="246"/>
          <ac:spMkLst>
            <pc:docMk/>
            <pc:sldMk cId="821617242" sldId="276"/>
            <ac:spMk id="11" creationId="{B1895CBC-207D-44D1-9096-A6D6C43CFBB6}"/>
          </ac:spMkLst>
        </pc:spChg>
        <pc:spChg chg="mod">
          <ac:chgData name="Yash Ratanpal" userId="5db668b1-93e7-4c08-9786-4ed81315a653" providerId="ADAL" clId="{3F7A7787-00CA-42A0-97CD-637349527123}" dt="2021-07-11T11:37:51.357" v="246"/>
          <ac:spMkLst>
            <pc:docMk/>
            <pc:sldMk cId="821617242" sldId="276"/>
            <ac:spMk id="12" creationId="{C0928D64-0805-4015-8A1A-B3D1ED04C945}"/>
          </ac:spMkLst>
        </pc:spChg>
        <pc:graphicFrameChg chg="mod">
          <ac:chgData name="Yash Ratanpal" userId="5db668b1-93e7-4c08-9786-4ed81315a653" providerId="ADAL" clId="{3F7A7787-00CA-42A0-97CD-637349527123}" dt="2021-07-11T11:37:51.357" v="246"/>
          <ac:graphicFrameMkLst>
            <pc:docMk/>
            <pc:sldMk cId="821617242" sldId="276"/>
            <ac:graphicFrameMk id="10" creationId="{0E23AAE8-085E-4F23-8EEF-4E639F92EF94}"/>
          </ac:graphicFrameMkLst>
        </pc:graphicFrameChg>
        <pc:picChg chg="mod">
          <ac:chgData name="Yash Ratanpal" userId="5db668b1-93e7-4c08-9786-4ed81315a653" providerId="ADAL" clId="{3F7A7787-00CA-42A0-97CD-637349527123}" dt="2021-07-11T11:37:51.357" v="246"/>
          <ac:picMkLst>
            <pc:docMk/>
            <pc:sldMk cId="821617242" sldId="276"/>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2860910765" sldId="277"/>
        </pc:sldMkLst>
        <pc:spChg chg="mod">
          <ac:chgData name="Yash Ratanpal" userId="5db668b1-93e7-4c08-9786-4ed81315a653" providerId="ADAL" clId="{3F7A7787-00CA-42A0-97CD-637349527123}" dt="2021-07-11T11:37:51.357" v="246"/>
          <ac:spMkLst>
            <pc:docMk/>
            <pc:sldMk cId="2860910765" sldId="277"/>
            <ac:spMk id="3" creationId="{00000000-0000-0000-0000-000000000000}"/>
          </ac:spMkLst>
        </pc:spChg>
        <pc:graphicFrameChg chg="mod">
          <ac:chgData name="Yash Ratanpal" userId="5db668b1-93e7-4c08-9786-4ed81315a653" providerId="ADAL" clId="{3F7A7787-00CA-42A0-97CD-637349527123}" dt="2021-07-11T11:37:51.357" v="246"/>
          <ac:graphicFrameMkLst>
            <pc:docMk/>
            <pc:sldMk cId="2860910765" sldId="277"/>
            <ac:graphicFrameMk id="8" creationId="{28AD20F4-F83E-4A86-9306-B60D0595C29B}"/>
          </ac:graphicFrameMkLst>
        </pc:graphicFrameChg>
        <pc:picChg chg="mod">
          <ac:chgData name="Yash Ratanpal" userId="5db668b1-93e7-4c08-9786-4ed81315a653" providerId="ADAL" clId="{3F7A7787-00CA-42A0-97CD-637349527123}" dt="2021-07-11T11:37:51.357" v="246"/>
          <ac:picMkLst>
            <pc:docMk/>
            <pc:sldMk cId="2860910765" sldId="277"/>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3225331905" sldId="278"/>
        </pc:sldMkLst>
        <pc:spChg chg="mod">
          <ac:chgData name="Yash Ratanpal" userId="5db668b1-93e7-4c08-9786-4ed81315a653" providerId="ADAL" clId="{3F7A7787-00CA-42A0-97CD-637349527123}" dt="2021-07-11T11:37:51.357" v="246"/>
          <ac:spMkLst>
            <pc:docMk/>
            <pc:sldMk cId="3225331905" sldId="278"/>
            <ac:spMk id="3" creationId="{00000000-0000-0000-0000-000000000000}"/>
          </ac:spMkLst>
        </pc:spChg>
        <pc:spChg chg="mod">
          <ac:chgData name="Yash Ratanpal" userId="5db668b1-93e7-4c08-9786-4ed81315a653" providerId="ADAL" clId="{3F7A7787-00CA-42A0-97CD-637349527123}" dt="2021-07-11T11:37:51.357" v="246"/>
          <ac:spMkLst>
            <pc:docMk/>
            <pc:sldMk cId="3225331905" sldId="278"/>
            <ac:spMk id="9" creationId="{C6C60B75-4F08-4827-968E-66417DE231CA}"/>
          </ac:spMkLst>
        </pc:spChg>
        <pc:spChg chg="mod">
          <ac:chgData name="Yash Ratanpal" userId="5db668b1-93e7-4c08-9786-4ed81315a653" providerId="ADAL" clId="{3F7A7787-00CA-42A0-97CD-637349527123}" dt="2021-07-11T11:37:51.357" v="246"/>
          <ac:spMkLst>
            <pc:docMk/>
            <pc:sldMk cId="3225331905" sldId="278"/>
            <ac:spMk id="11" creationId="{B6091366-24F1-41DA-8087-A146ED546FFF}"/>
          </ac:spMkLst>
        </pc:spChg>
        <pc:graphicFrameChg chg="mod">
          <ac:chgData name="Yash Ratanpal" userId="5db668b1-93e7-4c08-9786-4ed81315a653" providerId="ADAL" clId="{3F7A7787-00CA-42A0-97CD-637349527123}" dt="2021-07-11T11:37:51.357" v="246"/>
          <ac:graphicFrameMkLst>
            <pc:docMk/>
            <pc:sldMk cId="3225331905" sldId="278"/>
            <ac:graphicFrameMk id="6" creationId="{6CA7A5FB-3FD8-4219-BC01-C9AA69A1B2E9}"/>
          </ac:graphicFrameMkLst>
        </pc:graphicFrameChg>
        <pc:graphicFrameChg chg="mod">
          <ac:chgData name="Yash Ratanpal" userId="5db668b1-93e7-4c08-9786-4ed81315a653" providerId="ADAL" clId="{3F7A7787-00CA-42A0-97CD-637349527123}" dt="2021-07-11T11:37:51.357" v="246"/>
          <ac:graphicFrameMkLst>
            <pc:docMk/>
            <pc:sldMk cId="3225331905" sldId="278"/>
            <ac:graphicFrameMk id="7" creationId="{115FBCD7-3783-4CED-AB99-F27838196D28}"/>
          </ac:graphicFrameMkLst>
        </pc:graphicFrameChg>
        <pc:graphicFrameChg chg="mod">
          <ac:chgData name="Yash Ratanpal" userId="5db668b1-93e7-4c08-9786-4ed81315a653" providerId="ADAL" clId="{3F7A7787-00CA-42A0-97CD-637349527123}" dt="2021-07-11T11:37:51.357" v="246"/>
          <ac:graphicFrameMkLst>
            <pc:docMk/>
            <pc:sldMk cId="3225331905" sldId="278"/>
            <ac:graphicFrameMk id="10" creationId="{F9F9D45A-DE64-406E-BC98-83FC9EA83363}"/>
          </ac:graphicFrameMkLst>
        </pc:graphicFrameChg>
        <pc:graphicFrameChg chg="mod">
          <ac:chgData name="Yash Ratanpal" userId="5db668b1-93e7-4c08-9786-4ed81315a653" providerId="ADAL" clId="{3F7A7787-00CA-42A0-97CD-637349527123}" dt="2021-07-11T11:37:51.357" v="246"/>
          <ac:graphicFrameMkLst>
            <pc:docMk/>
            <pc:sldMk cId="3225331905" sldId="278"/>
            <ac:graphicFrameMk id="12" creationId="{96F0982A-0D40-4AFD-89F8-B74EBD549714}"/>
          </ac:graphicFrameMkLst>
        </pc:graphicFrameChg>
        <pc:picChg chg="mod">
          <ac:chgData name="Yash Ratanpal" userId="5db668b1-93e7-4c08-9786-4ed81315a653" providerId="ADAL" clId="{3F7A7787-00CA-42A0-97CD-637349527123}" dt="2021-07-11T11:37:51.357" v="246"/>
          <ac:picMkLst>
            <pc:docMk/>
            <pc:sldMk cId="3225331905" sldId="278"/>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2374548721" sldId="279"/>
        </pc:sldMkLst>
        <pc:spChg chg="mod">
          <ac:chgData name="Yash Ratanpal" userId="5db668b1-93e7-4c08-9786-4ed81315a653" providerId="ADAL" clId="{3F7A7787-00CA-42A0-97CD-637349527123}" dt="2021-07-11T11:37:51.357" v="246"/>
          <ac:spMkLst>
            <pc:docMk/>
            <pc:sldMk cId="2374548721" sldId="279"/>
            <ac:spMk id="3" creationId="{00000000-0000-0000-0000-000000000000}"/>
          </ac:spMkLst>
        </pc:spChg>
        <pc:spChg chg="mod">
          <ac:chgData name="Yash Ratanpal" userId="5db668b1-93e7-4c08-9786-4ed81315a653" providerId="ADAL" clId="{3F7A7787-00CA-42A0-97CD-637349527123}" dt="2021-07-11T11:37:51.357" v="246"/>
          <ac:spMkLst>
            <pc:docMk/>
            <pc:sldMk cId="2374548721" sldId="279"/>
            <ac:spMk id="9" creationId="{8FC0C6CB-BFF5-48B0-8DAA-1AD923446167}"/>
          </ac:spMkLst>
        </pc:spChg>
        <pc:spChg chg="mod">
          <ac:chgData name="Yash Ratanpal" userId="5db668b1-93e7-4c08-9786-4ed81315a653" providerId="ADAL" clId="{3F7A7787-00CA-42A0-97CD-637349527123}" dt="2021-07-11T11:37:51.357" v="246"/>
          <ac:spMkLst>
            <pc:docMk/>
            <pc:sldMk cId="2374548721" sldId="279"/>
            <ac:spMk id="10" creationId="{F0E913B1-E87D-4C12-A037-47A786357404}"/>
          </ac:spMkLst>
        </pc:spChg>
        <pc:spChg chg="mod">
          <ac:chgData name="Yash Ratanpal" userId="5db668b1-93e7-4c08-9786-4ed81315a653" providerId="ADAL" clId="{3F7A7787-00CA-42A0-97CD-637349527123}" dt="2021-07-11T11:37:51.357" v="246"/>
          <ac:spMkLst>
            <pc:docMk/>
            <pc:sldMk cId="2374548721" sldId="279"/>
            <ac:spMk id="11" creationId="{D9263494-FFAF-4EEC-AB1A-7188B2CACF9D}"/>
          </ac:spMkLst>
        </pc:spChg>
        <pc:spChg chg="mod">
          <ac:chgData name="Yash Ratanpal" userId="5db668b1-93e7-4c08-9786-4ed81315a653" providerId="ADAL" clId="{3F7A7787-00CA-42A0-97CD-637349527123}" dt="2021-07-11T11:37:51.357" v="246"/>
          <ac:spMkLst>
            <pc:docMk/>
            <pc:sldMk cId="2374548721" sldId="279"/>
            <ac:spMk id="12" creationId="{A116ADA0-4B0D-4394-A553-0B6EDFC7573D}"/>
          </ac:spMkLst>
        </pc:spChg>
        <pc:grpChg chg="mod">
          <ac:chgData name="Yash Ratanpal" userId="5db668b1-93e7-4c08-9786-4ed81315a653" providerId="ADAL" clId="{3F7A7787-00CA-42A0-97CD-637349527123}" dt="2021-07-11T11:37:51.357" v="246"/>
          <ac:grpSpMkLst>
            <pc:docMk/>
            <pc:sldMk cId="2374548721" sldId="279"/>
            <ac:grpSpMk id="4" creationId="{1F8227C6-B418-4DD2-9A78-1174AABC88BE}"/>
          </ac:grpSpMkLst>
        </pc:grpChg>
        <pc:graphicFrameChg chg="mod">
          <ac:chgData name="Yash Ratanpal" userId="5db668b1-93e7-4c08-9786-4ed81315a653" providerId="ADAL" clId="{3F7A7787-00CA-42A0-97CD-637349527123}" dt="2021-07-11T11:37:51.357" v="246"/>
          <ac:graphicFrameMkLst>
            <pc:docMk/>
            <pc:sldMk cId="2374548721" sldId="279"/>
            <ac:graphicFrameMk id="6" creationId="{EA8ACA6F-9F46-4CB6-8A5D-8BF7C6E70CAA}"/>
          </ac:graphicFrameMkLst>
        </pc:graphicFrameChg>
        <pc:graphicFrameChg chg="mod">
          <ac:chgData name="Yash Ratanpal" userId="5db668b1-93e7-4c08-9786-4ed81315a653" providerId="ADAL" clId="{3F7A7787-00CA-42A0-97CD-637349527123}" dt="2021-07-11T11:37:51.357" v="246"/>
          <ac:graphicFrameMkLst>
            <pc:docMk/>
            <pc:sldMk cId="2374548721" sldId="279"/>
            <ac:graphicFrameMk id="7" creationId="{4F994D97-BB3A-4CF6-909E-9E7958046C3A}"/>
          </ac:graphicFrameMkLst>
        </pc:graphicFrameChg>
        <pc:picChg chg="mod">
          <ac:chgData name="Yash Ratanpal" userId="5db668b1-93e7-4c08-9786-4ed81315a653" providerId="ADAL" clId="{3F7A7787-00CA-42A0-97CD-637349527123}" dt="2021-07-11T11:37:51.357" v="246"/>
          <ac:picMkLst>
            <pc:docMk/>
            <pc:sldMk cId="2374548721" sldId="279"/>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4141343966" sldId="280"/>
        </pc:sldMkLst>
        <pc:spChg chg="mod">
          <ac:chgData name="Yash Ratanpal" userId="5db668b1-93e7-4c08-9786-4ed81315a653" providerId="ADAL" clId="{3F7A7787-00CA-42A0-97CD-637349527123}" dt="2021-07-11T11:37:51.357" v="246"/>
          <ac:spMkLst>
            <pc:docMk/>
            <pc:sldMk cId="4141343966" sldId="280"/>
            <ac:spMk id="3" creationId="{00000000-0000-0000-0000-000000000000}"/>
          </ac:spMkLst>
        </pc:spChg>
        <pc:spChg chg="mod">
          <ac:chgData name="Yash Ratanpal" userId="5db668b1-93e7-4c08-9786-4ed81315a653" providerId="ADAL" clId="{3F7A7787-00CA-42A0-97CD-637349527123}" dt="2021-07-11T11:37:51.357" v="246"/>
          <ac:spMkLst>
            <pc:docMk/>
            <pc:sldMk cId="4141343966" sldId="280"/>
            <ac:spMk id="6" creationId="{521B0F4B-3A24-46A9-8A30-063CEF3D3508}"/>
          </ac:spMkLst>
        </pc:spChg>
        <pc:spChg chg="mod">
          <ac:chgData name="Yash Ratanpal" userId="5db668b1-93e7-4c08-9786-4ed81315a653" providerId="ADAL" clId="{3F7A7787-00CA-42A0-97CD-637349527123}" dt="2021-07-11T11:37:51.357" v="246"/>
          <ac:spMkLst>
            <pc:docMk/>
            <pc:sldMk cId="4141343966" sldId="280"/>
            <ac:spMk id="7" creationId="{28C087BD-6340-4063-9A2B-FF7A496604B6}"/>
          </ac:spMkLst>
        </pc:spChg>
        <pc:spChg chg="mod">
          <ac:chgData name="Yash Ratanpal" userId="5db668b1-93e7-4c08-9786-4ed81315a653" providerId="ADAL" clId="{3F7A7787-00CA-42A0-97CD-637349527123}" dt="2021-07-11T11:37:51.357" v="246"/>
          <ac:spMkLst>
            <pc:docMk/>
            <pc:sldMk cId="4141343966" sldId="280"/>
            <ac:spMk id="8" creationId="{1AC7E5AA-083E-4F32-89C4-222B212BC56B}"/>
          </ac:spMkLst>
        </pc:spChg>
        <pc:grpChg chg="mod">
          <ac:chgData name="Yash Ratanpal" userId="5db668b1-93e7-4c08-9786-4ed81315a653" providerId="ADAL" clId="{3F7A7787-00CA-42A0-97CD-637349527123}" dt="2021-07-11T11:37:51.357" v="246"/>
          <ac:grpSpMkLst>
            <pc:docMk/>
            <pc:sldMk cId="4141343966" sldId="280"/>
            <ac:grpSpMk id="9" creationId="{A76CE6F0-F62A-48CD-9E32-7AB1F9DAAF57}"/>
          </ac:grpSpMkLst>
        </pc:grpChg>
        <pc:graphicFrameChg chg="mod">
          <ac:chgData name="Yash Ratanpal" userId="5db668b1-93e7-4c08-9786-4ed81315a653" providerId="ADAL" clId="{3F7A7787-00CA-42A0-97CD-637349527123}" dt="2021-07-11T11:37:51.357" v="246"/>
          <ac:graphicFrameMkLst>
            <pc:docMk/>
            <pc:sldMk cId="4141343966" sldId="280"/>
            <ac:graphicFrameMk id="4" creationId="{8CAF80DC-C197-403C-AAF1-96AE47188500}"/>
          </ac:graphicFrameMkLst>
        </pc:graphicFrameChg>
        <pc:graphicFrameChg chg="mod">
          <ac:chgData name="Yash Ratanpal" userId="5db668b1-93e7-4c08-9786-4ed81315a653" providerId="ADAL" clId="{3F7A7787-00CA-42A0-97CD-637349527123}" dt="2021-07-11T11:37:51.357" v="246"/>
          <ac:graphicFrameMkLst>
            <pc:docMk/>
            <pc:sldMk cId="4141343966" sldId="280"/>
            <ac:graphicFrameMk id="5" creationId="{A32DC0DA-901F-44A3-BE5E-B1560212F5C2}"/>
          </ac:graphicFrameMkLst>
        </pc:graphicFrameChg>
        <pc:picChg chg="mod">
          <ac:chgData name="Yash Ratanpal" userId="5db668b1-93e7-4c08-9786-4ed81315a653" providerId="ADAL" clId="{3F7A7787-00CA-42A0-97CD-637349527123}" dt="2021-07-11T11:37:51.357" v="246"/>
          <ac:picMkLst>
            <pc:docMk/>
            <pc:sldMk cId="4141343966" sldId="280"/>
            <ac:picMk id="2" creationId="{00000000-0000-0000-0000-000000000000}"/>
          </ac:picMkLst>
        </pc:picChg>
      </pc:sldChg>
      <pc:sldChg chg="delSp modSp mod modNotes">
        <pc:chgData name="Yash Ratanpal" userId="5db668b1-93e7-4c08-9786-4ed81315a653" providerId="ADAL" clId="{3F7A7787-00CA-42A0-97CD-637349527123}" dt="2021-07-18T17:46:43.747" v="9169" actId="478"/>
        <pc:sldMkLst>
          <pc:docMk/>
          <pc:sldMk cId="3509333470" sldId="281"/>
        </pc:sldMkLst>
        <pc:spChg chg="del mod">
          <ac:chgData name="Yash Ratanpal" userId="5db668b1-93e7-4c08-9786-4ed81315a653" providerId="ADAL" clId="{3F7A7787-00CA-42A0-97CD-637349527123}" dt="2021-07-18T17:46:43.747" v="9169" actId="478"/>
          <ac:spMkLst>
            <pc:docMk/>
            <pc:sldMk cId="3509333470" sldId="281"/>
            <ac:spMk id="3" creationId="{00000000-0000-0000-0000-000000000000}"/>
          </ac:spMkLst>
        </pc:spChg>
        <pc:spChg chg="mod">
          <ac:chgData name="Yash Ratanpal" userId="5db668b1-93e7-4c08-9786-4ed81315a653" providerId="ADAL" clId="{3F7A7787-00CA-42A0-97CD-637349527123}" dt="2021-07-11T11:37:51.357" v="246"/>
          <ac:spMkLst>
            <pc:docMk/>
            <pc:sldMk cId="3509333470" sldId="281"/>
            <ac:spMk id="6" creationId="{F3FF3C3D-0AB5-4644-B329-EA2A9C0DA91D}"/>
          </ac:spMkLst>
        </pc:spChg>
        <pc:spChg chg="mod">
          <ac:chgData name="Yash Ratanpal" userId="5db668b1-93e7-4c08-9786-4ed81315a653" providerId="ADAL" clId="{3F7A7787-00CA-42A0-97CD-637349527123}" dt="2021-07-11T11:37:51.357" v="246"/>
          <ac:spMkLst>
            <pc:docMk/>
            <pc:sldMk cId="3509333470" sldId="281"/>
            <ac:spMk id="7" creationId="{98B3C2FB-057A-4307-BD03-89C1BC08633C}"/>
          </ac:spMkLst>
        </pc:spChg>
        <pc:picChg chg="mod">
          <ac:chgData name="Yash Ratanpal" userId="5db668b1-93e7-4c08-9786-4ed81315a653" providerId="ADAL" clId="{3F7A7787-00CA-42A0-97CD-637349527123}" dt="2021-07-11T11:37:51.357" v="246"/>
          <ac:picMkLst>
            <pc:docMk/>
            <pc:sldMk cId="3509333470" sldId="281"/>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883328046" sldId="282"/>
        </pc:sldMkLst>
        <pc:spChg chg="mod">
          <ac:chgData name="Yash Ratanpal" userId="5db668b1-93e7-4c08-9786-4ed81315a653" providerId="ADAL" clId="{3F7A7787-00CA-42A0-97CD-637349527123}" dt="2021-07-11T11:37:51.357" v="246"/>
          <ac:spMkLst>
            <pc:docMk/>
            <pc:sldMk cId="883328046" sldId="282"/>
            <ac:spMk id="3" creationId="{00000000-0000-0000-0000-000000000000}"/>
          </ac:spMkLst>
        </pc:spChg>
        <pc:spChg chg="mod">
          <ac:chgData name="Yash Ratanpal" userId="5db668b1-93e7-4c08-9786-4ed81315a653" providerId="ADAL" clId="{3F7A7787-00CA-42A0-97CD-637349527123}" dt="2021-07-11T11:37:51.357" v="246"/>
          <ac:spMkLst>
            <pc:docMk/>
            <pc:sldMk cId="883328046" sldId="282"/>
            <ac:spMk id="4" creationId="{8FDB3CCA-2505-42D9-B671-03ED6709D810}"/>
          </ac:spMkLst>
        </pc:spChg>
        <pc:picChg chg="mod">
          <ac:chgData name="Yash Ratanpal" userId="5db668b1-93e7-4c08-9786-4ed81315a653" providerId="ADAL" clId="{3F7A7787-00CA-42A0-97CD-637349527123}" dt="2021-07-11T11:37:51.357" v="246"/>
          <ac:picMkLst>
            <pc:docMk/>
            <pc:sldMk cId="883328046" sldId="282"/>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1211401897" sldId="283"/>
        </pc:sldMkLst>
        <pc:spChg chg="mod">
          <ac:chgData name="Yash Ratanpal" userId="5db668b1-93e7-4c08-9786-4ed81315a653" providerId="ADAL" clId="{3F7A7787-00CA-42A0-97CD-637349527123}" dt="2021-07-11T11:37:51.357" v="246"/>
          <ac:spMkLst>
            <pc:docMk/>
            <pc:sldMk cId="1211401897" sldId="283"/>
            <ac:spMk id="3" creationId="{00000000-0000-0000-0000-000000000000}"/>
          </ac:spMkLst>
        </pc:spChg>
        <pc:spChg chg="mod">
          <ac:chgData name="Yash Ratanpal" userId="5db668b1-93e7-4c08-9786-4ed81315a653" providerId="ADAL" clId="{3F7A7787-00CA-42A0-97CD-637349527123}" dt="2021-07-11T11:37:51.357" v="246"/>
          <ac:spMkLst>
            <pc:docMk/>
            <pc:sldMk cId="1211401897" sldId="283"/>
            <ac:spMk id="11" creationId="{9B020C5B-2A9F-4F21-9088-A668E4DE4081}"/>
          </ac:spMkLst>
        </pc:spChg>
        <pc:spChg chg="mod">
          <ac:chgData name="Yash Ratanpal" userId="5db668b1-93e7-4c08-9786-4ed81315a653" providerId="ADAL" clId="{3F7A7787-00CA-42A0-97CD-637349527123}" dt="2021-07-11T11:37:51.357" v="246"/>
          <ac:spMkLst>
            <pc:docMk/>
            <pc:sldMk cId="1211401897" sldId="283"/>
            <ac:spMk id="12" creationId="{C893C4A2-781D-485D-875F-C089AA08B514}"/>
          </ac:spMkLst>
        </pc:spChg>
        <pc:spChg chg="mod">
          <ac:chgData name="Yash Ratanpal" userId="5db668b1-93e7-4c08-9786-4ed81315a653" providerId="ADAL" clId="{3F7A7787-00CA-42A0-97CD-637349527123}" dt="2021-07-11T11:37:51.357" v="246"/>
          <ac:spMkLst>
            <pc:docMk/>
            <pc:sldMk cId="1211401897" sldId="283"/>
            <ac:spMk id="13" creationId="{550B7138-8CC1-49F8-8A08-4A9977ABC1A0}"/>
          </ac:spMkLst>
        </pc:spChg>
        <pc:spChg chg="mod">
          <ac:chgData name="Yash Ratanpal" userId="5db668b1-93e7-4c08-9786-4ed81315a653" providerId="ADAL" clId="{3F7A7787-00CA-42A0-97CD-637349527123}" dt="2021-07-11T11:37:51.357" v="246"/>
          <ac:spMkLst>
            <pc:docMk/>
            <pc:sldMk cId="1211401897" sldId="283"/>
            <ac:spMk id="14" creationId="{5F040144-5FBC-447D-BDD7-6C3B03C3CB38}"/>
          </ac:spMkLst>
        </pc:spChg>
        <pc:spChg chg="mod">
          <ac:chgData name="Yash Ratanpal" userId="5db668b1-93e7-4c08-9786-4ed81315a653" providerId="ADAL" clId="{3F7A7787-00CA-42A0-97CD-637349527123}" dt="2021-07-11T11:37:51.357" v="246"/>
          <ac:spMkLst>
            <pc:docMk/>
            <pc:sldMk cId="1211401897" sldId="283"/>
            <ac:spMk id="15" creationId="{63F4ADDC-5F02-4DAD-A6FC-EA462A67D9B4}"/>
          </ac:spMkLst>
        </pc:spChg>
        <pc:spChg chg="mod">
          <ac:chgData name="Yash Ratanpal" userId="5db668b1-93e7-4c08-9786-4ed81315a653" providerId="ADAL" clId="{3F7A7787-00CA-42A0-97CD-637349527123}" dt="2021-07-11T11:37:51.357" v="246"/>
          <ac:spMkLst>
            <pc:docMk/>
            <pc:sldMk cId="1211401897" sldId="283"/>
            <ac:spMk id="16" creationId="{28992497-DCF4-4F3E-8CCD-EA64CBD0515C}"/>
          </ac:spMkLst>
        </pc:spChg>
        <pc:spChg chg="mod">
          <ac:chgData name="Yash Ratanpal" userId="5db668b1-93e7-4c08-9786-4ed81315a653" providerId="ADAL" clId="{3F7A7787-00CA-42A0-97CD-637349527123}" dt="2021-07-11T11:37:51.357" v="246"/>
          <ac:spMkLst>
            <pc:docMk/>
            <pc:sldMk cId="1211401897" sldId="283"/>
            <ac:spMk id="17" creationId="{83E26ABE-8143-4C6A-81C9-551334079C38}"/>
          </ac:spMkLst>
        </pc:spChg>
        <pc:spChg chg="mod">
          <ac:chgData name="Yash Ratanpal" userId="5db668b1-93e7-4c08-9786-4ed81315a653" providerId="ADAL" clId="{3F7A7787-00CA-42A0-97CD-637349527123}" dt="2021-07-11T11:37:51.357" v="246"/>
          <ac:spMkLst>
            <pc:docMk/>
            <pc:sldMk cId="1211401897" sldId="283"/>
            <ac:spMk id="18" creationId="{777F8935-400A-448E-B59D-DC75DF2A8F95}"/>
          </ac:spMkLst>
        </pc:spChg>
        <pc:spChg chg="mod">
          <ac:chgData name="Yash Ratanpal" userId="5db668b1-93e7-4c08-9786-4ed81315a653" providerId="ADAL" clId="{3F7A7787-00CA-42A0-97CD-637349527123}" dt="2021-07-11T11:37:51.357" v="246"/>
          <ac:spMkLst>
            <pc:docMk/>
            <pc:sldMk cId="1211401897" sldId="283"/>
            <ac:spMk id="19" creationId="{66CAB8C4-C8DE-43D4-85A9-C3C5E3285128}"/>
          </ac:spMkLst>
        </pc:spChg>
        <pc:spChg chg="mod">
          <ac:chgData name="Yash Ratanpal" userId="5db668b1-93e7-4c08-9786-4ed81315a653" providerId="ADAL" clId="{3F7A7787-00CA-42A0-97CD-637349527123}" dt="2021-07-11T11:37:51.357" v="246"/>
          <ac:spMkLst>
            <pc:docMk/>
            <pc:sldMk cId="1211401897" sldId="283"/>
            <ac:spMk id="20" creationId="{6B84EB4B-CC7E-46DD-82B5-0D619953426F}"/>
          </ac:spMkLst>
        </pc:spChg>
        <pc:spChg chg="mod">
          <ac:chgData name="Yash Ratanpal" userId="5db668b1-93e7-4c08-9786-4ed81315a653" providerId="ADAL" clId="{3F7A7787-00CA-42A0-97CD-637349527123}" dt="2021-07-11T11:37:51.357" v="246"/>
          <ac:spMkLst>
            <pc:docMk/>
            <pc:sldMk cId="1211401897" sldId="283"/>
            <ac:spMk id="21" creationId="{9904802E-4F4F-4A66-9ED9-4BD4C6643447}"/>
          </ac:spMkLst>
        </pc:spChg>
        <pc:grpChg chg="mod">
          <ac:chgData name="Yash Ratanpal" userId="5db668b1-93e7-4c08-9786-4ed81315a653" providerId="ADAL" clId="{3F7A7787-00CA-42A0-97CD-637349527123}" dt="2021-07-11T11:37:51.357" v="246"/>
          <ac:grpSpMkLst>
            <pc:docMk/>
            <pc:sldMk cId="1211401897" sldId="283"/>
            <ac:grpSpMk id="10" creationId="{6AE8EA06-D2A1-4C5C-AED8-5876FCF7A436}"/>
          </ac:grpSpMkLst>
        </pc:grpChg>
        <pc:grpChg chg="mod">
          <ac:chgData name="Yash Ratanpal" userId="5db668b1-93e7-4c08-9786-4ed81315a653" providerId="ADAL" clId="{3F7A7787-00CA-42A0-97CD-637349527123}" dt="2021-07-11T11:37:51.357" v="246"/>
          <ac:grpSpMkLst>
            <pc:docMk/>
            <pc:sldMk cId="1211401897" sldId="283"/>
            <ac:grpSpMk id="22" creationId="{D3190DCB-8D06-4F2B-9C4B-336F337A6028}"/>
          </ac:grpSpMkLst>
        </pc:grpChg>
        <pc:picChg chg="mod">
          <ac:chgData name="Yash Ratanpal" userId="5db668b1-93e7-4c08-9786-4ed81315a653" providerId="ADAL" clId="{3F7A7787-00CA-42A0-97CD-637349527123}" dt="2021-07-11T11:37:51.357" v="246"/>
          <ac:picMkLst>
            <pc:docMk/>
            <pc:sldMk cId="1211401897" sldId="283"/>
            <ac:picMk id="2"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356770820" sldId="284"/>
        </pc:sldMkLst>
        <pc:spChg chg="mod">
          <ac:chgData name="Yash Ratanpal" userId="5db668b1-93e7-4c08-9786-4ed81315a653" providerId="ADAL" clId="{3F7A7787-00CA-42A0-97CD-637349527123}" dt="2021-07-11T11:37:51.357" v="246"/>
          <ac:spMkLst>
            <pc:docMk/>
            <pc:sldMk cId="356770820" sldId="284"/>
            <ac:spMk id="3" creationId="{00000000-0000-0000-0000-000000000000}"/>
          </ac:spMkLst>
        </pc:spChg>
        <pc:spChg chg="mod">
          <ac:chgData name="Yash Ratanpal" userId="5db668b1-93e7-4c08-9786-4ed81315a653" providerId="ADAL" clId="{3F7A7787-00CA-42A0-97CD-637349527123}" dt="2021-07-11T11:37:51.357" v="246"/>
          <ac:spMkLst>
            <pc:docMk/>
            <pc:sldMk cId="356770820" sldId="284"/>
            <ac:spMk id="103" creationId="{632F8E69-385D-48D8-A756-2276FF251497}"/>
          </ac:spMkLst>
        </pc:spChg>
        <pc:spChg chg="mod">
          <ac:chgData name="Yash Ratanpal" userId="5db668b1-93e7-4c08-9786-4ed81315a653" providerId="ADAL" clId="{3F7A7787-00CA-42A0-97CD-637349527123}" dt="2021-07-11T11:37:51.357" v="246"/>
          <ac:spMkLst>
            <pc:docMk/>
            <pc:sldMk cId="356770820" sldId="284"/>
            <ac:spMk id="104" creationId="{0924CD85-E31C-4CAC-973C-3B27881A2BF6}"/>
          </ac:spMkLst>
        </pc:spChg>
        <pc:spChg chg="mod">
          <ac:chgData name="Yash Ratanpal" userId="5db668b1-93e7-4c08-9786-4ed81315a653" providerId="ADAL" clId="{3F7A7787-00CA-42A0-97CD-637349527123}" dt="2021-07-11T11:37:51.357" v="246"/>
          <ac:spMkLst>
            <pc:docMk/>
            <pc:sldMk cId="356770820" sldId="284"/>
            <ac:spMk id="105" creationId="{4EEA979B-E0B3-4346-9338-E1B0595609E3}"/>
          </ac:spMkLst>
        </pc:spChg>
        <pc:spChg chg="mod">
          <ac:chgData name="Yash Ratanpal" userId="5db668b1-93e7-4c08-9786-4ed81315a653" providerId="ADAL" clId="{3F7A7787-00CA-42A0-97CD-637349527123}" dt="2021-07-11T11:37:51.357" v="246"/>
          <ac:spMkLst>
            <pc:docMk/>
            <pc:sldMk cId="356770820" sldId="284"/>
            <ac:spMk id="106" creationId="{B53B621C-89E2-470F-8E64-9D49E1E32C82}"/>
          </ac:spMkLst>
        </pc:spChg>
        <pc:spChg chg="mod">
          <ac:chgData name="Yash Ratanpal" userId="5db668b1-93e7-4c08-9786-4ed81315a653" providerId="ADAL" clId="{3F7A7787-00CA-42A0-97CD-637349527123}" dt="2021-07-11T11:37:51.357" v="246"/>
          <ac:spMkLst>
            <pc:docMk/>
            <pc:sldMk cId="356770820" sldId="284"/>
            <ac:spMk id="107" creationId="{E57265B7-5D73-420D-93E5-A17D01280552}"/>
          </ac:spMkLst>
        </pc:spChg>
        <pc:spChg chg="mod">
          <ac:chgData name="Yash Ratanpal" userId="5db668b1-93e7-4c08-9786-4ed81315a653" providerId="ADAL" clId="{3F7A7787-00CA-42A0-97CD-637349527123}" dt="2021-07-11T11:37:51.357" v="246"/>
          <ac:spMkLst>
            <pc:docMk/>
            <pc:sldMk cId="356770820" sldId="284"/>
            <ac:spMk id="108" creationId="{2AABDE7B-2EE5-429C-A0B4-BD958524269A}"/>
          </ac:spMkLst>
        </pc:spChg>
        <pc:spChg chg="mod">
          <ac:chgData name="Yash Ratanpal" userId="5db668b1-93e7-4c08-9786-4ed81315a653" providerId="ADAL" clId="{3F7A7787-00CA-42A0-97CD-637349527123}" dt="2021-07-11T11:37:51.357" v="246"/>
          <ac:spMkLst>
            <pc:docMk/>
            <pc:sldMk cId="356770820" sldId="284"/>
            <ac:spMk id="116" creationId="{832D37D3-EBDE-4760-A065-E5B6CC84B9B4}"/>
          </ac:spMkLst>
        </pc:spChg>
        <pc:spChg chg="mod">
          <ac:chgData name="Yash Ratanpal" userId="5db668b1-93e7-4c08-9786-4ed81315a653" providerId="ADAL" clId="{3F7A7787-00CA-42A0-97CD-637349527123}" dt="2021-07-11T11:37:51.357" v="246"/>
          <ac:spMkLst>
            <pc:docMk/>
            <pc:sldMk cId="356770820" sldId="284"/>
            <ac:spMk id="117" creationId="{BB6F6C62-4020-44F2-A847-ED4AAC3A053E}"/>
          </ac:spMkLst>
        </pc:spChg>
        <pc:spChg chg="mod">
          <ac:chgData name="Yash Ratanpal" userId="5db668b1-93e7-4c08-9786-4ed81315a653" providerId="ADAL" clId="{3F7A7787-00CA-42A0-97CD-637349527123}" dt="2021-07-11T11:37:51.357" v="246"/>
          <ac:spMkLst>
            <pc:docMk/>
            <pc:sldMk cId="356770820" sldId="284"/>
            <ac:spMk id="118" creationId="{E36C5EAA-230B-4A67-A23F-E8DC0A2ABEEF}"/>
          </ac:spMkLst>
        </pc:spChg>
        <pc:spChg chg="mod">
          <ac:chgData name="Yash Ratanpal" userId="5db668b1-93e7-4c08-9786-4ed81315a653" providerId="ADAL" clId="{3F7A7787-00CA-42A0-97CD-637349527123}" dt="2021-07-11T11:37:51.357" v="246"/>
          <ac:spMkLst>
            <pc:docMk/>
            <pc:sldMk cId="356770820" sldId="284"/>
            <ac:spMk id="119" creationId="{1FF5DA38-8334-457B-9AD0-1126475D787C}"/>
          </ac:spMkLst>
        </pc:spChg>
        <pc:spChg chg="mod">
          <ac:chgData name="Yash Ratanpal" userId="5db668b1-93e7-4c08-9786-4ed81315a653" providerId="ADAL" clId="{3F7A7787-00CA-42A0-97CD-637349527123}" dt="2021-07-11T11:37:51.357" v="246"/>
          <ac:spMkLst>
            <pc:docMk/>
            <pc:sldMk cId="356770820" sldId="284"/>
            <ac:spMk id="120" creationId="{51EAACAF-4ECC-4A5D-957D-6F878E1AFFAC}"/>
          </ac:spMkLst>
        </pc:spChg>
        <pc:spChg chg="mod">
          <ac:chgData name="Yash Ratanpal" userId="5db668b1-93e7-4c08-9786-4ed81315a653" providerId="ADAL" clId="{3F7A7787-00CA-42A0-97CD-637349527123}" dt="2021-07-11T11:37:51.357" v="246"/>
          <ac:spMkLst>
            <pc:docMk/>
            <pc:sldMk cId="356770820" sldId="284"/>
            <ac:spMk id="121" creationId="{19AA384D-B794-40BD-A48C-4CFDD34D7FB8}"/>
          </ac:spMkLst>
        </pc:spChg>
        <pc:spChg chg="mod">
          <ac:chgData name="Yash Ratanpal" userId="5db668b1-93e7-4c08-9786-4ed81315a653" providerId="ADAL" clId="{3F7A7787-00CA-42A0-97CD-637349527123}" dt="2021-07-11T11:37:51.357" v="246"/>
          <ac:spMkLst>
            <pc:docMk/>
            <pc:sldMk cId="356770820" sldId="284"/>
            <ac:spMk id="125" creationId="{68F087DD-30E0-4F9D-BF5C-E12EA86C2C14}"/>
          </ac:spMkLst>
        </pc:spChg>
        <pc:spChg chg="mod">
          <ac:chgData name="Yash Ratanpal" userId="5db668b1-93e7-4c08-9786-4ed81315a653" providerId="ADAL" clId="{3F7A7787-00CA-42A0-97CD-637349527123}" dt="2021-07-11T11:37:51.357" v="246"/>
          <ac:spMkLst>
            <pc:docMk/>
            <pc:sldMk cId="356770820" sldId="284"/>
            <ac:spMk id="126" creationId="{1DC493F9-2F29-4F94-B43F-31460A9B099C}"/>
          </ac:spMkLst>
        </pc:spChg>
        <pc:spChg chg="mod">
          <ac:chgData name="Yash Ratanpal" userId="5db668b1-93e7-4c08-9786-4ed81315a653" providerId="ADAL" clId="{3F7A7787-00CA-42A0-97CD-637349527123}" dt="2021-07-11T11:37:51.357" v="246"/>
          <ac:spMkLst>
            <pc:docMk/>
            <pc:sldMk cId="356770820" sldId="284"/>
            <ac:spMk id="127" creationId="{C6A2DAFA-5462-4038-A558-FA5E9B625E53}"/>
          </ac:spMkLst>
        </pc:spChg>
        <pc:spChg chg="mod">
          <ac:chgData name="Yash Ratanpal" userId="5db668b1-93e7-4c08-9786-4ed81315a653" providerId="ADAL" clId="{3F7A7787-00CA-42A0-97CD-637349527123}" dt="2021-07-11T11:37:51.357" v="246"/>
          <ac:spMkLst>
            <pc:docMk/>
            <pc:sldMk cId="356770820" sldId="284"/>
            <ac:spMk id="128" creationId="{B2439D4D-A91E-4877-A4C4-100EC7551087}"/>
          </ac:spMkLst>
        </pc:spChg>
        <pc:spChg chg="mod">
          <ac:chgData name="Yash Ratanpal" userId="5db668b1-93e7-4c08-9786-4ed81315a653" providerId="ADAL" clId="{3F7A7787-00CA-42A0-97CD-637349527123}" dt="2021-07-11T11:37:51.357" v="246"/>
          <ac:spMkLst>
            <pc:docMk/>
            <pc:sldMk cId="356770820" sldId="284"/>
            <ac:spMk id="129" creationId="{3E5EFBB1-87E4-43CD-B0D7-5CE9075E94F6}"/>
          </ac:spMkLst>
        </pc:spChg>
        <pc:spChg chg="mod">
          <ac:chgData name="Yash Ratanpal" userId="5db668b1-93e7-4c08-9786-4ed81315a653" providerId="ADAL" clId="{3F7A7787-00CA-42A0-97CD-637349527123}" dt="2021-07-11T11:37:51.357" v="246"/>
          <ac:spMkLst>
            <pc:docMk/>
            <pc:sldMk cId="356770820" sldId="284"/>
            <ac:spMk id="130" creationId="{39C664A0-4BFA-447B-9871-4B8F2BFC426D}"/>
          </ac:spMkLst>
        </pc:spChg>
        <pc:spChg chg="mod">
          <ac:chgData name="Yash Ratanpal" userId="5db668b1-93e7-4c08-9786-4ed81315a653" providerId="ADAL" clId="{3F7A7787-00CA-42A0-97CD-637349527123}" dt="2021-07-11T11:37:51.357" v="246"/>
          <ac:spMkLst>
            <pc:docMk/>
            <pc:sldMk cId="356770820" sldId="284"/>
            <ac:spMk id="131" creationId="{E22AB777-3FCB-405D-BD26-2A2B42715629}"/>
          </ac:spMkLst>
        </pc:spChg>
        <pc:spChg chg="mod">
          <ac:chgData name="Yash Ratanpal" userId="5db668b1-93e7-4c08-9786-4ed81315a653" providerId="ADAL" clId="{3F7A7787-00CA-42A0-97CD-637349527123}" dt="2021-07-11T11:37:51.357" v="246"/>
          <ac:spMkLst>
            <pc:docMk/>
            <pc:sldMk cId="356770820" sldId="284"/>
            <ac:spMk id="132" creationId="{049FBC00-0713-450D-8D6A-01CA54361B08}"/>
          </ac:spMkLst>
        </pc:spChg>
        <pc:spChg chg="mod">
          <ac:chgData name="Yash Ratanpal" userId="5db668b1-93e7-4c08-9786-4ed81315a653" providerId="ADAL" clId="{3F7A7787-00CA-42A0-97CD-637349527123}" dt="2021-07-11T11:37:51.357" v="246"/>
          <ac:spMkLst>
            <pc:docMk/>
            <pc:sldMk cId="356770820" sldId="284"/>
            <ac:spMk id="133" creationId="{AE6AD403-805E-4667-8CEB-BC9B877DA376}"/>
          </ac:spMkLst>
        </pc:spChg>
        <pc:spChg chg="mod">
          <ac:chgData name="Yash Ratanpal" userId="5db668b1-93e7-4c08-9786-4ed81315a653" providerId="ADAL" clId="{3F7A7787-00CA-42A0-97CD-637349527123}" dt="2021-07-11T11:37:51.357" v="246"/>
          <ac:spMkLst>
            <pc:docMk/>
            <pc:sldMk cId="356770820" sldId="284"/>
            <ac:spMk id="134" creationId="{46252860-F798-485F-87D9-2CBB44FA0E2E}"/>
          </ac:spMkLst>
        </pc:spChg>
        <pc:spChg chg="mod">
          <ac:chgData name="Yash Ratanpal" userId="5db668b1-93e7-4c08-9786-4ed81315a653" providerId="ADAL" clId="{3F7A7787-00CA-42A0-97CD-637349527123}" dt="2021-07-11T11:37:51.357" v="246"/>
          <ac:spMkLst>
            <pc:docMk/>
            <pc:sldMk cId="356770820" sldId="284"/>
            <ac:spMk id="135" creationId="{739EF232-6F1A-4F3B-A43B-F10D1D14A2AD}"/>
          </ac:spMkLst>
        </pc:spChg>
        <pc:spChg chg="mod">
          <ac:chgData name="Yash Ratanpal" userId="5db668b1-93e7-4c08-9786-4ed81315a653" providerId="ADAL" clId="{3F7A7787-00CA-42A0-97CD-637349527123}" dt="2021-07-11T11:37:51.357" v="246"/>
          <ac:spMkLst>
            <pc:docMk/>
            <pc:sldMk cId="356770820" sldId="284"/>
            <ac:spMk id="136" creationId="{C3F448BD-74D3-4602-8474-DB090CF4E548}"/>
          </ac:spMkLst>
        </pc:spChg>
        <pc:spChg chg="mod">
          <ac:chgData name="Yash Ratanpal" userId="5db668b1-93e7-4c08-9786-4ed81315a653" providerId="ADAL" clId="{3F7A7787-00CA-42A0-97CD-637349527123}" dt="2021-07-11T11:37:51.357" v="246"/>
          <ac:spMkLst>
            <pc:docMk/>
            <pc:sldMk cId="356770820" sldId="284"/>
            <ac:spMk id="137" creationId="{64F56FE2-42EF-40EC-A277-C75BA0E6CE5C}"/>
          </ac:spMkLst>
        </pc:spChg>
        <pc:spChg chg="mod">
          <ac:chgData name="Yash Ratanpal" userId="5db668b1-93e7-4c08-9786-4ed81315a653" providerId="ADAL" clId="{3F7A7787-00CA-42A0-97CD-637349527123}" dt="2021-07-11T11:37:51.357" v="246"/>
          <ac:spMkLst>
            <pc:docMk/>
            <pc:sldMk cId="356770820" sldId="284"/>
            <ac:spMk id="138" creationId="{30E879A1-6039-4EFA-B28B-A0CD7D1B294D}"/>
          </ac:spMkLst>
        </pc:spChg>
        <pc:spChg chg="mod">
          <ac:chgData name="Yash Ratanpal" userId="5db668b1-93e7-4c08-9786-4ed81315a653" providerId="ADAL" clId="{3F7A7787-00CA-42A0-97CD-637349527123}" dt="2021-07-11T11:37:51.357" v="246"/>
          <ac:spMkLst>
            <pc:docMk/>
            <pc:sldMk cId="356770820" sldId="284"/>
            <ac:spMk id="139" creationId="{B20E4A2F-FCB1-4B47-88A3-4CDE5A1FF98E}"/>
          </ac:spMkLst>
        </pc:spChg>
        <pc:spChg chg="mod">
          <ac:chgData name="Yash Ratanpal" userId="5db668b1-93e7-4c08-9786-4ed81315a653" providerId="ADAL" clId="{3F7A7787-00CA-42A0-97CD-637349527123}" dt="2021-07-11T11:37:51.357" v="246"/>
          <ac:spMkLst>
            <pc:docMk/>
            <pc:sldMk cId="356770820" sldId="284"/>
            <ac:spMk id="140" creationId="{A94DDE61-D937-4106-B823-BBC48B6AC8CA}"/>
          </ac:spMkLst>
        </pc:spChg>
        <pc:spChg chg="mod">
          <ac:chgData name="Yash Ratanpal" userId="5db668b1-93e7-4c08-9786-4ed81315a653" providerId="ADAL" clId="{3F7A7787-00CA-42A0-97CD-637349527123}" dt="2021-07-11T11:37:51.357" v="246"/>
          <ac:spMkLst>
            <pc:docMk/>
            <pc:sldMk cId="356770820" sldId="284"/>
            <ac:spMk id="141" creationId="{04E9C816-190C-49D4-8FD1-8711010AEF06}"/>
          </ac:spMkLst>
        </pc:spChg>
        <pc:spChg chg="mod">
          <ac:chgData name="Yash Ratanpal" userId="5db668b1-93e7-4c08-9786-4ed81315a653" providerId="ADAL" clId="{3F7A7787-00CA-42A0-97CD-637349527123}" dt="2021-07-11T11:37:51.357" v="246"/>
          <ac:spMkLst>
            <pc:docMk/>
            <pc:sldMk cId="356770820" sldId="284"/>
            <ac:spMk id="142" creationId="{86E072D2-CAB2-4835-9619-EC89545D2E31}"/>
          </ac:spMkLst>
        </pc:spChg>
        <pc:spChg chg="mod">
          <ac:chgData name="Yash Ratanpal" userId="5db668b1-93e7-4c08-9786-4ed81315a653" providerId="ADAL" clId="{3F7A7787-00CA-42A0-97CD-637349527123}" dt="2021-07-11T11:37:51.357" v="246"/>
          <ac:spMkLst>
            <pc:docMk/>
            <pc:sldMk cId="356770820" sldId="284"/>
            <ac:spMk id="143" creationId="{C6792D83-7D45-4CD2-AD3D-53110ACA688C}"/>
          </ac:spMkLst>
        </pc:spChg>
        <pc:spChg chg="mod">
          <ac:chgData name="Yash Ratanpal" userId="5db668b1-93e7-4c08-9786-4ed81315a653" providerId="ADAL" clId="{3F7A7787-00CA-42A0-97CD-637349527123}" dt="2021-07-11T11:37:51.357" v="246"/>
          <ac:spMkLst>
            <pc:docMk/>
            <pc:sldMk cId="356770820" sldId="284"/>
            <ac:spMk id="144" creationId="{9AB1E63C-8B33-4828-9E19-AA31AD913A1D}"/>
          </ac:spMkLst>
        </pc:spChg>
        <pc:spChg chg="mod">
          <ac:chgData name="Yash Ratanpal" userId="5db668b1-93e7-4c08-9786-4ed81315a653" providerId="ADAL" clId="{3F7A7787-00CA-42A0-97CD-637349527123}" dt="2021-07-11T11:37:51.357" v="246"/>
          <ac:spMkLst>
            <pc:docMk/>
            <pc:sldMk cId="356770820" sldId="284"/>
            <ac:spMk id="145" creationId="{8EB7B764-5C0C-4E4F-A6D5-B53335AC06D4}"/>
          </ac:spMkLst>
        </pc:spChg>
        <pc:spChg chg="mod">
          <ac:chgData name="Yash Ratanpal" userId="5db668b1-93e7-4c08-9786-4ed81315a653" providerId="ADAL" clId="{3F7A7787-00CA-42A0-97CD-637349527123}" dt="2021-07-11T11:37:51.357" v="246"/>
          <ac:spMkLst>
            <pc:docMk/>
            <pc:sldMk cId="356770820" sldId="284"/>
            <ac:spMk id="146" creationId="{64138274-FC5A-4D65-AC1B-805A22D1EBB9}"/>
          </ac:spMkLst>
        </pc:spChg>
        <pc:spChg chg="mod">
          <ac:chgData name="Yash Ratanpal" userId="5db668b1-93e7-4c08-9786-4ed81315a653" providerId="ADAL" clId="{3F7A7787-00CA-42A0-97CD-637349527123}" dt="2021-07-11T11:37:51.357" v="246"/>
          <ac:spMkLst>
            <pc:docMk/>
            <pc:sldMk cId="356770820" sldId="284"/>
            <ac:spMk id="148" creationId="{984B767E-46D4-4CF5-91C8-3A2AE989079E}"/>
          </ac:spMkLst>
        </pc:spChg>
        <pc:spChg chg="mod">
          <ac:chgData name="Yash Ratanpal" userId="5db668b1-93e7-4c08-9786-4ed81315a653" providerId="ADAL" clId="{3F7A7787-00CA-42A0-97CD-637349527123}" dt="2021-07-11T11:37:51.357" v="246"/>
          <ac:spMkLst>
            <pc:docMk/>
            <pc:sldMk cId="356770820" sldId="284"/>
            <ac:spMk id="149" creationId="{CF317198-B8C6-4365-938B-36D2DEE2196E}"/>
          </ac:spMkLst>
        </pc:spChg>
        <pc:spChg chg="mod">
          <ac:chgData name="Yash Ratanpal" userId="5db668b1-93e7-4c08-9786-4ed81315a653" providerId="ADAL" clId="{3F7A7787-00CA-42A0-97CD-637349527123}" dt="2021-07-11T11:37:51.357" v="246"/>
          <ac:spMkLst>
            <pc:docMk/>
            <pc:sldMk cId="356770820" sldId="284"/>
            <ac:spMk id="150" creationId="{7977DC09-DB0C-429C-9D89-C0591F2A8617}"/>
          </ac:spMkLst>
        </pc:spChg>
        <pc:grpChg chg="mod">
          <ac:chgData name="Yash Ratanpal" userId="5db668b1-93e7-4c08-9786-4ed81315a653" providerId="ADAL" clId="{3F7A7787-00CA-42A0-97CD-637349527123}" dt="2021-07-11T11:37:51.357" v="246"/>
          <ac:grpSpMkLst>
            <pc:docMk/>
            <pc:sldMk cId="356770820" sldId="284"/>
            <ac:grpSpMk id="89" creationId="{675C83DC-5629-4A6E-A053-07B338754E4C}"/>
          </ac:grpSpMkLst>
        </pc:grpChg>
        <pc:grpChg chg="mod">
          <ac:chgData name="Yash Ratanpal" userId="5db668b1-93e7-4c08-9786-4ed81315a653" providerId="ADAL" clId="{3F7A7787-00CA-42A0-97CD-637349527123}" dt="2021-07-11T11:37:51.357" v="246"/>
          <ac:grpSpMkLst>
            <pc:docMk/>
            <pc:sldMk cId="356770820" sldId="284"/>
            <ac:grpSpMk id="90" creationId="{787027EA-54E2-4D3D-B6D8-381490C9E7B3}"/>
          </ac:grpSpMkLst>
        </pc:grpChg>
        <pc:grpChg chg="mod">
          <ac:chgData name="Yash Ratanpal" userId="5db668b1-93e7-4c08-9786-4ed81315a653" providerId="ADAL" clId="{3F7A7787-00CA-42A0-97CD-637349527123}" dt="2021-07-11T11:37:51.357" v="246"/>
          <ac:grpSpMkLst>
            <pc:docMk/>
            <pc:sldMk cId="356770820" sldId="284"/>
            <ac:grpSpMk id="93" creationId="{0F6CDECC-185A-4467-AFEE-9563C92D33CA}"/>
          </ac:grpSpMkLst>
        </pc:grpChg>
        <pc:grpChg chg="mod">
          <ac:chgData name="Yash Ratanpal" userId="5db668b1-93e7-4c08-9786-4ed81315a653" providerId="ADAL" clId="{3F7A7787-00CA-42A0-97CD-637349527123}" dt="2021-07-11T11:37:51.357" v="246"/>
          <ac:grpSpMkLst>
            <pc:docMk/>
            <pc:sldMk cId="356770820" sldId="284"/>
            <ac:grpSpMk id="94" creationId="{958FB6CD-4F13-43A8-9F87-0B2C3FAE95D4}"/>
          </ac:grpSpMkLst>
        </pc:grpChg>
        <pc:grpChg chg="mod">
          <ac:chgData name="Yash Ratanpal" userId="5db668b1-93e7-4c08-9786-4ed81315a653" providerId="ADAL" clId="{3F7A7787-00CA-42A0-97CD-637349527123}" dt="2021-07-11T11:37:51.357" v="246"/>
          <ac:grpSpMkLst>
            <pc:docMk/>
            <pc:sldMk cId="356770820" sldId="284"/>
            <ac:grpSpMk id="95" creationId="{203635AB-269B-4347-AACC-A3A63818E7C9}"/>
          </ac:grpSpMkLst>
        </pc:grpChg>
        <pc:grpChg chg="mod">
          <ac:chgData name="Yash Ratanpal" userId="5db668b1-93e7-4c08-9786-4ed81315a653" providerId="ADAL" clId="{3F7A7787-00CA-42A0-97CD-637349527123}" dt="2021-07-11T11:37:51.357" v="246"/>
          <ac:grpSpMkLst>
            <pc:docMk/>
            <pc:sldMk cId="356770820" sldId="284"/>
            <ac:grpSpMk id="98" creationId="{836B2DAD-8E10-4935-83B7-0363C5E1E6A2}"/>
          </ac:grpSpMkLst>
        </pc:grpChg>
        <pc:grpChg chg="mod">
          <ac:chgData name="Yash Ratanpal" userId="5db668b1-93e7-4c08-9786-4ed81315a653" providerId="ADAL" clId="{3F7A7787-00CA-42A0-97CD-637349527123}" dt="2021-07-11T11:37:51.357" v="246"/>
          <ac:grpSpMkLst>
            <pc:docMk/>
            <pc:sldMk cId="356770820" sldId="284"/>
            <ac:grpSpMk id="99" creationId="{D2FF79B5-8002-48DC-A9BD-227E4AF1C273}"/>
          </ac:grpSpMkLst>
        </pc:grpChg>
        <pc:grpChg chg="mod">
          <ac:chgData name="Yash Ratanpal" userId="5db668b1-93e7-4c08-9786-4ed81315a653" providerId="ADAL" clId="{3F7A7787-00CA-42A0-97CD-637349527123}" dt="2021-07-11T11:37:51.357" v="246"/>
          <ac:grpSpMkLst>
            <pc:docMk/>
            <pc:sldMk cId="356770820" sldId="284"/>
            <ac:grpSpMk id="109" creationId="{2A6D5C72-4400-48DE-A40F-83B523667F49}"/>
          </ac:grpSpMkLst>
        </pc:grpChg>
        <pc:grpChg chg="mod">
          <ac:chgData name="Yash Ratanpal" userId="5db668b1-93e7-4c08-9786-4ed81315a653" providerId="ADAL" clId="{3F7A7787-00CA-42A0-97CD-637349527123}" dt="2021-07-11T11:37:51.357" v="246"/>
          <ac:grpSpMkLst>
            <pc:docMk/>
            <pc:sldMk cId="356770820" sldId="284"/>
            <ac:grpSpMk id="110" creationId="{E705D19D-7DDC-48EA-BB99-B417FBD4E43A}"/>
          </ac:grpSpMkLst>
        </pc:grpChg>
        <pc:grpChg chg="mod">
          <ac:chgData name="Yash Ratanpal" userId="5db668b1-93e7-4c08-9786-4ed81315a653" providerId="ADAL" clId="{3F7A7787-00CA-42A0-97CD-637349527123}" dt="2021-07-11T11:37:51.357" v="246"/>
          <ac:grpSpMkLst>
            <pc:docMk/>
            <pc:sldMk cId="356770820" sldId="284"/>
            <ac:grpSpMk id="111" creationId="{A8C4F8A9-E881-42DE-9A2B-4789E6FCFD7D}"/>
          </ac:grpSpMkLst>
        </pc:grpChg>
        <pc:grpChg chg="mod">
          <ac:chgData name="Yash Ratanpal" userId="5db668b1-93e7-4c08-9786-4ed81315a653" providerId="ADAL" clId="{3F7A7787-00CA-42A0-97CD-637349527123}" dt="2021-07-11T11:37:51.357" v="246"/>
          <ac:grpSpMkLst>
            <pc:docMk/>
            <pc:sldMk cId="356770820" sldId="284"/>
            <ac:grpSpMk id="112" creationId="{7D97D230-739A-4EEE-9D8A-FE41656B1EA0}"/>
          </ac:grpSpMkLst>
        </pc:grpChg>
        <pc:grpChg chg="mod">
          <ac:chgData name="Yash Ratanpal" userId="5db668b1-93e7-4c08-9786-4ed81315a653" providerId="ADAL" clId="{3F7A7787-00CA-42A0-97CD-637349527123}" dt="2021-07-11T11:37:51.357" v="246"/>
          <ac:grpSpMkLst>
            <pc:docMk/>
            <pc:sldMk cId="356770820" sldId="284"/>
            <ac:grpSpMk id="113" creationId="{4FEFF6D1-9229-40BE-8634-80219E59F325}"/>
          </ac:grpSpMkLst>
        </pc:grpChg>
        <pc:grpChg chg="mod">
          <ac:chgData name="Yash Ratanpal" userId="5db668b1-93e7-4c08-9786-4ed81315a653" providerId="ADAL" clId="{3F7A7787-00CA-42A0-97CD-637349527123}" dt="2021-07-11T11:37:51.357" v="246"/>
          <ac:grpSpMkLst>
            <pc:docMk/>
            <pc:sldMk cId="356770820" sldId="284"/>
            <ac:grpSpMk id="114" creationId="{372E2DAB-5214-4ED1-99FB-A90D94716F83}"/>
          </ac:grpSpMkLst>
        </pc:grpChg>
        <pc:grpChg chg="mod">
          <ac:chgData name="Yash Ratanpal" userId="5db668b1-93e7-4c08-9786-4ed81315a653" providerId="ADAL" clId="{3F7A7787-00CA-42A0-97CD-637349527123}" dt="2021-07-11T11:37:51.357" v="246"/>
          <ac:grpSpMkLst>
            <pc:docMk/>
            <pc:sldMk cId="356770820" sldId="284"/>
            <ac:grpSpMk id="147" creationId="{5EF268AD-2C80-4D53-AD69-52CA8A70A830}"/>
          </ac:grpSpMkLst>
        </pc:grpChg>
        <pc:picChg chg="mod">
          <ac:chgData name="Yash Ratanpal" userId="5db668b1-93e7-4c08-9786-4ed81315a653" providerId="ADAL" clId="{3F7A7787-00CA-42A0-97CD-637349527123}" dt="2021-07-11T11:37:51.357" v="246"/>
          <ac:picMkLst>
            <pc:docMk/>
            <pc:sldMk cId="356770820" sldId="284"/>
            <ac:picMk id="2" creationId="{00000000-0000-0000-0000-000000000000}"/>
          </ac:picMkLst>
        </pc:picChg>
        <pc:cxnChg chg="mod">
          <ac:chgData name="Yash Ratanpal" userId="5db668b1-93e7-4c08-9786-4ed81315a653" providerId="ADAL" clId="{3F7A7787-00CA-42A0-97CD-637349527123}" dt="2021-07-11T11:37:51.357" v="246"/>
          <ac:cxnSpMkLst>
            <pc:docMk/>
            <pc:sldMk cId="356770820" sldId="284"/>
            <ac:cxnSpMk id="91" creationId="{190F3E56-0E1A-4B9B-A7D1-9FA1A5481603}"/>
          </ac:cxnSpMkLst>
        </pc:cxnChg>
        <pc:cxnChg chg="mod">
          <ac:chgData name="Yash Ratanpal" userId="5db668b1-93e7-4c08-9786-4ed81315a653" providerId="ADAL" clId="{3F7A7787-00CA-42A0-97CD-637349527123}" dt="2021-07-11T11:37:51.357" v="246"/>
          <ac:cxnSpMkLst>
            <pc:docMk/>
            <pc:sldMk cId="356770820" sldId="284"/>
            <ac:cxnSpMk id="92" creationId="{1FA6CCC9-6661-46C1-BF5E-AC7A69452ED0}"/>
          </ac:cxnSpMkLst>
        </pc:cxnChg>
        <pc:cxnChg chg="mod">
          <ac:chgData name="Yash Ratanpal" userId="5db668b1-93e7-4c08-9786-4ed81315a653" providerId="ADAL" clId="{3F7A7787-00CA-42A0-97CD-637349527123}" dt="2021-07-11T11:37:51.357" v="246"/>
          <ac:cxnSpMkLst>
            <pc:docMk/>
            <pc:sldMk cId="356770820" sldId="284"/>
            <ac:cxnSpMk id="96" creationId="{888D1B5E-6AC8-4171-A998-07EEBF876E28}"/>
          </ac:cxnSpMkLst>
        </pc:cxnChg>
        <pc:cxnChg chg="mod">
          <ac:chgData name="Yash Ratanpal" userId="5db668b1-93e7-4c08-9786-4ed81315a653" providerId="ADAL" clId="{3F7A7787-00CA-42A0-97CD-637349527123}" dt="2021-07-11T11:37:51.357" v="246"/>
          <ac:cxnSpMkLst>
            <pc:docMk/>
            <pc:sldMk cId="356770820" sldId="284"/>
            <ac:cxnSpMk id="97" creationId="{AE71902C-370A-4378-B82E-7D53AC20FB07}"/>
          </ac:cxnSpMkLst>
        </pc:cxnChg>
        <pc:cxnChg chg="mod">
          <ac:chgData name="Yash Ratanpal" userId="5db668b1-93e7-4c08-9786-4ed81315a653" providerId="ADAL" clId="{3F7A7787-00CA-42A0-97CD-637349527123}" dt="2021-07-11T11:37:51.357" v="246"/>
          <ac:cxnSpMkLst>
            <pc:docMk/>
            <pc:sldMk cId="356770820" sldId="284"/>
            <ac:cxnSpMk id="100" creationId="{FE133DF2-E014-41AC-BC94-F85D081ACF3E}"/>
          </ac:cxnSpMkLst>
        </pc:cxnChg>
        <pc:cxnChg chg="mod">
          <ac:chgData name="Yash Ratanpal" userId="5db668b1-93e7-4c08-9786-4ed81315a653" providerId="ADAL" clId="{3F7A7787-00CA-42A0-97CD-637349527123}" dt="2021-07-11T11:37:51.357" v="246"/>
          <ac:cxnSpMkLst>
            <pc:docMk/>
            <pc:sldMk cId="356770820" sldId="284"/>
            <ac:cxnSpMk id="101" creationId="{A16464D9-1C34-4BE5-8ED9-1D26BD9A228F}"/>
          </ac:cxnSpMkLst>
        </pc:cxnChg>
        <pc:cxnChg chg="mod">
          <ac:chgData name="Yash Ratanpal" userId="5db668b1-93e7-4c08-9786-4ed81315a653" providerId="ADAL" clId="{3F7A7787-00CA-42A0-97CD-637349527123}" dt="2021-07-11T11:37:51.357" v="246"/>
          <ac:cxnSpMkLst>
            <pc:docMk/>
            <pc:sldMk cId="356770820" sldId="284"/>
            <ac:cxnSpMk id="102" creationId="{D4A4B284-CADE-4DE1-B5FD-37941C28CA5E}"/>
          </ac:cxnSpMkLst>
        </pc:cxnChg>
        <pc:cxnChg chg="mod">
          <ac:chgData name="Yash Ratanpal" userId="5db668b1-93e7-4c08-9786-4ed81315a653" providerId="ADAL" clId="{3F7A7787-00CA-42A0-97CD-637349527123}" dt="2021-07-11T11:37:51.357" v="246"/>
          <ac:cxnSpMkLst>
            <pc:docMk/>
            <pc:sldMk cId="356770820" sldId="284"/>
            <ac:cxnSpMk id="115" creationId="{D1E5C44E-8B39-4107-B78F-53ADD89B902C}"/>
          </ac:cxnSpMkLst>
        </pc:cxnChg>
        <pc:cxnChg chg="mod">
          <ac:chgData name="Yash Ratanpal" userId="5db668b1-93e7-4c08-9786-4ed81315a653" providerId="ADAL" clId="{3F7A7787-00CA-42A0-97CD-637349527123}" dt="2021-07-11T11:37:51.357" v="246"/>
          <ac:cxnSpMkLst>
            <pc:docMk/>
            <pc:sldMk cId="356770820" sldId="284"/>
            <ac:cxnSpMk id="122" creationId="{80244A1D-E154-4BB7-8F12-A88144F9B471}"/>
          </ac:cxnSpMkLst>
        </pc:cxnChg>
        <pc:cxnChg chg="mod">
          <ac:chgData name="Yash Ratanpal" userId="5db668b1-93e7-4c08-9786-4ed81315a653" providerId="ADAL" clId="{3F7A7787-00CA-42A0-97CD-637349527123}" dt="2021-07-11T11:37:51.357" v="246"/>
          <ac:cxnSpMkLst>
            <pc:docMk/>
            <pc:sldMk cId="356770820" sldId="284"/>
            <ac:cxnSpMk id="123" creationId="{EE382E5D-AD5D-43C7-B332-C9D6FE77301B}"/>
          </ac:cxnSpMkLst>
        </pc:cxnChg>
        <pc:cxnChg chg="mod">
          <ac:chgData name="Yash Ratanpal" userId="5db668b1-93e7-4c08-9786-4ed81315a653" providerId="ADAL" clId="{3F7A7787-00CA-42A0-97CD-637349527123}" dt="2021-07-11T11:37:51.357" v="246"/>
          <ac:cxnSpMkLst>
            <pc:docMk/>
            <pc:sldMk cId="356770820" sldId="284"/>
            <ac:cxnSpMk id="124" creationId="{7073F00E-25A0-4148-B308-AD5758E639C1}"/>
          </ac:cxnSpMkLst>
        </pc:cxnChg>
      </pc:sldChg>
      <pc:sldChg chg="modSp del modNotes">
        <pc:chgData name="Yash Ratanpal" userId="5db668b1-93e7-4c08-9786-4ed81315a653" providerId="ADAL" clId="{3F7A7787-00CA-42A0-97CD-637349527123}" dt="2021-07-11T13:45:16.602" v="1748" actId="47"/>
        <pc:sldMkLst>
          <pc:docMk/>
          <pc:sldMk cId="3949223454" sldId="285"/>
        </pc:sldMkLst>
        <pc:spChg chg="mod">
          <ac:chgData name="Yash Ratanpal" userId="5db668b1-93e7-4c08-9786-4ed81315a653" providerId="ADAL" clId="{3F7A7787-00CA-42A0-97CD-637349527123}" dt="2021-07-11T11:37:51.357" v="246"/>
          <ac:spMkLst>
            <pc:docMk/>
            <pc:sldMk cId="3949223454" sldId="285"/>
            <ac:spMk id="3" creationId="{00000000-0000-0000-0000-000000000000}"/>
          </ac:spMkLst>
        </pc:spChg>
        <pc:spChg chg="mod">
          <ac:chgData name="Yash Ratanpal" userId="5db668b1-93e7-4c08-9786-4ed81315a653" providerId="ADAL" clId="{3F7A7787-00CA-42A0-97CD-637349527123}" dt="2021-07-11T11:37:51.357" v="246"/>
          <ac:spMkLst>
            <pc:docMk/>
            <pc:sldMk cId="3949223454" sldId="285"/>
            <ac:spMk id="72" creationId="{370383FC-7292-4898-8D3D-BC42CABF9108}"/>
          </ac:spMkLst>
        </pc:spChg>
        <pc:spChg chg="mod">
          <ac:chgData name="Yash Ratanpal" userId="5db668b1-93e7-4c08-9786-4ed81315a653" providerId="ADAL" clId="{3F7A7787-00CA-42A0-97CD-637349527123}" dt="2021-07-11T11:37:51.357" v="246"/>
          <ac:spMkLst>
            <pc:docMk/>
            <pc:sldMk cId="3949223454" sldId="285"/>
            <ac:spMk id="73" creationId="{9C417B04-8B5E-4173-90BB-5E325078F728}"/>
          </ac:spMkLst>
        </pc:spChg>
        <pc:spChg chg="mod">
          <ac:chgData name="Yash Ratanpal" userId="5db668b1-93e7-4c08-9786-4ed81315a653" providerId="ADAL" clId="{3F7A7787-00CA-42A0-97CD-637349527123}" dt="2021-07-11T11:37:51.357" v="246"/>
          <ac:spMkLst>
            <pc:docMk/>
            <pc:sldMk cId="3949223454" sldId="285"/>
            <ac:spMk id="74" creationId="{FA77F1AC-7F0B-4D22-8B61-949C308483C2}"/>
          </ac:spMkLst>
        </pc:spChg>
        <pc:spChg chg="mod">
          <ac:chgData name="Yash Ratanpal" userId="5db668b1-93e7-4c08-9786-4ed81315a653" providerId="ADAL" clId="{3F7A7787-00CA-42A0-97CD-637349527123}" dt="2021-07-11T11:37:51.357" v="246"/>
          <ac:spMkLst>
            <pc:docMk/>
            <pc:sldMk cId="3949223454" sldId="285"/>
            <ac:spMk id="75" creationId="{9B288DE8-F1C6-449D-A735-B3085885FA98}"/>
          </ac:spMkLst>
        </pc:spChg>
        <pc:spChg chg="mod">
          <ac:chgData name="Yash Ratanpal" userId="5db668b1-93e7-4c08-9786-4ed81315a653" providerId="ADAL" clId="{3F7A7787-00CA-42A0-97CD-637349527123}" dt="2021-07-11T11:37:51.357" v="246"/>
          <ac:spMkLst>
            <pc:docMk/>
            <pc:sldMk cId="3949223454" sldId="285"/>
            <ac:spMk id="76" creationId="{DDD4D6A0-9CAF-4E68-BB57-D98AC0057766}"/>
          </ac:spMkLst>
        </pc:spChg>
        <pc:spChg chg="mod">
          <ac:chgData name="Yash Ratanpal" userId="5db668b1-93e7-4c08-9786-4ed81315a653" providerId="ADAL" clId="{3F7A7787-00CA-42A0-97CD-637349527123}" dt="2021-07-11T11:37:51.357" v="246"/>
          <ac:spMkLst>
            <pc:docMk/>
            <pc:sldMk cId="3949223454" sldId="285"/>
            <ac:spMk id="77" creationId="{68795E71-5D86-4D02-B063-19B0A8071279}"/>
          </ac:spMkLst>
        </pc:spChg>
        <pc:spChg chg="mod">
          <ac:chgData name="Yash Ratanpal" userId="5db668b1-93e7-4c08-9786-4ed81315a653" providerId="ADAL" clId="{3F7A7787-00CA-42A0-97CD-637349527123}" dt="2021-07-11T11:37:51.357" v="246"/>
          <ac:spMkLst>
            <pc:docMk/>
            <pc:sldMk cId="3949223454" sldId="285"/>
            <ac:spMk id="78" creationId="{F7752F8A-CDDD-4649-BE12-D22150E4FF6A}"/>
          </ac:spMkLst>
        </pc:spChg>
        <pc:spChg chg="mod">
          <ac:chgData name="Yash Ratanpal" userId="5db668b1-93e7-4c08-9786-4ed81315a653" providerId="ADAL" clId="{3F7A7787-00CA-42A0-97CD-637349527123}" dt="2021-07-11T11:37:51.357" v="246"/>
          <ac:spMkLst>
            <pc:docMk/>
            <pc:sldMk cId="3949223454" sldId="285"/>
            <ac:spMk id="79" creationId="{335A95D2-0B4E-4652-8A51-9F68C7EAD882}"/>
          </ac:spMkLst>
        </pc:spChg>
        <pc:spChg chg="mod">
          <ac:chgData name="Yash Ratanpal" userId="5db668b1-93e7-4c08-9786-4ed81315a653" providerId="ADAL" clId="{3F7A7787-00CA-42A0-97CD-637349527123}" dt="2021-07-11T11:37:51.357" v="246"/>
          <ac:spMkLst>
            <pc:docMk/>
            <pc:sldMk cId="3949223454" sldId="285"/>
            <ac:spMk id="80" creationId="{CB0F2AB4-4521-4FCB-B0DC-8B35CEC06340}"/>
          </ac:spMkLst>
        </pc:spChg>
        <pc:spChg chg="mod">
          <ac:chgData name="Yash Ratanpal" userId="5db668b1-93e7-4c08-9786-4ed81315a653" providerId="ADAL" clId="{3F7A7787-00CA-42A0-97CD-637349527123}" dt="2021-07-11T11:37:51.357" v="246"/>
          <ac:spMkLst>
            <pc:docMk/>
            <pc:sldMk cId="3949223454" sldId="285"/>
            <ac:spMk id="81" creationId="{B9C7295E-EF7A-4A9E-AD8D-9F00B60C0682}"/>
          </ac:spMkLst>
        </pc:spChg>
        <pc:spChg chg="mod">
          <ac:chgData name="Yash Ratanpal" userId="5db668b1-93e7-4c08-9786-4ed81315a653" providerId="ADAL" clId="{3F7A7787-00CA-42A0-97CD-637349527123}" dt="2021-07-11T11:37:51.357" v="246"/>
          <ac:spMkLst>
            <pc:docMk/>
            <pc:sldMk cId="3949223454" sldId="285"/>
            <ac:spMk id="82" creationId="{F16C1B45-6D36-4473-81AE-6867E155E0B4}"/>
          </ac:spMkLst>
        </pc:spChg>
        <pc:spChg chg="mod">
          <ac:chgData name="Yash Ratanpal" userId="5db668b1-93e7-4c08-9786-4ed81315a653" providerId="ADAL" clId="{3F7A7787-00CA-42A0-97CD-637349527123}" dt="2021-07-11T11:37:51.357" v="246"/>
          <ac:spMkLst>
            <pc:docMk/>
            <pc:sldMk cId="3949223454" sldId="285"/>
            <ac:spMk id="83" creationId="{E7F87FE8-6C03-4AAB-B023-799F5B005C54}"/>
          </ac:spMkLst>
        </pc:spChg>
        <pc:spChg chg="mod">
          <ac:chgData name="Yash Ratanpal" userId="5db668b1-93e7-4c08-9786-4ed81315a653" providerId="ADAL" clId="{3F7A7787-00CA-42A0-97CD-637349527123}" dt="2021-07-11T11:37:51.357" v="246"/>
          <ac:spMkLst>
            <pc:docMk/>
            <pc:sldMk cId="3949223454" sldId="285"/>
            <ac:spMk id="84" creationId="{08872354-0493-4FA0-8B68-158FBE34F0E6}"/>
          </ac:spMkLst>
        </pc:spChg>
        <pc:spChg chg="mod">
          <ac:chgData name="Yash Ratanpal" userId="5db668b1-93e7-4c08-9786-4ed81315a653" providerId="ADAL" clId="{3F7A7787-00CA-42A0-97CD-637349527123}" dt="2021-07-11T11:37:51.357" v="246"/>
          <ac:spMkLst>
            <pc:docMk/>
            <pc:sldMk cId="3949223454" sldId="285"/>
            <ac:spMk id="86" creationId="{180C2266-E072-46E3-BF55-D0B4730D0A5B}"/>
          </ac:spMkLst>
        </pc:spChg>
        <pc:spChg chg="mod">
          <ac:chgData name="Yash Ratanpal" userId="5db668b1-93e7-4c08-9786-4ed81315a653" providerId="ADAL" clId="{3F7A7787-00CA-42A0-97CD-637349527123}" dt="2021-07-11T11:37:51.357" v="246"/>
          <ac:spMkLst>
            <pc:docMk/>
            <pc:sldMk cId="3949223454" sldId="285"/>
            <ac:spMk id="87" creationId="{7A4AF275-65EA-464F-B81D-B56EEEE7FCA7}"/>
          </ac:spMkLst>
        </pc:spChg>
        <pc:spChg chg="mod">
          <ac:chgData name="Yash Ratanpal" userId="5db668b1-93e7-4c08-9786-4ed81315a653" providerId="ADAL" clId="{3F7A7787-00CA-42A0-97CD-637349527123}" dt="2021-07-11T11:37:51.357" v="246"/>
          <ac:spMkLst>
            <pc:docMk/>
            <pc:sldMk cId="3949223454" sldId="285"/>
            <ac:spMk id="88" creationId="{118D9839-01EC-4E87-A72E-CA0DBC4F0782}"/>
          </ac:spMkLst>
        </pc:spChg>
        <pc:spChg chg="mod">
          <ac:chgData name="Yash Ratanpal" userId="5db668b1-93e7-4c08-9786-4ed81315a653" providerId="ADAL" clId="{3F7A7787-00CA-42A0-97CD-637349527123}" dt="2021-07-11T11:37:51.357" v="246"/>
          <ac:spMkLst>
            <pc:docMk/>
            <pc:sldMk cId="3949223454" sldId="285"/>
            <ac:spMk id="89" creationId="{25707FA1-6DC7-4CED-B281-B38A1125C97C}"/>
          </ac:spMkLst>
        </pc:spChg>
        <pc:spChg chg="mod">
          <ac:chgData name="Yash Ratanpal" userId="5db668b1-93e7-4c08-9786-4ed81315a653" providerId="ADAL" clId="{3F7A7787-00CA-42A0-97CD-637349527123}" dt="2021-07-11T11:37:51.357" v="246"/>
          <ac:spMkLst>
            <pc:docMk/>
            <pc:sldMk cId="3949223454" sldId="285"/>
            <ac:spMk id="90" creationId="{27AB26C9-6A53-42EA-856D-E31B1F987144}"/>
          </ac:spMkLst>
        </pc:spChg>
        <pc:spChg chg="mod">
          <ac:chgData name="Yash Ratanpal" userId="5db668b1-93e7-4c08-9786-4ed81315a653" providerId="ADAL" clId="{3F7A7787-00CA-42A0-97CD-637349527123}" dt="2021-07-11T11:37:51.357" v="246"/>
          <ac:spMkLst>
            <pc:docMk/>
            <pc:sldMk cId="3949223454" sldId="285"/>
            <ac:spMk id="91" creationId="{5DE716A0-5EA7-4CBC-92AC-35808DD2909B}"/>
          </ac:spMkLst>
        </pc:spChg>
        <pc:spChg chg="mod">
          <ac:chgData name="Yash Ratanpal" userId="5db668b1-93e7-4c08-9786-4ed81315a653" providerId="ADAL" clId="{3F7A7787-00CA-42A0-97CD-637349527123}" dt="2021-07-11T11:37:51.357" v="246"/>
          <ac:spMkLst>
            <pc:docMk/>
            <pc:sldMk cId="3949223454" sldId="285"/>
            <ac:spMk id="92" creationId="{2AE3AD43-6F59-4610-AC9F-3325CC803261}"/>
          </ac:spMkLst>
        </pc:spChg>
        <pc:spChg chg="mod">
          <ac:chgData name="Yash Ratanpal" userId="5db668b1-93e7-4c08-9786-4ed81315a653" providerId="ADAL" clId="{3F7A7787-00CA-42A0-97CD-637349527123}" dt="2021-07-11T11:37:51.357" v="246"/>
          <ac:spMkLst>
            <pc:docMk/>
            <pc:sldMk cId="3949223454" sldId="285"/>
            <ac:spMk id="93" creationId="{14817C4C-9450-4B4D-9422-C9CB1847AFF2}"/>
          </ac:spMkLst>
        </pc:spChg>
        <pc:spChg chg="mod">
          <ac:chgData name="Yash Ratanpal" userId="5db668b1-93e7-4c08-9786-4ed81315a653" providerId="ADAL" clId="{3F7A7787-00CA-42A0-97CD-637349527123}" dt="2021-07-11T11:37:51.357" v="246"/>
          <ac:spMkLst>
            <pc:docMk/>
            <pc:sldMk cId="3949223454" sldId="285"/>
            <ac:spMk id="94" creationId="{7639EFFB-35BE-4A8B-B4DC-426D8C674A81}"/>
          </ac:spMkLst>
        </pc:spChg>
        <pc:spChg chg="mod">
          <ac:chgData name="Yash Ratanpal" userId="5db668b1-93e7-4c08-9786-4ed81315a653" providerId="ADAL" clId="{3F7A7787-00CA-42A0-97CD-637349527123}" dt="2021-07-11T11:37:51.357" v="246"/>
          <ac:spMkLst>
            <pc:docMk/>
            <pc:sldMk cId="3949223454" sldId="285"/>
            <ac:spMk id="95" creationId="{CB76AAD5-762B-458F-B493-30F597A0453A}"/>
          </ac:spMkLst>
        </pc:spChg>
        <pc:spChg chg="mod">
          <ac:chgData name="Yash Ratanpal" userId="5db668b1-93e7-4c08-9786-4ed81315a653" providerId="ADAL" clId="{3F7A7787-00CA-42A0-97CD-637349527123}" dt="2021-07-11T11:37:51.357" v="246"/>
          <ac:spMkLst>
            <pc:docMk/>
            <pc:sldMk cId="3949223454" sldId="285"/>
            <ac:spMk id="96" creationId="{244519AD-8E89-44CC-A762-116725506C6E}"/>
          </ac:spMkLst>
        </pc:spChg>
        <pc:spChg chg="mod">
          <ac:chgData name="Yash Ratanpal" userId="5db668b1-93e7-4c08-9786-4ed81315a653" providerId="ADAL" clId="{3F7A7787-00CA-42A0-97CD-637349527123}" dt="2021-07-11T11:37:51.357" v="246"/>
          <ac:spMkLst>
            <pc:docMk/>
            <pc:sldMk cId="3949223454" sldId="285"/>
            <ac:spMk id="97" creationId="{B72D4974-A62C-4DEA-89C6-029D88641AB4}"/>
          </ac:spMkLst>
        </pc:spChg>
        <pc:spChg chg="mod">
          <ac:chgData name="Yash Ratanpal" userId="5db668b1-93e7-4c08-9786-4ed81315a653" providerId="ADAL" clId="{3F7A7787-00CA-42A0-97CD-637349527123}" dt="2021-07-11T11:37:51.357" v="246"/>
          <ac:spMkLst>
            <pc:docMk/>
            <pc:sldMk cId="3949223454" sldId="285"/>
            <ac:spMk id="98" creationId="{640223EC-5480-42E3-8A35-AA6F0D82C725}"/>
          </ac:spMkLst>
        </pc:spChg>
        <pc:spChg chg="mod">
          <ac:chgData name="Yash Ratanpal" userId="5db668b1-93e7-4c08-9786-4ed81315a653" providerId="ADAL" clId="{3F7A7787-00CA-42A0-97CD-637349527123}" dt="2021-07-11T11:37:51.357" v="246"/>
          <ac:spMkLst>
            <pc:docMk/>
            <pc:sldMk cId="3949223454" sldId="285"/>
            <ac:spMk id="99" creationId="{BEE414C7-8C97-4225-95CF-B20E52ED5F83}"/>
          </ac:spMkLst>
        </pc:spChg>
        <pc:spChg chg="mod">
          <ac:chgData name="Yash Ratanpal" userId="5db668b1-93e7-4c08-9786-4ed81315a653" providerId="ADAL" clId="{3F7A7787-00CA-42A0-97CD-637349527123}" dt="2021-07-11T11:37:51.357" v="246"/>
          <ac:spMkLst>
            <pc:docMk/>
            <pc:sldMk cId="3949223454" sldId="285"/>
            <ac:spMk id="100" creationId="{99854C0B-D6A2-46C5-9A9B-10EDF90045CE}"/>
          </ac:spMkLst>
        </pc:spChg>
        <pc:spChg chg="mod">
          <ac:chgData name="Yash Ratanpal" userId="5db668b1-93e7-4c08-9786-4ed81315a653" providerId="ADAL" clId="{3F7A7787-00CA-42A0-97CD-637349527123}" dt="2021-07-11T11:37:51.357" v="246"/>
          <ac:spMkLst>
            <pc:docMk/>
            <pc:sldMk cId="3949223454" sldId="285"/>
            <ac:spMk id="101" creationId="{86A923EB-DC23-4AF5-B822-F3773518DE9C}"/>
          </ac:spMkLst>
        </pc:spChg>
        <pc:spChg chg="mod">
          <ac:chgData name="Yash Ratanpal" userId="5db668b1-93e7-4c08-9786-4ed81315a653" providerId="ADAL" clId="{3F7A7787-00CA-42A0-97CD-637349527123}" dt="2021-07-11T11:37:51.357" v="246"/>
          <ac:spMkLst>
            <pc:docMk/>
            <pc:sldMk cId="3949223454" sldId="285"/>
            <ac:spMk id="102" creationId="{51AD7D79-8EDA-467B-9588-6DD639B892DC}"/>
          </ac:spMkLst>
        </pc:spChg>
        <pc:spChg chg="mod">
          <ac:chgData name="Yash Ratanpal" userId="5db668b1-93e7-4c08-9786-4ed81315a653" providerId="ADAL" clId="{3F7A7787-00CA-42A0-97CD-637349527123}" dt="2021-07-11T11:37:51.357" v="246"/>
          <ac:spMkLst>
            <pc:docMk/>
            <pc:sldMk cId="3949223454" sldId="285"/>
            <ac:spMk id="103" creationId="{EAE3D377-E6BE-4291-B8FF-145468638E7B}"/>
          </ac:spMkLst>
        </pc:spChg>
        <pc:spChg chg="mod">
          <ac:chgData name="Yash Ratanpal" userId="5db668b1-93e7-4c08-9786-4ed81315a653" providerId="ADAL" clId="{3F7A7787-00CA-42A0-97CD-637349527123}" dt="2021-07-11T11:37:51.357" v="246"/>
          <ac:spMkLst>
            <pc:docMk/>
            <pc:sldMk cId="3949223454" sldId="285"/>
            <ac:spMk id="104" creationId="{C84F2457-4EB4-4553-B5BD-A5E1EC89D7DC}"/>
          </ac:spMkLst>
        </pc:spChg>
        <pc:spChg chg="mod">
          <ac:chgData name="Yash Ratanpal" userId="5db668b1-93e7-4c08-9786-4ed81315a653" providerId="ADAL" clId="{3F7A7787-00CA-42A0-97CD-637349527123}" dt="2021-07-11T11:37:51.357" v="246"/>
          <ac:spMkLst>
            <pc:docMk/>
            <pc:sldMk cId="3949223454" sldId="285"/>
            <ac:spMk id="105" creationId="{AAEB963A-AE74-4DC4-90BE-9FF1B40EC021}"/>
          </ac:spMkLst>
        </pc:spChg>
        <pc:spChg chg="mod">
          <ac:chgData name="Yash Ratanpal" userId="5db668b1-93e7-4c08-9786-4ed81315a653" providerId="ADAL" clId="{3F7A7787-00CA-42A0-97CD-637349527123}" dt="2021-07-11T11:37:51.357" v="246"/>
          <ac:spMkLst>
            <pc:docMk/>
            <pc:sldMk cId="3949223454" sldId="285"/>
            <ac:spMk id="106" creationId="{8B9560FE-F67C-4E09-AF76-FCF9BC1BF9E5}"/>
          </ac:spMkLst>
        </pc:spChg>
        <pc:spChg chg="mod">
          <ac:chgData name="Yash Ratanpal" userId="5db668b1-93e7-4c08-9786-4ed81315a653" providerId="ADAL" clId="{3F7A7787-00CA-42A0-97CD-637349527123}" dt="2021-07-11T11:37:51.357" v="246"/>
          <ac:spMkLst>
            <pc:docMk/>
            <pc:sldMk cId="3949223454" sldId="285"/>
            <ac:spMk id="107" creationId="{1F59847E-12BF-4EB1-B49F-6B9F64A8EDA1}"/>
          </ac:spMkLst>
        </pc:spChg>
        <pc:spChg chg="mod">
          <ac:chgData name="Yash Ratanpal" userId="5db668b1-93e7-4c08-9786-4ed81315a653" providerId="ADAL" clId="{3F7A7787-00CA-42A0-97CD-637349527123}" dt="2021-07-11T11:37:51.357" v="246"/>
          <ac:spMkLst>
            <pc:docMk/>
            <pc:sldMk cId="3949223454" sldId="285"/>
            <ac:spMk id="108" creationId="{699A6C15-1AF9-4631-B780-D2D2D19C109C}"/>
          </ac:spMkLst>
        </pc:spChg>
        <pc:spChg chg="mod">
          <ac:chgData name="Yash Ratanpal" userId="5db668b1-93e7-4c08-9786-4ed81315a653" providerId="ADAL" clId="{3F7A7787-00CA-42A0-97CD-637349527123}" dt="2021-07-11T11:37:51.357" v="246"/>
          <ac:spMkLst>
            <pc:docMk/>
            <pc:sldMk cId="3949223454" sldId="285"/>
            <ac:spMk id="109" creationId="{E66254A9-3987-4BF0-9F98-DA239DEC6DC7}"/>
          </ac:spMkLst>
        </pc:spChg>
        <pc:spChg chg="mod">
          <ac:chgData name="Yash Ratanpal" userId="5db668b1-93e7-4c08-9786-4ed81315a653" providerId="ADAL" clId="{3F7A7787-00CA-42A0-97CD-637349527123}" dt="2021-07-11T11:37:51.357" v="246"/>
          <ac:spMkLst>
            <pc:docMk/>
            <pc:sldMk cId="3949223454" sldId="285"/>
            <ac:spMk id="110" creationId="{F3CB2836-B903-486D-B3C8-EC0F1322A748}"/>
          </ac:spMkLst>
        </pc:spChg>
        <pc:spChg chg="mod">
          <ac:chgData name="Yash Ratanpal" userId="5db668b1-93e7-4c08-9786-4ed81315a653" providerId="ADAL" clId="{3F7A7787-00CA-42A0-97CD-637349527123}" dt="2021-07-11T11:37:51.357" v="246"/>
          <ac:spMkLst>
            <pc:docMk/>
            <pc:sldMk cId="3949223454" sldId="285"/>
            <ac:spMk id="111" creationId="{B12D0F47-21E0-4567-9476-8B35306DD43C}"/>
          </ac:spMkLst>
        </pc:spChg>
        <pc:spChg chg="mod">
          <ac:chgData name="Yash Ratanpal" userId="5db668b1-93e7-4c08-9786-4ed81315a653" providerId="ADAL" clId="{3F7A7787-00CA-42A0-97CD-637349527123}" dt="2021-07-11T11:37:51.357" v="246"/>
          <ac:spMkLst>
            <pc:docMk/>
            <pc:sldMk cId="3949223454" sldId="285"/>
            <ac:spMk id="112" creationId="{0066BDAA-0360-4491-977D-CC0C4C10F5BC}"/>
          </ac:spMkLst>
        </pc:spChg>
        <pc:spChg chg="mod">
          <ac:chgData name="Yash Ratanpal" userId="5db668b1-93e7-4c08-9786-4ed81315a653" providerId="ADAL" clId="{3F7A7787-00CA-42A0-97CD-637349527123}" dt="2021-07-11T11:37:51.357" v="246"/>
          <ac:spMkLst>
            <pc:docMk/>
            <pc:sldMk cId="3949223454" sldId="285"/>
            <ac:spMk id="113" creationId="{5EB3F21F-9643-4814-A58C-49C54DB24043}"/>
          </ac:spMkLst>
        </pc:spChg>
        <pc:spChg chg="mod">
          <ac:chgData name="Yash Ratanpal" userId="5db668b1-93e7-4c08-9786-4ed81315a653" providerId="ADAL" clId="{3F7A7787-00CA-42A0-97CD-637349527123}" dt="2021-07-11T11:37:51.357" v="246"/>
          <ac:spMkLst>
            <pc:docMk/>
            <pc:sldMk cId="3949223454" sldId="285"/>
            <ac:spMk id="114" creationId="{9DE6B88F-3A85-4C35-8C10-0993CC5F1C05}"/>
          </ac:spMkLst>
        </pc:spChg>
        <pc:spChg chg="mod">
          <ac:chgData name="Yash Ratanpal" userId="5db668b1-93e7-4c08-9786-4ed81315a653" providerId="ADAL" clId="{3F7A7787-00CA-42A0-97CD-637349527123}" dt="2021-07-11T11:37:51.357" v="246"/>
          <ac:spMkLst>
            <pc:docMk/>
            <pc:sldMk cId="3949223454" sldId="285"/>
            <ac:spMk id="115" creationId="{9E9B1024-AB55-4B9F-8A3D-FBD00EACB187}"/>
          </ac:spMkLst>
        </pc:spChg>
        <pc:spChg chg="mod">
          <ac:chgData name="Yash Ratanpal" userId="5db668b1-93e7-4c08-9786-4ed81315a653" providerId="ADAL" clId="{3F7A7787-00CA-42A0-97CD-637349527123}" dt="2021-07-11T11:37:51.357" v="246"/>
          <ac:spMkLst>
            <pc:docMk/>
            <pc:sldMk cId="3949223454" sldId="285"/>
            <ac:spMk id="116" creationId="{8DDB7812-42C4-4929-B370-56E8E5DFE1DA}"/>
          </ac:spMkLst>
        </pc:spChg>
        <pc:spChg chg="mod">
          <ac:chgData name="Yash Ratanpal" userId="5db668b1-93e7-4c08-9786-4ed81315a653" providerId="ADAL" clId="{3F7A7787-00CA-42A0-97CD-637349527123}" dt="2021-07-11T11:37:51.357" v="246"/>
          <ac:spMkLst>
            <pc:docMk/>
            <pc:sldMk cId="3949223454" sldId="285"/>
            <ac:spMk id="117" creationId="{165E7039-0BD2-47FE-B769-158EFE44D696}"/>
          </ac:spMkLst>
        </pc:spChg>
        <pc:spChg chg="mod">
          <ac:chgData name="Yash Ratanpal" userId="5db668b1-93e7-4c08-9786-4ed81315a653" providerId="ADAL" clId="{3F7A7787-00CA-42A0-97CD-637349527123}" dt="2021-07-11T11:37:51.357" v="246"/>
          <ac:spMkLst>
            <pc:docMk/>
            <pc:sldMk cId="3949223454" sldId="285"/>
            <ac:spMk id="118" creationId="{CA7B4AB5-E273-4CB7-8740-80E6403EFAD6}"/>
          </ac:spMkLst>
        </pc:spChg>
        <pc:spChg chg="mod">
          <ac:chgData name="Yash Ratanpal" userId="5db668b1-93e7-4c08-9786-4ed81315a653" providerId="ADAL" clId="{3F7A7787-00CA-42A0-97CD-637349527123}" dt="2021-07-11T11:37:51.357" v="246"/>
          <ac:spMkLst>
            <pc:docMk/>
            <pc:sldMk cId="3949223454" sldId="285"/>
            <ac:spMk id="119" creationId="{3303B9BF-1231-44A6-9D8C-2825F3F7E6A1}"/>
          </ac:spMkLst>
        </pc:spChg>
        <pc:spChg chg="mod">
          <ac:chgData name="Yash Ratanpal" userId="5db668b1-93e7-4c08-9786-4ed81315a653" providerId="ADAL" clId="{3F7A7787-00CA-42A0-97CD-637349527123}" dt="2021-07-11T11:37:51.357" v="246"/>
          <ac:spMkLst>
            <pc:docMk/>
            <pc:sldMk cId="3949223454" sldId="285"/>
            <ac:spMk id="120" creationId="{B590B91A-EEDA-4914-BD30-FBC5EA401D2A}"/>
          </ac:spMkLst>
        </pc:spChg>
        <pc:spChg chg="mod">
          <ac:chgData name="Yash Ratanpal" userId="5db668b1-93e7-4c08-9786-4ed81315a653" providerId="ADAL" clId="{3F7A7787-00CA-42A0-97CD-637349527123}" dt="2021-07-11T11:37:51.357" v="246"/>
          <ac:spMkLst>
            <pc:docMk/>
            <pc:sldMk cId="3949223454" sldId="285"/>
            <ac:spMk id="121" creationId="{481376F7-8E98-4271-A990-EAF1A9EF06F5}"/>
          </ac:spMkLst>
        </pc:spChg>
        <pc:spChg chg="mod">
          <ac:chgData name="Yash Ratanpal" userId="5db668b1-93e7-4c08-9786-4ed81315a653" providerId="ADAL" clId="{3F7A7787-00CA-42A0-97CD-637349527123}" dt="2021-07-11T11:37:51.357" v="246"/>
          <ac:spMkLst>
            <pc:docMk/>
            <pc:sldMk cId="3949223454" sldId="285"/>
            <ac:spMk id="122" creationId="{1227EA9D-AEEE-4F6B-BF0F-6AB7C0D24919}"/>
          </ac:spMkLst>
        </pc:spChg>
        <pc:spChg chg="mod">
          <ac:chgData name="Yash Ratanpal" userId="5db668b1-93e7-4c08-9786-4ed81315a653" providerId="ADAL" clId="{3F7A7787-00CA-42A0-97CD-637349527123}" dt="2021-07-11T11:37:51.357" v="246"/>
          <ac:spMkLst>
            <pc:docMk/>
            <pc:sldMk cId="3949223454" sldId="285"/>
            <ac:spMk id="123" creationId="{1734923B-14C8-4C32-AFE6-35045D54692A}"/>
          </ac:spMkLst>
        </pc:spChg>
        <pc:spChg chg="mod">
          <ac:chgData name="Yash Ratanpal" userId="5db668b1-93e7-4c08-9786-4ed81315a653" providerId="ADAL" clId="{3F7A7787-00CA-42A0-97CD-637349527123}" dt="2021-07-11T11:37:51.357" v="246"/>
          <ac:spMkLst>
            <pc:docMk/>
            <pc:sldMk cId="3949223454" sldId="285"/>
            <ac:spMk id="125" creationId="{4274EF0F-D398-4498-BD71-6465A2DB3711}"/>
          </ac:spMkLst>
        </pc:spChg>
        <pc:spChg chg="mod">
          <ac:chgData name="Yash Ratanpal" userId="5db668b1-93e7-4c08-9786-4ed81315a653" providerId="ADAL" clId="{3F7A7787-00CA-42A0-97CD-637349527123}" dt="2021-07-11T11:37:51.357" v="246"/>
          <ac:spMkLst>
            <pc:docMk/>
            <pc:sldMk cId="3949223454" sldId="285"/>
            <ac:spMk id="126" creationId="{6BDE440D-F3F7-4074-A85A-93560089ABDD}"/>
          </ac:spMkLst>
        </pc:spChg>
        <pc:spChg chg="mod">
          <ac:chgData name="Yash Ratanpal" userId="5db668b1-93e7-4c08-9786-4ed81315a653" providerId="ADAL" clId="{3F7A7787-00CA-42A0-97CD-637349527123}" dt="2021-07-11T11:37:51.357" v="246"/>
          <ac:spMkLst>
            <pc:docMk/>
            <pc:sldMk cId="3949223454" sldId="285"/>
            <ac:spMk id="127" creationId="{19E51085-2281-412F-877B-0B40ECE216A9}"/>
          </ac:spMkLst>
        </pc:spChg>
        <pc:spChg chg="mod">
          <ac:chgData name="Yash Ratanpal" userId="5db668b1-93e7-4c08-9786-4ed81315a653" providerId="ADAL" clId="{3F7A7787-00CA-42A0-97CD-637349527123}" dt="2021-07-11T11:37:51.357" v="246"/>
          <ac:spMkLst>
            <pc:docMk/>
            <pc:sldMk cId="3949223454" sldId="285"/>
            <ac:spMk id="128" creationId="{AD80917E-80E1-4E95-A0BC-B804F416E670}"/>
          </ac:spMkLst>
        </pc:spChg>
        <pc:spChg chg="mod">
          <ac:chgData name="Yash Ratanpal" userId="5db668b1-93e7-4c08-9786-4ed81315a653" providerId="ADAL" clId="{3F7A7787-00CA-42A0-97CD-637349527123}" dt="2021-07-11T11:37:51.357" v="246"/>
          <ac:spMkLst>
            <pc:docMk/>
            <pc:sldMk cId="3949223454" sldId="285"/>
            <ac:spMk id="129" creationId="{70A4386C-1DBA-4F8C-9F76-2E26736900C3}"/>
          </ac:spMkLst>
        </pc:spChg>
        <pc:grpChg chg="mod">
          <ac:chgData name="Yash Ratanpal" userId="5db668b1-93e7-4c08-9786-4ed81315a653" providerId="ADAL" clId="{3F7A7787-00CA-42A0-97CD-637349527123}" dt="2021-07-11T11:37:51.357" v="246"/>
          <ac:grpSpMkLst>
            <pc:docMk/>
            <pc:sldMk cId="3949223454" sldId="285"/>
            <ac:grpSpMk id="70" creationId="{8412FBF4-5C1D-4DE0-8ABD-225EB1D45C33}"/>
          </ac:grpSpMkLst>
        </pc:grpChg>
        <pc:grpChg chg="mod">
          <ac:chgData name="Yash Ratanpal" userId="5db668b1-93e7-4c08-9786-4ed81315a653" providerId="ADAL" clId="{3F7A7787-00CA-42A0-97CD-637349527123}" dt="2021-07-11T11:37:51.357" v="246"/>
          <ac:grpSpMkLst>
            <pc:docMk/>
            <pc:sldMk cId="3949223454" sldId="285"/>
            <ac:grpSpMk id="71" creationId="{E89E6EF2-B3AA-4D3E-8B10-63BEF8E2F1D5}"/>
          </ac:grpSpMkLst>
        </pc:grpChg>
        <pc:grpChg chg="mod">
          <ac:chgData name="Yash Ratanpal" userId="5db668b1-93e7-4c08-9786-4ed81315a653" providerId="ADAL" clId="{3F7A7787-00CA-42A0-97CD-637349527123}" dt="2021-07-11T11:37:51.357" v="246"/>
          <ac:grpSpMkLst>
            <pc:docMk/>
            <pc:sldMk cId="3949223454" sldId="285"/>
            <ac:grpSpMk id="85" creationId="{137E07E3-495D-4369-88A9-A9904E36749F}"/>
          </ac:grpSpMkLst>
        </pc:grpChg>
        <pc:grpChg chg="mod">
          <ac:chgData name="Yash Ratanpal" userId="5db668b1-93e7-4c08-9786-4ed81315a653" providerId="ADAL" clId="{3F7A7787-00CA-42A0-97CD-637349527123}" dt="2021-07-11T11:37:51.357" v="246"/>
          <ac:grpSpMkLst>
            <pc:docMk/>
            <pc:sldMk cId="3949223454" sldId="285"/>
            <ac:grpSpMk id="124" creationId="{D448811D-6785-4EDC-88FC-02D9625F4559}"/>
          </ac:grpSpMkLst>
        </pc:grpChg>
        <pc:picChg chg="mod">
          <ac:chgData name="Yash Ratanpal" userId="5db668b1-93e7-4c08-9786-4ed81315a653" providerId="ADAL" clId="{3F7A7787-00CA-42A0-97CD-637349527123}" dt="2021-07-11T11:37:51.357" v="246"/>
          <ac:picMkLst>
            <pc:docMk/>
            <pc:sldMk cId="3949223454" sldId="285"/>
            <ac:picMk id="2" creationId="{00000000-0000-0000-0000-000000000000}"/>
          </ac:picMkLst>
        </pc:picChg>
      </pc:sldChg>
      <pc:sldChg chg="addSp delSp modSp mod">
        <pc:chgData name="Yash Ratanpal" userId="5db668b1-93e7-4c08-9786-4ed81315a653" providerId="ADAL" clId="{3F7A7787-00CA-42A0-97CD-637349527123}" dt="2021-07-18T14:23:24.117" v="3609" actId="1076"/>
        <pc:sldMkLst>
          <pc:docMk/>
          <pc:sldMk cId="4247112406" sldId="286"/>
        </pc:sldMkLst>
        <pc:spChg chg="del mod">
          <ac:chgData name="Yash Ratanpal" userId="5db668b1-93e7-4c08-9786-4ed81315a653" providerId="ADAL" clId="{3F7A7787-00CA-42A0-97CD-637349527123}" dt="2021-07-11T11:32:52.939" v="225" actId="478"/>
          <ac:spMkLst>
            <pc:docMk/>
            <pc:sldMk cId="4247112406" sldId="286"/>
            <ac:spMk id="4" creationId="{00000000-0000-0000-0000-000000000000}"/>
          </ac:spMkLst>
        </pc:spChg>
        <pc:spChg chg="del mod">
          <ac:chgData name="Yash Ratanpal" userId="5db668b1-93e7-4c08-9786-4ed81315a653" providerId="ADAL" clId="{3F7A7787-00CA-42A0-97CD-637349527123}" dt="2021-07-11T11:32:51.055" v="224" actId="478"/>
          <ac:spMkLst>
            <pc:docMk/>
            <pc:sldMk cId="4247112406" sldId="286"/>
            <ac:spMk id="5" creationId="{00000000-0000-0000-0000-000000000000}"/>
          </ac:spMkLst>
        </pc:spChg>
        <pc:spChg chg="mod">
          <ac:chgData name="Yash Ratanpal" userId="5db668b1-93e7-4c08-9786-4ed81315a653" providerId="ADAL" clId="{3F7A7787-00CA-42A0-97CD-637349527123}" dt="2021-07-11T14:32:12.772" v="3103" actId="1076"/>
          <ac:spMkLst>
            <pc:docMk/>
            <pc:sldMk cId="4247112406" sldId="286"/>
            <ac:spMk id="6" creationId="{00000000-0000-0000-0000-000000000000}"/>
          </ac:spMkLst>
        </pc:spChg>
        <pc:spChg chg="add mod">
          <ac:chgData name="Yash Ratanpal" userId="5db668b1-93e7-4c08-9786-4ed81315a653" providerId="ADAL" clId="{3F7A7787-00CA-42A0-97CD-637349527123}" dt="2021-07-18T14:23:21.354" v="3608" actId="14100"/>
          <ac:spMkLst>
            <pc:docMk/>
            <pc:sldMk cId="4247112406" sldId="286"/>
            <ac:spMk id="7" creationId="{263E0D74-E311-485D-84D6-0B66858ABE34}"/>
          </ac:spMkLst>
        </pc:spChg>
        <pc:spChg chg="add mod">
          <ac:chgData name="Yash Ratanpal" userId="5db668b1-93e7-4c08-9786-4ed81315a653" providerId="ADAL" clId="{3F7A7787-00CA-42A0-97CD-637349527123}" dt="2021-07-18T14:23:24.117" v="3609" actId="1076"/>
          <ac:spMkLst>
            <pc:docMk/>
            <pc:sldMk cId="4247112406" sldId="286"/>
            <ac:spMk id="8" creationId="{77EDAF62-7A73-4E53-87C2-E940032D04F5}"/>
          </ac:spMkLst>
        </pc:spChg>
        <pc:picChg chg="mod">
          <ac:chgData name="Yash Ratanpal" userId="5db668b1-93e7-4c08-9786-4ed81315a653" providerId="ADAL" clId="{3F7A7787-00CA-42A0-97CD-637349527123}" dt="2021-07-11T11:37:51.357" v="246"/>
          <ac:picMkLst>
            <pc:docMk/>
            <pc:sldMk cId="4247112406" sldId="286"/>
            <ac:picMk id="3" creationId="{00000000-0000-0000-0000-000000000000}"/>
          </ac:picMkLst>
        </pc:picChg>
      </pc:sldChg>
      <pc:sldChg chg="modSp del modNotes">
        <pc:chgData name="Yash Ratanpal" userId="5db668b1-93e7-4c08-9786-4ed81315a653" providerId="ADAL" clId="{3F7A7787-00CA-42A0-97CD-637349527123}" dt="2021-07-11T13:45:16.602" v="1748" actId="47"/>
        <pc:sldMkLst>
          <pc:docMk/>
          <pc:sldMk cId="430672873" sldId="288"/>
        </pc:sldMkLst>
        <pc:spChg chg="mod">
          <ac:chgData name="Yash Ratanpal" userId="5db668b1-93e7-4c08-9786-4ed81315a653" providerId="ADAL" clId="{3F7A7787-00CA-42A0-97CD-637349527123}" dt="2021-07-11T11:37:51.357" v="246"/>
          <ac:spMkLst>
            <pc:docMk/>
            <pc:sldMk cId="430672873" sldId="288"/>
            <ac:spMk id="3" creationId="{00000000-0000-0000-0000-000000000000}"/>
          </ac:spMkLst>
        </pc:spChg>
        <pc:picChg chg="mod">
          <ac:chgData name="Yash Ratanpal" userId="5db668b1-93e7-4c08-9786-4ed81315a653" providerId="ADAL" clId="{3F7A7787-00CA-42A0-97CD-637349527123}" dt="2021-07-11T11:37:51.357" v="246"/>
          <ac:picMkLst>
            <pc:docMk/>
            <pc:sldMk cId="430672873" sldId="288"/>
            <ac:picMk id="2" creationId="{00000000-0000-0000-0000-000000000000}"/>
          </ac:picMkLst>
        </pc:picChg>
        <pc:picChg chg="mod">
          <ac:chgData name="Yash Ratanpal" userId="5db668b1-93e7-4c08-9786-4ed81315a653" providerId="ADAL" clId="{3F7A7787-00CA-42A0-97CD-637349527123}" dt="2021-07-11T11:37:51.357" v="246"/>
          <ac:picMkLst>
            <pc:docMk/>
            <pc:sldMk cId="430672873" sldId="288"/>
            <ac:picMk id="6" creationId="{7797D27B-1E65-47CB-AB6B-B04A01699054}"/>
          </ac:picMkLst>
        </pc:picChg>
        <pc:picChg chg="mod">
          <ac:chgData name="Yash Ratanpal" userId="5db668b1-93e7-4c08-9786-4ed81315a653" providerId="ADAL" clId="{3F7A7787-00CA-42A0-97CD-637349527123}" dt="2021-07-11T11:37:51.357" v="246"/>
          <ac:picMkLst>
            <pc:docMk/>
            <pc:sldMk cId="430672873" sldId="288"/>
            <ac:picMk id="7" creationId="{C6812FE3-BA26-4383-9127-EBF0F2EAED00}"/>
          </ac:picMkLst>
        </pc:picChg>
      </pc:sldChg>
      <pc:sldChg chg="del">
        <pc:chgData name="Yash Ratanpal" userId="5db668b1-93e7-4c08-9786-4ed81315a653" providerId="ADAL" clId="{3F7A7787-00CA-42A0-97CD-637349527123}" dt="2021-07-11T13:47:07.553" v="1749"/>
        <pc:sldMkLst>
          <pc:docMk/>
          <pc:sldMk cId="3786432235" sldId="1484"/>
        </pc:sldMkLst>
      </pc:sldChg>
      <pc:sldChg chg="del">
        <pc:chgData name="Yash Ratanpal" userId="5db668b1-93e7-4c08-9786-4ed81315a653" providerId="ADAL" clId="{3F7A7787-00CA-42A0-97CD-637349527123}" dt="2021-07-11T13:47:07.553" v="1749"/>
        <pc:sldMkLst>
          <pc:docMk/>
          <pc:sldMk cId="759913782" sldId="1492"/>
        </pc:sldMkLst>
      </pc:sldChg>
      <pc:sldChg chg="delSp del mod">
        <pc:chgData name="Yash Ratanpal" userId="5db668b1-93e7-4c08-9786-4ed81315a653" providerId="ADAL" clId="{3F7A7787-00CA-42A0-97CD-637349527123}" dt="2021-07-11T11:36:05.233" v="233" actId="47"/>
        <pc:sldMkLst>
          <pc:docMk/>
          <pc:sldMk cId="256038764" sldId="1698"/>
        </pc:sldMkLst>
        <pc:spChg chg="del">
          <ac:chgData name="Yash Ratanpal" userId="5db668b1-93e7-4c08-9786-4ed81315a653" providerId="ADAL" clId="{3F7A7787-00CA-42A0-97CD-637349527123}" dt="2021-07-11T11:35:45.900" v="228" actId="478"/>
          <ac:spMkLst>
            <pc:docMk/>
            <pc:sldMk cId="256038764" sldId="1698"/>
            <ac:spMk id="9" creationId="{47A151E0-0F16-43E5-B1AA-8B2679802A15}"/>
          </ac:spMkLst>
        </pc:spChg>
        <pc:spChg chg="del">
          <ac:chgData name="Yash Ratanpal" userId="5db668b1-93e7-4c08-9786-4ed81315a653" providerId="ADAL" clId="{3F7A7787-00CA-42A0-97CD-637349527123}" dt="2021-07-11T11:35:45.900" v="228" actId="478"/>
          <ac:spMkLst>
            <pc:docMk/>
            <pc:sldMk cId="256038764" sldId="1698"/>
            <ac:spMk id="13" creationId="{ED22E528-4040-42D9-B612-36FCABF9D84C}"/>
          </ac:spMkLst>
        </pc:spChg>
        <pc:spChg chg="del">
          <ac:chgData name="Yash Ratanpal" userId="5db668b1-93e7-4c08-9786-4ed81315a653" providerId="ADAL" clId="{3F7A7787-00CA-42A0-97CD-637349527123}" dt="2021-07-11T11:35:45.900" v="228" actId="478"/>
          <ac:spMkLst>
            <pc:docMk/>
            <pc:sldMk cId="256038764" sldId="1698"/>
            <ac:spMk id="113" creationId="{A762447D-FD80-485A-9C51-E49647EB9040}"/>
          </ac:spMkLst>
        </pc:spChg>
        <pc:spChg chg="del">
          <ac:chgData name="Yash Ratanpal" userId="5db668b1-93e7-4c08-9786-4ed81315a653" providerId="ADAL" clId="{3F7A7787-00CA-42A0-97CD-637349527123}" dt="2021-07-11T11:35:45.900" v="228" actId="478"/>
          <ac:spMkLst>
            <pc:docMk/>
            <pc:sldMk cId="256038764" sldId="1698"/>
            <ac:spMk id="114" creationId="{B843A781-2331-45B7-B4B2-6AA55704707B}"/>
          </ac:spMkLst>
        </pc:spChg>
        <pc:spChg chg="del">
          <ac:chgData name="Yash Ratanpal" userId="5db668b1-93e7-4c08-9786-4ed81315a653" providerId="ADAL" clId="{3F7A7787-00CA-42A0-97CD-637349527123}" dt="2021-07-11T11:35:45.900" v="228" actId="478"/>
          <ac:spMkLst>
            <pc:docMk/>
            <pc:sldMk cId="256038764" sldId="1698"/>
            <ac:spMk id="119" creationId="{3F0D5A36-3324-4B05-B64E-807822898C1E}"/>
          </ac:spMkLst>
        </pc:spChg>
        <pc:spChg chg="del">
          <ac:chgData name="Yash Ratanpal" userId="5db668b1-93e7-4c08-9786-4ed81315a653" providerId="ADAL" clId="{3F7A7787-00CA-42A0-97CD-637349527123}" dt="2021-07-11T11:35:45.900" v="228" actId="478"/>
          <ac:spMkLst>
            <pc:docMk/>
            <pc:sldMk cId="256038764" sldId="1698"/>
            <ac:spMk id="122" creationId="{9A5BBDE5-AEAE-44CB-9463-CA97385A1FD7}"/>
          </ac:spMkLst>
        </pc:spChg>
        <pc:spChg chg="del">
          <ac:chgData name="Yash Ratanpal" userId="5db668b1-93e7-4c08-9786-4ed81315a653" providerId="ADAL" clId="{3F7A7787-00CA-42A0-97CD-637349527123}" dt="2021-07-11T11:35:45.900" v="228" actId="478"/>
          <ac:spMkLst>
            <pc:docMk/>
            <pc:sldMk cId="256038764" sldId="1698"/>
            <ac:spMk id="126" creationId="{92993E9E-37F2-4B12-9800-1D76B4A2A52D}"/>
          </ac:spMkLst>
        </pc:spChg>
        <pc:spChg chg="del">
          <ac:chgData name="Yash Ratanpal" userId="5db668b1-93e7-4c08-9786-4ed81315a653" providerId="ADAL" clId="{3F7A7787-00CA-42A0-97CD-637349527123}" dt="2021-07-11T11:35:45.900" v="228" actId="478"/>
          <ac:spMkLst>
            <pc:docMk/>
            <pc:sldMk cId="256038764" sldId="1698"/>
            <ac:spMk id="127" creationId="{347C77AC-4B44-4F6F-A35C-A71CC776376C}"/>
          </ac:spMkLst>
        </pc:spChg>
        <pc:spChg chg="del">
          <ac:chgData name="Yash Ratanpal" userId="5db668b1-93e7-4c08-9786-4ed81315a653" providerId="ADAL" clId="{3F7A7787-00CA-42A0-97CD-637349527123}" dt="2021-07-11T11:35:45.900" v="228" actId="478"/>
          <ac:spMkLst>
            <pc:docMk/>
            <pc:sldMk cId="256038764" sldId="1698"/>
            <ac:spMk id="128" creationId="{31299B90-D77B-4497-B237-2162A61F92E2}"/>
          </ac:spMkLst>
        </pc:spChg>
        <pc:spChg chg="del">
          <ac:chgData name="Yash Ratanpal" userId="5db668b1-93e7-4c08-9786-4ed81315a653" providerId="ADAL" clId="{3F7A7787-00CA-42A0-97CD-637349527123}" dt="2021-07-11T11:35:45.900" v="228" actId="478"/>
          <ac:spMkLst>
            <pc:docMk/>
            <pc:sldMk cId="256038764" sldId="1698"/>
            <ac:spMk id="135" creationId="{1C41D1AA-8E52-42FF-85CD-F7B4864B9CC6}"/>
          </ac:spMkLst>
        </pc:spChg>
        <pc:spChg chg="del">
          <ac:chgData name="Yash Ratanpal" userId="5db668b1-93e7-4c08-9786-4ed81315a653" providerId="ADAL" clId="{3F7A7787-00CA-42A0-97CD-637349527123}" dt="2021-07-11T11:35:45.900" v="228" actId="478"/>
          <ac:spMkLst>
            <pc:docMk/>
            <pc:sldMk cId="256038764" sldId="1698"/>
            <ac:spMk id="136" creationId="{8082053F-74D7-4B82-ADFF-13A9B367577F}"/>
          </ac:spMkLst>
        </pc:spChg>
        <pc:spChg chg="del">
          <ac:chgData name="Yash Ratanpal" userId="5db668b1-93e7-4c08-9786-4ed81315a653" providerId="ADAL" clId="{3F7A7787-00CA-42A0-97CD-637349527123}" dt="2021-07-11T11:35:45.900" v="228" actId="478"/>
          <ac:spMkLst>
            <pc:docMk/>
            <pc:sldMk cId="256038764" sldId="1698"/>
            <ac:spMk id="137" creationId="{FD717F85-D21A-455B-9D24-1C86B1E93755}"/>
          </ac:spMkLst>
        </pc:spChg>
        <pc:spChg chg="del">
          <ac:chgData name="Yash Ratanpal" userId="5db668b1-93e7-4c08-9786-4ed81315a653" providerId="ADAL" clId="{3F7A7787-00CA-42A0-97CD-637349527123}" dt="2021-07-11T11:35:45.900" v="228" actId="478"/>
          <ac:spMkLst>
            <pc:docMk/>
            <pc:sldMk cId="256038764" sldId="1698"/>
            <ac:spMk id="138" creationId="{E9D5309A-000C-401C-983B-0E79DBCED78D}"/>
          </ac:spMkLst>
        </pc:spChg>
        <pc:spChg chg="del">
          <ac:chgData name="Yash Ratanpal" userId="5db668b1-93e7-4c08-9786-4ed81315a653" providerId="ADAL" clId="{3F7A7787-00CA-42A0-97CD-637349527123}" dt="2021-07-11T11:35:45.900" v="228" actId="478"/>
          <ac:spMkLst>
            <pc:docMk/>
            <pc:sldMk cId="256038764" sldId="1698"/>
            <ac:spMk id="140" creationId="{1DD29898-733D-45EF-9EB7-D1BBC12B6B2A}"/>
          </ac:spMkLst>
        </pc:spChg>
        <pc:spChg chg="del">
          <ac:chgData name="Yash Ratanpal" userId="5db668b1-93e7-4c08-9786-4ed81315a653" providerId="ADAL" clId="{3F7A7787-00CA-42A0-97CD-637349527123}" dt="2021-07-11T11:35:45.900" v="228" actId="478"/>
          <ac:spMkLst>
            <pc:docMk/>
            <pc:sldMk cId="256038764" sldId="1698"/>
            <ac:spMk id="141" creationId="{0800F4C6-43FB-4E5C-9345-010CB8443E07}"/>
          </ac:spMkLst>
        </pc:spChg>
        <pc:spChg chg="del">
          <ac:chgData name="Yash Ratanpal" userId="5db668b1-93e7-4c08-9786-4ed81315a653" providerId="ADAL" clId="{3F7A7787-00CA-42A0-97CD-637349527123}" dt="2021-07-11T11:35:45.900" v="228" actId="478"/>
          <ac:spMkLst>
            <pc:docMk/>
            <pc:sldMk cId="256038764" sldId="1698"/>
            <ac:spMk id="142" creationId="{CB981200-56BF-4E48-A264-DBB12131221B}"/>
          </ac:spMkLst>
        </pc:spChg>
        <pc:spChg chg="del">
          <ac:chgData name="Yash Ratanpal" userId="5db668b1-93e7-4c08-9786-4ed81315a653" providerId="ADAL" clId="{3F7A7787-00CA-42A0-97CD-637349527123}" dt="2021-07-11T11:35:45.900" v="228" actId="478"/>
          <ac:spMkLst>
            <pc:docMk/>
            <pc:sldMk cId="256038764" sldId="1698"/>
            <ac:spMk id="143" creationId="{567F5EB5-4895-48DF-9919-21EC5837CE62}"/>
          </ac:spMkLst>
        </pc:spChg>
        <pc:spChg chg="del">
          <ac:chgData name="Yash Ratanpal" userId="5db668b1-93e7-4c08-9786-4ed81315a653" providerId="ADAL" clId="{3F7A7787-00CA-42A0-97CD-637349527123}" dt="2021-07-11T11:35:45.900" v="228" actId="478"/>
          <ac:spMkLst>
            <pc:docMk/>
            <pc:sldMk cId="256038764" sldId="1698"/>
            <ac:spMk id="145" creationId="{AD478285-4ABF-4CA4-ADFF-DE88E01CCCEE}"/>
          </ac:spMkLst>
        </pc:spChg>
        <pc:spChg chg="del">
          <ac:chgData name="Yash Ratanpal" userId="5db668b1-93e7-4c08-9786-4ed81315a653" providerId="ADAL" clId="{3F7A7787-00CA-42A0-97CD-637349527123}" dt="2021-07-11T11:35:45.900" v="228" actId="478"/>
          <ac:spMkLst>
            <pc:docMk/>
            <pc:sldMk cId="256038764" sldId="1698"/>
            <ac:spMk id="146" creationId="{7E203472-C960-4C5F-9440-F693D2B27711}"/>
          </ac:spMkLst>
        </pc:spChg>
        <pc:spChg chg="del">
          <ac:chgData name="Yash Ratanpal" userId="5db668b1-93e7-4c08-9786-4ed81315a653" providerId="ADAL" clId="{3F7A7787-00CA-42A0-97CD-637349527123}" dt="2021-07-11T11:35:45.900" v="228" actId="478"/>
          <ac:spMkLst>
            <pc:docMk/>
            <pc:sldMk cId="256038764" sldId="1698"/>
            <ac:spMk id="148" creationId="{E4468E14-0083-44DD-B59A-0B70A29532A6}"/>
          </ac:spMkLst>
        </pc:spChg>
        <pc:spChg chg="del">
          <ac:chgData name="Yash Ratanpal" userId="5db668b1-93e7-4c08-9786-4ed81315a653" providerId="ADAL" clId="{3F7A7787-00CA-42A0-97CD-637349527123}" dt="2021-07-11T11:35:45.900" v="228" actId="478"/>
          <ac:spMkLst>
            <pc:docMk/>
            <pc:sldMk cId="256038764" sldId="1698"/>
            <ac:spMk id="152" creationId="{C624743E-AE10-45C7-98D2-3202B9B22370}"/>
          </ac:spMkLst>
        </pc:spChg>
        <pc:grpChg chg="del">
          <ac:chgData name="Yash Ratanpal" userId="5db668b1-93e7-4c08-9786-4ed81315a653" providerId="ADAL" clId="{3F7A7787-00CA-42A0-97CD-637349527123}" dt="2021-07-11T11:35:47.461" v="229" actId="478"/>
          <ac:grpSpMkLst>
            <pc:docMk/>
            <pc:sldMk cId="256038764" sldId="1698"/>
            <ac:grpSpMk id="18" creationId="{271D240B-F37D-4D51-9163-693A179947AA}"/>
          </ac:grpSpMkLst>
        </pc:grpChg>
        <pc:picChg chg="del">
          <ac:chgData name="Yash Ratanpal" userId="5db668b1-93e7-4c08-9786-4ed81315a653" providerId="ADAL" clId="{3F7A7787-00CA-42A0-97CD-637349527123}" dt="2021-07-11T11:35:45.900" v="228" actId="478"/>
          <ac:picMkLst>
            <pc:docMk/>
            <pc:sldMk cId="256038764" sldId="1698"/>
            <ac:picMk id="8" creationId="{ADE938D2-B5A7-4C8B-9BEF-058001B58E1C}"/>
          </ac:picMkLst>
        </pc:picChg>
      </pc:sldChg>
      <pc:sldChg chg="modSp del">
        <pc:chgData name="Yash Ratanpal" userId="5db668b1-93e7-4c08-9786-4ed81315a653" providerId="ADAL" clId="{3F7A7787-00CA-42A0-97CD-637349527123}" dt="2021-07-11T11:49:58.122" v="669" actId="47"/>
        <pc:sldMkLst>
          <pc:docMk/>
          <pc:sldMk cId="2612197216" sldId="1699"/>
        </pc:sldMkLst>
        <pc:spChg chg="mod">
          <ac:chgData name="Yash Ratanpal" userId="5db668b1-93e7-4c08-9786-4ed81315a653" providerId="ADAL" clId="{3F7A7787-00CA-42A0-97CD-637349527123}" dt="2021-07-11T11:37:51.357" v="246"/>
          <ac:spMkLst>
            <pc:docMk/>
            <pc:sldMk cId="2612197216" sldId="1699"/>
            <ac:spMk id="28" creationId="{019E85D2-21CD-4BFF-8209-5A0DB604C82A}"/>
          </ac:spMkLst>
        </pc:spChg>
        <pc:spChg chg="mod">
          <ac:chgData name="Yash Ratanpal" userId="5db668b1-93e7-4c08-9786-4ed81315a653" providerId="ADAL" clId="{3F7A7787-00CA-42A0-97CD-637349527123}" dt="2021-07-11T11:37:51.357" v="246"/>
          <ac:spMkLst>
            <pc:docMk/>
            <pc:sldMk cId="2612197216" sldId="1699"/>
            <ac:spMk id="29" creationId="{4DCB90E4-4831-4D82-B1C7-273CC0C2F421}"/>
          </ac:spMkLst>
        </pc:spChg>
        <pc:spChg chg="mod">
          <ac:chgData name="Yash Ratanpal" userId="5db668b1-93e7-4c08-9786-4ed81315a653" providerId="ADAL" clId="{3F7A7787-00CA-42A0-97CD-637349527123}" dt="2021-07-11T11:37:51.357" v="246"/>
          <ac:spMkLst>
            <pc:docMk/>
            <pc:sldMk cId="2612197216" sldId="1699"/>
            <ac:spMk id="30" creationId="{8D7767C3-F094-4D9B-80C8-82A179099DD5}"/>
          </ac:spMkLst>
        </pc:spChg>
        <pc:spChg chg="mod">
          <ac:chgData name="Yash Ratanpal" userId="5db668b1-93e7-4c08-9786-4ed81315a653" providerId="ADAL" clId="{3F7A7787-00CA-42A0-97CD-637349527123}" dt="2021-07-11T11:37:51.357" v="246"/>
          <ac:spMkLst>
            <pc:docMk/>
            <pc:sldMk cId="2612197216" sldId="1699"/>
            <ac:spMk id="31" creationId="{058293BF-EBAA-412B-9B97-ADBD51F9A428}"/>
          </ac:spMkLst>
        </pc:spChg>
        <pc:spChg chg="mod">
          <ac:chgData name="Yash Ratanpal" userId="5db668b1-93e7-4c08-9786-4ed81315a653" providerId="ADAL" clId="{3F7A7787-00CA-42A0-97CD-637349527123}" dt="2021-07-11T11:37:51.357" v="246"/>
          <ac:spMkLst>
            <pc:docMk/>
            <pc:sldMk cId="2612197216" sldId="1699"/>
            <ac:spMk id="32" creationId="{C81343F7-23F2-423C-A70B-D933BECC1FD1}"/>
          </ac:spMkLst>
        </pc:spChg>
        <pc:spChg chg="mod">
          <ac:chgData name="Yash Ratanpal" userId="5db668b1-93e7-4c08-9786-4ed81315a653" providerId="ADAL" clId="{3F7A7787-00CA-42A0-97CD-637349527123}" dt="2021-07-11T11:37:51.357" v="246"/>
          <ac:spMkLst>
            <pc:docMk/>
            <pc:sldMk cId="2612197216" sldId="1699"/>
            <ac:spMk id="33" creationId="{6BD8E068-39FA-402A-8106-BA2D717A0F9A}"/>
          </ac:spMkLst>
        </pc:spChg>
        <pc:spChg chg="mod">
          <ac:chgData name="Yash Ratanpal" userId="5db668b1-93e7-4c08-9786-4ed81315a653" providerId="ADAL" clId="{3F7A7787-00CA-42A0-97CD-637349527123}" dt="2021-07-11T11:37:51.357" v="246"/>
          <ac:spMkLst>
            <pc:docMk/>
            <pc:sldMk cId="2612197216" sldId="1699"/>
            <ac:spMk id="34" creationId="{1D776663-4AE8-4E00-8849-F76AFE97AFD5}"/>
          </ac:spMkLst>
        </pc:spChg>
        <pc:spChg chg="mod">
          <ac:chgData name="Yash Ratanpal" userId="5db668b1-93e7-4c08-9786-4ed81315a653" providerId="ADAL" clId="{3F7A7787-00CA-42A0-97CD-637349527123}" dt="2021-07-11T11:37:51.357" v="246"/>
          <ac:spMkLst>
            <pc:docMk/>
            <pc:sldMk cId="2612197216" sldId="1699"/>
            <ac:spMk id="35" creationId="{4D69B352-4F21-40F6-BAF0-D7E0138A698A}"/>
          </ac:spMkLst>
        </pc:spChg>
        <pc:spChg chg="mod">
          <ac:chgData name="Yash Ratanpal" userId="5db668b1-93e7-4c08-9786-4ed81315a653" providerId="ADAL" clId="{3F7A7787-00CA-42A0-97CD-637349527123}" dt="2021-07-11T11:37:51.357" v="246"/>
          <ac:spMkLst>
            <pc:docMk/>
            <pc:sldMk cId="2612197216" sldId="1699"/>
            <ac:spMk id="37" creationId="{4B2AF460-7C11-431A-B1D3-05E7E9D30CD2}"/>
          </ac:spMkLst>
        </pc:spChg>
        <pc:spChg chg="mod">
          <ac:chgData name="Yash Ratanpal" userId="5db668b1-93e7-4c08-9786-4ed81315a653" providerId="ADAL" clId="{3F7A7787-00CA-42A0-97CD-637349527123}" dt="2021-07-11T11:37:51.357" v="246"/>
          <ac:spMkLst>
            <pc:docMk/>
            <pc:sldMk cId="2612197216" sldId="1699"/>
            <ac:spMk id="38" creationId="{95560A12-BAAE-4E84-84D4-FB581AC0F420}"/>
          </ac:spMkLst>
        </pc:spChg>
        <pc:spChg chg="mod">
          <ac:chgData name="Yash Ratanpal" userId="5db668b1-93e7-4c08-9786-4ed81315a653" providerId="ADAL" clId="{3F7A7787-00CA-42A0-97CD-637349527123}" dt="2021-07-11T11:37:51.357" v="246"/>
          <ac:spMkLst>
            <pc:docMk/>
            <pc:sldMk cId="2612197216" sldId="1699"/>
            <ac:spMk id="39" creationId="{A04D88F0-82ED-4634-AA5C-DCD5696386D7}"/>
          </ac:spMkLst>
        </pc:spChg>
        <pc:spChg chg="mod">
          <ac:chgData name="Yash Ratanpal" userId="5db668b1-93e7-4c08-9786-4ed81315a653" providerId="ADAL" clId="{3F7A7787-00CA-42A0-97CD-637349527123}" dt="2021-07-11T11:37:51.357" v="246"/>
          <ac:spMkLst>
            <pc:docMk/>
            <pc:sldMk cId="2612197216" sldId="1699"/>
            <ac:spMk id="41" creationId="{4D607F9B-7A4E-4B4A-9421-28450C2CA105}"/>
          </ac:spMkLst>
        </pc:spChg>
        <pc:spChg chg="mod">
          <ac:chgData name="Yash Ratanpal" userId="5db668b1-93e7-4c08-9786-4ed81315a653" providerId="ADAL" clId="{3F7A7787-00CA-42A0-97CD-637349527123}" dt="2021-07-11T11:37:51.357" v="246"/>
          <ac:spMkLst>
            <pc:docMk/>
            <pc:sldMk cId="2612197216" sldId="1699"/>
            <ac:spMk id="42" creationId="{9E108630-AA06-439A-A149-75977D5A98B5}"/>
          </ac:spMkLst>
        </pc:spChg>
        <pc:spChg chg="mod">
          <ac:chgData name="Yash Ratanpal" userId="5db668b1-93e7-4c08-9786-4ed81315a653" providerId="ADAL" clId="{3F7A7787-00CA-42A0-97CD-637349527123}" dt="2021-07-11T11:37:51.357" v="246"/>
          <ac:spMkLst>
            <pc:docMk/>
            <pc:sldMk cId="2612197216" sldId="1699"/>
            <ac:spMk id="43" creationId="{65A00163-59C0-4F04-836B-DCB8C1651BA1}"/>
          </ac:spMkLst>
        </pc:spChg>
        <pc:spChg chg="mod">
          <ac:chgData name="Yash Ratanpal" userId="5db668b1-93e7-4c08-9786-4ed81315a653" providerId="ADAL" clId="{3F7A7787-00CA-42A0-97CD-637349527123}" dt="2021-07-11T11:37:51.357" v="246"/>
          <ac:spMkLst>
            <pc:docMk/>
            <pc:sldMk cId="2612197216" sldId="1699"/>
            <ac:spMk id="44" creationId="{148D2F12-E060-45B6-8999-A860D51B7AC3}"/>
          </ac:spMkLst>
        </pc:spChg>
        <pc:spChg chg="mod">
          <ac:chgData name="Yash Ratanpal" userId="5db668b1-93e7-4c08-9786-4ed81315a653" providerId="ADAL" clId="{3F7A7787-00CA-42A0-97CD-637349527123}" dt="2021-07-11T11:37:51.357" v="246"/>
          <ac:spMkLst>
            <pc:docMk/>
            <pc:sldMk cId="2612197216" sldId="1699"/>
            <ac:spMk id="45" creationId="{0DF5C104-1DD2-42C8-B5ED-412F20874695}"/>
          </ac:spMkLst>
        </pc:spChg>
        <pc:spChg chg="mod">
          <ac:chgData name="Yash Ratanpal" userId="5db668b1-93e7-4c08-9786-4ed81315a653" providerId="ADAL" clId="{3F7A7787-00CA-42A0-97CD-637349527123}" dt="2021-07-11T11:37:51.357" v="246"/>
          <ac:spMkLst>
            <pc:docMk/>
            <pc:sldMk cId="2612197216" sldId="1699"/>
            <ac:spMk id="61" creationId="{589BA485-F385-4B60-A778-D16104D29CA9}"/>
          </ac:spMkLst>
        </pc:spChg>
        <pc:spChg chg="mod">
          <ac:chgData name="Yash Ratanpal" userId="5db668b1-93e7-4c08-9786-4ed81315a653" providerId="ADAL" clId="{3F7A7787-00CA-42A0-97CD-637349527123}" dt="2021-07-11T11:37:51.357" v="246"/>
          <ac:spMkLst>
            <pc:docMk/>
            <pc:sldMk cId="2612197216" sldId="1699"/>
            <ac:spMk id="62" creationId="{97BA02BE-C715-4F5B-888F-4F474F4DAFA3}"/>
          </ac:spMkLst>
        </pc:spChg>
        <pc:spChg chg="mod">
          <ac:chgData name="Yash Ratanpal" userId="5db668b1-93e7-4c08-9786-4ed81315a653" providerId="ADAL" clId="{3F7A7787-00CA-42A0-97CD-637349527123}" dt="2021-07-11T11:37:51.357" v="246"/>
          <ac:spMkLst>
            <pc:docMk/>
            <pc:sldMk cId="2612197216" sldId="1699"/>
            <ac:spMk id="63" creationId="{FC164CF1-3AA9-402B-B93B-50815178D7BB}"/>
          </ac:spMkLst>
        </pc:spChg>
        <pc:spChg chg="mod">
          <ac:chgData name="Yash Ratanpal" userId="5db668b1-93e7-4c08-9786-4ed81315a653" providerId="ADAL" clId="{3F7A7787-00CA-42A0-97CD-637349527123}" dt="2021-07-11T11:37:51.357" v="246"/>
          <ac:spMkLst>
            <pc:docMk/>
            <pc:sldMk cId="2612197216" sldId="1699"/>
            <ac:spMk id="65" creationId="{116F47B0-E88E-46E0-A409-FB7B984C624B}"/>
          </ac:spMkLst>
        </pc:spChg>
        <pc:spChg chg="mod">
          <ac:chgData name="Yash Ratanpal" userId="5db668b1-93e7-4c08-9786-4ed81315a653" providerId="ADAL" clId="{3F7A7787-00CA-42A0-97CD-637349527123}" dt="2021-07-11T11:37:51.357" v="246"/>
          <ac:spMkLst>
            <pc:docMk/>
            <pc:sldMk cId="2612197216" sldId="1699"/>
            <ac:spMk id="66" creationId="{7CDC40F1-216E-45E6-A47F-D47E1A1798EF}"/>
          </ac:spMkLst>
        </pc:spChg>
        <pc:spChg chg="mod">
          <ac:chgData name="Yash Ratanpal" userId="5db668b1-93e7-4c08-9786-4ed81315a653" providerId="ADAL" clId="{3F7A7787-00CA-42A0-97CD-637349527123}" dt="2021-07-11T11:37:51.357" v="246"/>
          <ac:spMkLst>
            <pc:docMk/>
            <pc:sldMk cId="2612197216" sldId="1699"/>
            <ac:spMk id="69" creationId="{646A29A3-BE84-411C-B062-14177B10CC82}"/>
          </ac:spMkLst>
        </pc:spChg>
        <pc:spChg chg="mod">
          <ac:chgData name="Yash Ratanpal" userId="5db668b1-93e7-4c08-9786-4ed81315a653" providerId="ADAL" clId="{3F7A7787-00CA-42A0-97CD-637349527123}" dt="2021-07-11T11:37:51.357" v="246"/>
          <ac:spMkLst>
            <pc:docMk/>
            <pc:sldMk cId="2612197216" sldId="1699"/>
            <ac:spMk id="70" creationId="{7EECB49B-A0C9-4907-8BBD-AD3CA1A0DDDC}"/>
          </ac:spMkLst>
        </pc:spChg>
        <pc:spChg chg="mod">
          <ac:chgData name="Yash Ratanpal" userId="5db668b1-93e7-4c08-9786-4ed81315a653" providerId="ADAL" clId="{3F7A7787-00CA-42A0-97CD-637349527123}" dt="2021-07-11T11:37:51.357" v="246"/>
          <ac:spMkLst>
            <pc:docMk/>
            <pc:sldMk cId="2612197216" sldId="1699"/>
            <ac:spMk id="71" creationId="{89ACF32A-90C5-4954-BBD1-14485BB6F1AC}"/>
          </ac:spMkLst>
        </pc:spChg>
        <pc:spChg chg="mod">
          <ac:chgData name="Yash Ratanpal" userId="5db668b1-93e7-4c08-9786-4ed81315a653" providerId="ADAL" clId="{3F7A7787-00CA-42A0-97CD-637349527123}" dt="2021-07-11T11:37:51.357" v="246"/>
          <ac:spMkLst>
            <pc:docMk/>
            <pc:sldMk cId="2612197216" sldId="1699"/>
            <ac:spMk id="72" creationId="{DFC60B47-1B0D-498A-844F-EE43C5F27C48}"/>
          </ac:spMkLst>
        </pc:spChg>
        <pc:spChg chg="mod">
          <ac:chgData name="Yash Ratanpal" userId="5db668b1-93e7-4c08-9786-4ed81315a653" providerId="ADAL" clId="{3F7A7787-00CA-42A0-97CD-637349527123}" dt="2021-07-11T11:37:51.357" v="246"/>
          <ac:spMkLst>
            <pc:docMk/>
            <pc:sldMk cId="2612197216" sldId="1699"/>
            <ac:spMk id="75" creationId="{562003C7-9247-40AA-9754-843C74B8F64E}"/>
          </ac:spMkLst>
        </pc:spChg>
        <pc:spChg chg="mod">
          <ac:chgData name="Yash Ratanpal" userId="5db668b1-93e7-4c08-9786-4ed81315a653" providerId="ADAL" clId="{3F7A7787-00CA-42A0-97CD-637349527123}" dt="2021-07-11T11:37:51.357" v="246"/>
          <ac:spMkLst>
            <pc:docMk/>
            <pc:sldMk cId="2612197216" sldId="1699"/>
            <ac:spMk id="79" creationId="{6BAE9548-B52E-4E6C-9C5F-75B4FBBDFB38}"/>
          </ac:spMkLst>
        </pc:spChg>
        <pc:spChg chg="mod">
          <ac:chgData name="Yash Ratanpal" userId="5db668b1-93e7-4c08-9786-4ed81315a653" providerId="ADAL" clId="{3F7A7787-00CA-42A0-97CD-637349527123}" dt="2021-07-11T11:37:51.357" v="246"/>
          <ac:spMkLst>
            <pc:docMk/>
            <pc:sldMk cId="2612197216" sldId="1699"/>
            <ac:spMk id="80" creationId="{C4498C64-6D23-4BC1-8E95-771095493816}"/>
          </ac:spMkLst>
        </pc:spChg>
        <pc:spChg chg="mod">
          <ac:chgData name="Yash Ratanpal" userId="5db668b1-93e7-4c08-9786-4ed81315a653" providerId="ADAL" clId="{3F7A7787-00CA-42A0-97CD-637349527123}" dt="2021-07-11T11:37:51.357" v="246"/>
          <ac:spMkLst>
            <pc:docMk/>
            <pc:sldMk cId="2612197216" sldId="1699"/>
            <ac:spMk id="81" creationId="{1D09EE4F-7DD1-46D6-A930-1B3D2A485692}"/>
          </ac:spMkLst>
        </pc:spChg>
        <pc:spChg chg="mod">
          <ac:chgData name="Yash Ratanpal" userId="5db668b1-93e7-4c08-9786-4ed81315a653" providerId="ADAL" clId="{3F7A7787-00CA-42A0-97CD-637349527123}" dt="2021-07-11T11:37:51.357" v="246"/>
          <ac:spMkLst>
            <pc:docMk/>
            <pc:sldMk cId="2612197216" sldId="1699"/>
            <ac:spMk id="82" creationId="{F8A8AE6F-A82D-4D86-9503-18391540E52F}"/>
          </ac:spMkLst>
        </pc:spChg>
        <pc:spChg chg="mod">
          <ac:chgData name="Yash Ratanpal" userId="5db668b1-93e7-4c08-9786-4ed81315a653" providerId="ADAL" clId="{3F7A7787-00CA-42A0-97CD-637349527123}" dt="2021-07-11T11:37:51.357" v="246"/>
          <ac:spMkLst>
            <pc:docMk/>
            <pc:sldMk cId="2612197216" sldId="1699"/>
            <ac:spMk id="83" creationId="{18B606AD-6ACB-4943-9E2D-388D77B2DB4B}"/>
          </ac:spMkLst>
        </pc:spChg>
        <pc:spChg chg="mod">
          <ac:chgData name="Yash Ratanpal" userId="5db668b1-93e7-4c08-9786-4ed81315a653" providerId="ADAL" clId="{3F7A7787-00CA-42A0-97CD-637349527123}" dt="2021-07-11T11:37:51.357" v="246"/>
          <ac:spMkLst>
            <pc:docMk/>
            <pc:sldMk cId="2612197216" sldId="1699"/>
            <ac:spMk id="84" creationId="{795C4CA2-3911-4AD8-8FE6-6978BEB37FC2}"/>
          </ac:spMkLst>
        </pc:spChg>
        <pc:spChg chg="mod">
          <ac:chgData name="Yash Ratanpal" userId="5db668b1-93e7-4c08-9786-4ed81315a653" providerId="ADAL" clId="{3F7A7787-00CA-42A0-97CD-637349527123}" dt="2021-07-11T11:37:51.357" v="246"/>
          <ac:spMkLst>
            <pc:docMk/>
            <pc:sldMk cId="2612197216" sldId="1699"/>
            <ac:spMk id="85" creationId="{F7ECBFB5-55D8-4B44-9F15-D64FAC53EE51}"/>
          </ac:spMkLst>
        </pc:spChg>
        <pc:spChg chg="mod">
          <ac:chgData name="Yash Ratanpal" userId="5db668b1-93e7-4c08-9786-4ed81315a653" providerId="ADAL" clId="{3F7A7787-00CA-42A0-97CD-637349527123}" dt="2021-07-11T11:37:51.357" v="246"/>
          <ac:spMkLst>
            <pc:docMk/>
            <pc:sldMk cId="2612197216" sldId="1699"/>
            <ac:spMk id="86" creationId="{CBF626E5-A663-4A8A-BDBF-655F6E8FE8F7}"/>
          </ac:spMkLst>
        </pc:spChg>
        <pc:spChg chg="mod">
          <ac:chgData name="Yash Ratanpal" userId="5db668b1-93e7-4c08-9786-4ed81315a653" providerId="ADAL" clId="{3F7A7787-00CA-42A0-97CD-637349527123}" dt="2021-07-11T11:37:51.357" v="246"/>
          <ac:spMkLst>
            <pc:docMk/>
            <pc:sldMk cId="2612197216" sldId="1699"/>
            <ac:spMk id="87" creationId="{3891008A-3417-4E60-BFDF-480BA8694ED8}"/>
          </ac:spMkLst>
        </pc:spChg>
        <pc:spChg chg="mod">
          <ac:chgData name="Yash Ratanpal" userId="5db668b1-93e7-4c08-9786-4ed81315a653" providerId="ADAL" clId="{3F7A7787-00CA-42A0-97CD-637349527123}" dt="2021-07-11T11:37:51.357" v="246"/>
          <ac:spMkLst>
            <pc:docMk/>
            <pc:sldMk cId="2612197216" sldId="1699"/>
            <ac:spMk id="88" creationId="{4E39409D-901D-4634-A718-38F132E9BC13}"/>
          </ac:spMkLst>
        </pc:spChg>
        <pc:spChg chg="mod">
          <ac:chgData name="Yash Ratanpal" userId="5db668b1-93e7-4c08-9786-4ed81315a653" providerId="ADAL" clId="{3F7A7787-00CA-42A0-97CD-637349527123}" dt="2021-07-11T11:37:51.357" v="246"/>
          <ac:spMkLst>
            <pc:docMk/>
            <pc:sldMk cId="2612197216" sldId="1699"/>
            <ac:spMk id="89" creationId="{7356B956-7AF5-46BA-B2BF-9C90324DFD49}"/>
          </ac:spMkLst>
        </pc:spChg>
        <pc:spChg chg="mod">
          <ac:chgData name="Yash Ratanpal" userId="5db668b1-93e7-4c08-9786-4ed81315a653" providerId="ADAL" clId="{3F7A7787-00CA-42A0-97CD-637349527123}" dt="2021-07-11T11:37:51.357" v="246"/>
          <ac:spMkLst>
            <pc:docMk/>
            <pc:sldMk cId="2612197216" sldId="1699"/>
            <ac:spMk id="90" creationId="{7A392DDE-36F0-4E1F-A395-921B059FEEF0}"/>
          </ac:spMkLst>
        </pc:spChg>
        <pc:spChg chg="mod">
          <ac:chgData name="Yash Ratanpal" userId="5db668b1-93e7-4c08-9786-4ed81315a653" providerId="ADAL" clId="{3F7A7787-00CA-42A0-97CD-637349527123}" dt="2021-07-11T11:37:51.357" v="246"/>
          <ac:spMkLst>
            <pc:docMk/>
            <pc:sldMk cId="2612197216" sldId="1699"/>
            <ac:spMk id="91" creationId="{3A46159B-47C3-4056-8A9B-CD40C7FBE4CE}"/>
          </ac:spMkLst>
        </pc:spChg>
        <pc:spChg chg="mod">
          <ac:chgData name="Yash Ratanpal" userId="5db668b1-93e7-4c08-9786-4ed81315a653" providerId="ADAL" clId="{3F7A7787-00CA-42A0-97CD-637349527123}" dt="2021-07-11T11:37:51.357" v="246"/>
          <ac:spMkLst>
            <pc:docMk/>
            <pc:sldMk cId="2612197216" sldId="1699"/>
            <ac:spMk id="92" creationId="{279A8F6F-FA0A-420C-B0FA-E6434E4AD3DC}"/>
          </ac:spMkLst>
        </pc:spChg>
        <pc:spChg chg="mod">
          <ac:chgData name="Yash Ratanpal" userId="5db668b1-93e7-4c08-9786-4ed81315a653" providerId="ADAL" clId="{3F7A7787-00CA-42A0-97CD-637349527123}" dt="2021-07-11T11:37:51.357" v="246"/>
          <ac:spMkLst>
            <pc:docMk/>
            <pc:sldMk cId="2612197216" sldId="1699"/>
            <ac:spMk id="93" creationId="{723C1A3C-670C-464C-A075-927ABB07AE2B}"/>
          </ac:spMkLst>
        </pc:spChg>
        <pc:spChg chg="mod">
          <ac:chgData name="Yash Ratanpal" userId="5db668b1-93e7-4c08-9786-4ed81315a653" providerId="ADAL" clId="{3F7A7787-00CA-42A0-97CD-637349527123}" dt="2021-07-11T11:37:51.357" v="246"/>
          <ac:spMkLst>
            <pc:docMk/>
            <pc:sldMk cId="2612197216" sldId="1699"/>
            <ac:spMk id="94" creationId="{EDDE3968-79EA-4B37-8A48-92EC03A058B9}"/>
          </ac:spMkLst>
        </pc:spChg>
        <pc:spChg chg="mod">
          <ac:chgData name="Yash Ratanpal" userId="5db668b1-93e7-4c08-9786-4ed81315a653" providerId="ADAL" clId="{3F7A7787-00CA-42A0-97CD-637349527123}" dt="2021-07-11T11:37:51.357" v="246"/>
          <ac:spMkLst>
            <pc:docMk/>
            <pc:sldMk cId="2612197216" sldId="1699"/>
            <ac:spMk id="95" creationId="{CDAC6429-E0F5-45E8-B0AD-6E7D98F073E8}"/>
          </ac:spMkLst>
        </pc:spChg>
        <pc:spChg chg="mod">
          <ac:chgData name="Yash Ratanpal" userId="5db668b1-93e7-4c08-9786-4ed81315a653" providerId="ADAL" clId="{3F7A7787-00CA-42A0-97CD-637349527123}" dt="2021-07-11T11:37:51.357" v="246"/>
          <ac:spMkLst>
            <pc:docMk/>
            <pc:sldMk cId="2612197216" sldId="1699"/>
            <ac:spMk id="96" creationId="{5164CC0C-954F-4F02-97BC-48CD9CFF45DF}"/>
          </ac:spMkLst>
        </pc:spChg>
        <pc:spChg chg="mod">
          <ac:chgData name="Yash Ratanpal" userId="5db668b1-93e7-4c08-9786-4ed81315a653" providerId="ADAL" clId="{3F7A7787-00CA-42A0-97CD-637349527123}" dt="2021-07-11T11:37:51.357" v="246"/>
          <ac:spMkLst>
            <pc:docMk/>
            <pc:sldMk cId="2612197216" sldId="1699"/>
            <ac:spMk id="97" creationId="{3DEF5273-8A6A-4F6D-8520-A7E1D68F29F9}"/>
          </ac:spMkLst>
        </pc:spChg>
        <pc:spChg chg="mod">
          <ac:chgData name="Yash Ratanpal" userId="5db668b1-93e7-4c08-9786-4ed81315a653" providerId="ADAL" clId="{3F7A7787-00CA-42A0-97CD-637349527123}" dt="2021-07-11T11:37:51.357" v="246"/>
          <ac:spMkLst>
            <pc:docMk/>
            <pc:sldMk cId="2612197216" sldId="1699"/>
            <ac:spMk id="98" creationId="{B358B5CE-484E-435E-8367-9089BF13D144}"/>
          </ac:spMkLst>
        </pc:spChg>
        <pc:spChg chg="mod">
          <ac:chgData name="Yash Ratanpal" userId="5db668b1-93e7-4c08-9786-4ed81315a653" providerId="ADAL" clId="{3F7A7787-00CA-42A0-97CD-637349527123}" dt="2021-07-11T11:37:51.357" v="246"/>
          <ac:spMkLst>
            <pc:docMk/>
            <pc:sldMk cId="2612197216" sldId="1699"/>
            <ac:spMk id="99" creationId="{E792F976-1526-4974-9936-C600B852D13C}"/>
          </ac:spMkLst>
        </pc:spChg>
        <pc:spChg chg="mod">
          <ac:chgData name="Yash Ratanpal" userId="5db668b1-93e7-4c08-9786-4ed81315a653" providerId="ADAL" clId="{3F7A7787-00CA-42A0-97CD-637349527123}" dt="2021-07-11T11:37:51.357" v="246"/>
          <ac:spMkLst>
            <pc:docMk/>
            <pc:sldMk cId="2612197216" sldId="1699"/>
            <ac:spMk id="100" creationId="{DC6DD312-DD87-4942-9DFC-DFA20882B95D}"/>
          </ac:spMkLst>
        </pc:spChg>
        <pc:spChg chg="mod">
          <ac:chgData name="Yash Ratanpal" userId="5db668b1-93e7-4c08-9786-4ed81315a653" providerId="ADAL" clId="{3F7A7787-00CA-42A0-97CD-637349527123}" dt="2021-07-11T11:37:51.357" v="246"/>
          <ac:spMkLst>
            <pc:docMk/>
            <pc:sldMk cId="2612197216" sldId="1699"/>
            <ac:spMk id="102" creationId="{B125587F-CAA3-4371-9B9F-7DC99FCCF849}"/>
          </ac:spMkLst>
        </pc:spChg>
        <pc:spChg chg="mod">
          <ac:chgData name="Yash Ratanpal" userId="5db668b1-93e7-4c08-9786-4ed81315a653" providerId="ADAL" clId="{3F7A7787-00CA-42A0-97CD-637349527123}" dt="2021-07-11T11:37:51.357" v="246"/>
          <ac:spMkLst>
            <pc:docMk/>
            <pc:sldMk cId="2612197216" sldId="1699"/>
            <ac:spMk id="103" creationId="{472FB0E7-0BD0-4A54-A9EF-EE269E77F258}"/>
          </ac:spMkLst>
        </pc:spChg>
        <pc:spChg chg="mod">
          <ac:chgData name="Yash Ratanpal" userId="5db668b1-93e7-4c08-9786-4ed81315a653" providerId="ADAL" clId="{3F7A7787-00CA-42A0-97CD-637349527123}" dt="2021-07-11T11:37:51.357" v="246"/>
          <ac:spMkLst>
            <pc:docMk/>
            <pc:sldMk cId="2612197216" sldId="1699"/>
            <ac:spMk id="104" creationId="{99C0A77F-8DD3-438D-B417-76E004CB50AF}"/>
          </ac:spMkLst>
        </pc:spChg>
        <pc:spChg chg="mod">
          <ac:chgData name="Yash Ratanpal" userId="5db668b1-93e7-4c08-9786-4ed81315a653" providerId="ADAL" clId="{3F7A7787-00CA-42A0-97CD-637349527123}" dt="2021-07-11T11:37:51.357" v="246"/>
          <ac:spMkLst>
            <pc:docMk/>
            <pc:sldMk cId="2612197216" sldId="1699"/>
            <ac:spMk id="105" creationId="{1D68EEDE-0F29-484B-B73F-B8163ACCFA8F}"/>
          </ac:spMkLst>
        </pc:spChg>
        <pc:spChg chg="mod">
          <ac:chgData name="Yash Ratanpal" userId="5db668b1-93e7-4c08-9786-4ed81315a653" providerId="ADAL" clId="{3F7A7787-00CA-42A0-97CD-637349527123}" dt="2021-07-11T11:37:51.357" v="246"/>
          <ac:spMkLst>
            <pc:docMk/>
            <pc:sldMk cId="2612197216" sldId="1699"/>
            <ac:spMk id="106" creationId="{12C183BD-EC3B-482C-8363-3B6362726683}"/>
          </ac:spMkLst>
        </pc:spChg>
        <pc:grpChg chg="mod">
          <ac:chgData name="Yash Ratanpal" userId="5db668b1-93e7-4c08-9786-4ed81315a653" providerId="ADAL" clId="{3F7A7787-00CA-42A0-97CD-637349527123}" dt="2021-07-11T11:37:51.357" v="246"/>
          <ac:grpSpMkLst>
            <pc:docMk/>
            <pc:sldMk cId="2612197216" sldId="1699"/>
            <ac:grpSpMk id="26" creationId="{3C66A55C-1891-4A64-8C09-68096C8DF377}"/>
          </ac:grpSpMkLst>
        </pc:grpChg>
        <pc:grpChg chg="mod">
          <ac:chgData name="Yash Ratanpal" userId="5db668b1-93e7-4c08-9786-4ed81315a653" providerId="ADAL" clId="{3F7A7787-00CA-42A0-97CD-637349527123}" dt="2021-07-11T11:37:51.357" v="246"/>
          <ac:grpSpMkLst>
            <pc:docMk/>
            <pc:sldMk cId="2612197216" sldId="1699"/>
            <ac:grpSpMk id="27" creationId="{282C3964-150A-4B9A-9335-5040019338F0}"/>
          </ac:grpSpMkLst>
        </pc:grpChg>
        <pc:grpChg chg="mod">
          <ac:chgData name="Yash Ratanpal" userId="5db668b1-93e7-4c08-9786-4ed81315a653" providerId="ADAL" clId="{3F7A7787-00CA-42A0-97CD-637349527123}" dt="2021-07-11T11:37:51.357" v="246"/>
          <ac:grpSpMkLst>
            <pc:docMk/>
            <pc:sldMk cId="2612197216" sldId="1699"/>
            <ac:grpSpMk id="40" creationId="{8ECD6EF6-61F4-4200-A7AE-F7511C40E6C2}"/>
          </ac:grpSpMkLst>
        </pc:grpChg>
        <pc:grpChg chg="mod">
          <ac:chgData name="Yash Ratanpal" userId="5db668b1-93e7-4c08-9786-4ed81315a653" providerId="ADAL" clId="{3F7A7787-00CA-42A0-97CD-637349527123}" dt="2021-07-11T11:37:51.357" v="246"/>
          <ac:grpSpMkLst>
            <pc:docMk/>
            <pc:sldMk cId="2612197216" sldId="1699"/>
            <ac:grpSpMk id="101" creationId="{417A9243-9EAB-414E-A5FD-9F86449BADB9}"/>
          </ac:grpSpMkLst>
        </pc:grpChg>
        <pc:graphicFrameChg chg="mod">
          <ac:chgData name="Yash Ratanpal" userId="5db668b1-93e7-4c08-9786-4ed81315a653" providerId="ADAL" clId="{3F7A7787-00CA-42A0-97CD-637349527123}" dt="2021-07-11T11:37:51.357" v="246"/>
          <ac:graphicFrameMkLst>
            <pc:docMk/>
            <pc:sldMk cId="2612197216" sldId="1699"/>
            <ac:graphicFrameMk id="36" creationId="{00000000-0000-0000-0000-000000000000}"/>
          </ac:graphicFrameMkLst>
        </pc:graphicFrameChg>
        <pc:picChg chg="mod">
          <ac:chgData name="Yash Ratanpal" userId="5db668b1-93e7-4c08-9786-4ed81315a653" providerId="ADAL" clId="{3F7A7787-00CA-42A0-97CD-637349527123}" dt="2021-07-11T11:37:51.357" v="246"/>
          <ac:picMkLst>
            <pc:docMk/>
            <pc:sldMk cId="2612197216" sldId="1699"/>
            <ac:picMk id="76" creationId="{4F469A7E-BF88-4831-83F7-3E4093054B14}"/>
          </ac:picMkLst>
        </pc:picChg>
        <pc:picChg chg="mod">
          <ac:chgData name="Yash Ratanpal" userId="5db668b1-93e7-4c08-9786-4ed81315a653" providerId="ADAL" clId="{3F7A7787-00CA-42A0-97CD-637349527123}" dt="2021-07-11T11:37:51.357" v="246"/>
          <ac:picMkLst>
            <pc:docMk/>
            <pc:sldMk cId="2612197216" sldId="1699"/>
            <ac:picMk id="77" creationId="{684B8244-C9B5-4A0F-84A8-235A097C7E67}"/>
          </ac:picMkLst>
        </pc:picChg>
        <pc:picChg chg="mod">
          <ac:chgData name="Yash Ratanpal" userId="5db668b1-93e7-4c08-9786-4ed81315a653" providerId="ADAL" clId="{3F7A7787-00CA-42A0-97CD-637349527123}" dt="2021-07-11T11:37:51.357" v="246"/>
          <ac:picMkLst>
            <pc:docMk/>
            <pc:sldMk cId="2612197216" sldId="1699"/>
            <ac:picMk id="78" creationId="{697D2A32-BE26-423D-939E-C3FE3DA42AAF}"/>
          </ac:picMkLst>
        </pc:picChg>
        <pc:picChg chg="mod">
          <ac:chgData name="Yash Ratanpal" userId="5db668b1-93e7-4c08-9786-4ed81315a653" providerId="ADAL" clId="{3F7A7787-00CA-42A0-97CD-637349527123}" dt="2021-07-11T11:37:51.357" v="246"/>
          <ac:picMkLst>
            <pc:docMk/>
            <pc:sldMk cId="2612197216" sldId="1699"/>
            <ac:picMk id="107" creationId="{3B6E29F9-9D9E-4BD8-B6F4-8D1A14E14E0A}"/>
          </ac:picMkLst>
        </pc:picChg>
        <pc:picChg chg="mod">
          <ac:chgData name="Yash Ratanpal" userId="5db668b1-93e7-4c08-9786-4ed81315a653" providerId="ADAL" clId="{3F7A7787-00CA-42A0-97CD-637349527123}" dt="2021-07-11T11:37:51.357" v="246"/>
          <ac:picMkLst>
            <pc:docMk/>
            <pc:sldMk cId="2612197216" sldId="1699"/>
            <ac:picMk id="108" creationId="{DB409DFD-CBD7-4606-84B6-C70E0863CFDC}"/>
          </ac:picMkLst>
        </pc:picChg>
        <pc:picChg chg="mod">
          <ac:chgData name="Yash Ratanpal" userId="5db668b1-93e7-4c08-9786-4ed81315a653" providerId="ADAL" clId="{3F7A7787-00CA-42A0-97CD-637349527123}" dt="2021-07-11T11:37:51.357" v="246"/>
          <ac:picMkLst>
            <pc:docMk/>
            <pc:sldMk cId="2612197216" sldId="1699"/>
            <ac:picMk id="109" creationId="{9A47E13D-D286-420C-9638-7FCF3CDD2DE6}"/>
          </ac:picMkLst>
        </pc:picChg>
      </pc:sldChg>
      <pc:sldChg chg="addSp modSp add del mod">
        <pc:chgData name="Yash Ratanpal" userId="5db668b1-93e7-4c08-9786-4ed81315a653" providerId="ADAL" clId="{3F7A7787-00CA-42A0-97CD-637349527123}" dt="2021-07-11T11:43:35.543" v="419" actId="47"/>
        <pc:sldMkLst>
          <pc:docMk/>
          <pc:sldMk cId="3370481018" sldId="1700"/>
        </pc:sldMkLst>
        <pc:spChg chg="mod">
          <ac:chgData name="Yash Ratanpal" userId="5db668b1-93e7-4c08-9786-4ed81315a653" providerId="ADAL" clId="{3F7A7787-00CA-42A0-97CD-637349527123}" dt="2021-07-11T11:37:51.357" v="246"/>
          <ac:spMkLst>
            <pc:docMk/>
            <pc:sldMk cId="3370481018" sldId="1700"/>
            <ac:spMk id="9" creationId="{47A151E0-0F16-43E5-B1AA-8B2679802A15}"/>
          </ac:spMkLst>
        </pc:spChg>
        <pc:spChg chg="mod">
          <ac:chgData name="Yash Ratanpal" userId="5db668b1-93e7-4c08-9786-4ed81315a653" providerId="ADAL" clId="{3F7A7787-00CA-42A0-97CD-637349527123}" dt="2021-07-11T11:37:51.357" v="246"/>
          <ac:spMkLst>
            <pc:docMk/>
            <pc:sldMk cId="3370481018" sldId="1700"/>
            <ac:spMk id="13" creationId="{ED22E528-4040-42D9-B612-36FCABF9D84C}"/>
          </ac:spMkLst>
        </pc:spChg>
        <pc:spChg chg="mod">
          <ac:chgData name="Yash Ratanpal" userId="5db668b1-93e7-4c08-9786-4ed81315a653" providerId="ADAL" clId="{3F7A7787-00CA-42A0-97CD-637349527123}" dt="2021-07-11T11:37:51.357" v="246"/>
          <ac:spMkLst>
            <pc:docMk/>
            <pc:sldMk cId="3370481018" sldId="1700"/>
            <ac:spMk id="113" creationId="{A762447D-FD80-485A-9C51-E49647EB9040}"/>
          </ac:spMkLst>
        </pc:spChg>
        <pc:spChg chg="mod">
          <ac:chgData name="Yash Ratanpal" userId="5db668b1-93e7-4c08-9786-4ed81315a653" providerId="ADAL" clId="{3F7A7787-00CA-42A0-97CD-637349527123}" dt="2021-07-11T11:37:51.357" v="246"/>
          <ac:spMkLst>
            <pc:docMk/>
            <pc:sldMk cId="3370481018" sldId="1700"/>
            <ac:spMk id="114" creationId="{B843A781-2331-45B7-B4B2-6AA55704707B}"/>
          </ac:spMkLst>
        </pc:spChg>
        <pc:spChg chg="mod">
          <ac:chgData name="Yash Ratanpal" userId="5db668b1-93e7-4c08-9786-4ed81315a653" providerId="ADAL" clId="{3F7A7787-00CA-42A0-97CD-637349527123}" dt="2021-07-11T11:37:51.357" v="246"/>
          <ac:spMkLst>
            <pc:docMk/>
            <pc:sldMk cId="3370481018" sldId="1700"/>
            <ac:spMk id="119" creationId="{3F0D5A36-3324-4B05-B64E-807822898C1E}"/>
          </ac:spMkLst>
        </pc:spChg>
        <pc:spChg chg="mod">
          <ac:chgData name="Yash Ratanpal" userId="5db668b1-93e7-4c08-9786-4ed81315a653" providerId="ADAL" clId="{3F7A7787-00CA-42A0-97CD-637349527123}" dt="2021-07-11T11:37:51.357" v="246"/>
          <ac:spMkLst>
            <pc:docMk/>
            <pc:sldMk cId="3370481018" sldId="1700"/>
            <ac:spMk id="122" creationId="{9A5BBDE5-AEAE-44CB-9463-CA97385A1FD7}"/>
          </ac:spMkLst>
        </pc:spChg>
        <pc:spChg chg="mod">
          <ac:chgData name="Yash Ratanpal" userId="5db668b1-93e7-4c08-9786-4ed81315a653" providerId="ADAL" clId="{3F7A7787-00CA-42A0-97CD-637349527123}" dt="2021-07-11T11:37:51.357" v="246"/>
          <ac:spMkLst>
            <pc:docMk/>
            <pc:sldMk cId="3370481018" sldId="1700"/>
            <ac:spMk id="126" creationId="{92993E9E-37F2-4B12-9800-1D76B4A2A52D}"/>
          </ac:spMkLst>
        </pc:spChg>
        <pc:spChg chg="mod">
          <ac:chgData name="Yash Ratanpal" userId="5db668b1-93e7-4c08-9786-4ed81315a653" providerId="ADAL" clId="{3F7A7787-00CA-42A0-97CD-637349527123}" dt="2021-07-11T11:37:51.357" v="246"/>
          <ac:spMkLst>
            <pc:docMk/>
            <pc:sldMk cId="3370481018" sldId="1700"/>
            <ac:spMk id="127" creationId="{347C77AC-4B44-4F6F-A35C-A71CC776376C}"/>
          </ac:spMkLst>
        </pc:spChg>
        <pc:spChg chg="mod">
          <ac:chgData name="Yash Ratanpal" userId="5db668b1-93e7-4c08-9786-4ed81315a653" providerId="ADAL" clId="{3F7A7787-00CA-42A0-97CD-637349527123}" dt="2021-07-11T11:37:51.357" v="246"/>
          <ac:spMkLst>
            <pc:docMk/>
            <pc:sldMk cId="3370481018" sldId="1700"/>
            <ac:spMk id="128" creationId="{31299B90-D77B-4497-B237-2162A61F92E2}"/>
          </ac:spMkLst>
        </pc:spChg>
        <pc:spChg chg="mod">
          <ac:chgData name="Yash Ratanpal" userId="5db668b1-93e7-4c08-9786-4ed81315a653" providerId="ADAL" clId="{3F7A7787-00CA-42A0-97CD-637349527123}" dt="2021-07-11T11:37:51.357" v="246"/>
          <ac:spMkLst>
            <pc:docMk/>
            <pc:sldMk cId="3370481018" sldId="1700"/>
            <ac:spMk id="135" creationId="{1C41D1AA-8E52-42FF-85CD-F7B4864B9CC6}"/>
          </ac:spMkLst>
        </pc:spChg>
        <pc:spChg chg="mod">
          <ac:chgData name="Yash Ratanpal" userId="5db668b1-93e7-4c08-9786-4ed81315a653" providerId="ADAL" clId="{3F7A7787-00CA-42A0-97CD-637349527123}" dt="2021-07-11T11:37:51.357" v="246"/>
          <ac:spMkLst>
            <pc:docMk/>
            <pc:sldMk cId="3370481018" sldId="1700"/>
            <ac:spMk id="136" creationId="{8082053F-74D7-4B82-ADFF-13A9B367577F}"/>
          </ac:spMkLst>
        </pc:spChg>
        <pc:spChg chg="mod">
          <ac:chgData name="Yash Ratanpal" userId="5db668b1-93e7-4c08-9786-4ed81315a653" providerId="ADAL" clId="{3F7A7787-00CA-42A0-97CD-637349527123}" dt="2021-07-11T11:37:51.357" v="246"/>
          <ac:spMkLst>
            <pc:docMk/>
            <pc:sldMk cId="3370481018" sldId="1700"/>
            <ac:spMk id="137" creationId="{FD717F85-D21A-455B-9D24-1C86B1E93755}"/>
          </ac:spMkLst>
        </pc:spChg>
        <pc:spChg chg="mod">
          <ac:chgData name="Yash Ratanpal" userId="5db668b1-93e7-4c08-9786-4ed81315a653" providerId="ADAL" clId="{3F7A7787-00CA-42A0-97CD-637349527123}" dt="2021-07-11T11:37:51.357" v="246"/>
          <ac:spMkLst>
            <pc:docMk/>
            <pc:sldMk cId="3370481018" sldId="1700"/>
            <ac:spMk id="138" creationId="{E9D5309A-000C-401C-983B-0E79DBCED78D}"/>
          </ac:spMkLst>
        </pc:spChg>
        <pc:spChg chg="mod">
          <ac:chgData name="Yash Ratanpal" userId="5db668b1-93e7-4c08-9786-4ed81315a653" providerId="ADAL" clId="{3F7A7787-00CA-42A0-97CD-637349527123}" dt="2021-07-11T11:37:51.357" v="246"/>
          <ac:spMkLst>
            <pc:docMk/>
            <pc:sldMk cId="3370481018" sldId="1700"/>
            <ac:spMk id="140" creationId="{1DD29898-733D-45EF-9EB7-D1BBC12B6B2A}"/>
          </ac:spMkLst>
        </pc:spChg>
        <pc:spChg chg="mod">
          <ac:chgData name="Yash Ratanpal" userId="5db668b1-93e7-4c08-9786-4ed81315a653" providerId="ADAL" clId="{3F7A7787-00CA-42A0-97CD-637349527123}" dt="2021-07-11T11:37:51.357" v="246"/>
          <ac:spMkLst>
            <pc:docMk/>
            <pc:sldMk cId="3370481018" sldId="1700"/>
            <ac:spMk id="141" creationId="{0800F4C6-43FB-4E5C-9345-010CB8443E07}"/>
          </ac:spMkLst>
        </pc:spChg>
        <pc:spChg chg="mod">
          <ac:chgData name="Yash Ratanpal" userId="5db668b1-93e7-4c08-9786-4ed81315a653" providerId="ADAL" clId="{3F7A7787-00CA-42A0-97CD-637349527123}" dt="2021-07-11T11:37:51.357" v="246"/>
          <ac:spMkLst>
            <pc:docMk/>
            <pc:sldMk cId="3370481018" sldId="1700"/>
            <ac:spMk id="142" creationId="{CB981200-56BF-4E48-A264-DBB12131221B}"/>
          </ac:spMkLst>
        </pc:spChg>
        <pc:spChg chg="mod">
          <ac:chgData name="Yash Ratanpal" userId="5db668b1-93e7-4c08-9786-4ed81315a653" providerId="ADAL" clId="{3F7A7787-00CA-42A0-97CD-637349527123}" dt="2021-07-11T11:37:51.357" v="246"/>
          <ac:spMkLst>
            <pc:docMk/>
            <pc:sldMk cId="3370481018" sldId="1700"/>
            <ac:spMk id="143" creationId="{567F5EB5-4895-48DF-9919-21EC5837CE62}"/>
          </ac:spMkLst>
        </pc:spChg>
        <pc:spChg chg="mod">
          <ac:chgData name="Yash Ratanpal" userId="5db668b1-93e7-4c08-9786-4ed81315a653" providerId="ADAL" clId="{3F7A7787-00CA-42A0-97CD-637349527123}" dt="2021-07-11T11:37:51.357" v="246"/>
          <ac:spMkLst>
            <pc:docMk/>
            <pc:sldMk cId="3370481018" sldId="1700"/>
            <ac:spMk id="145" creationId="{AD478285-4ABF-4CA4-ADFF-DE88E01CCCEE}"/>
          </ac:spMkLst>
        </pc:spChg>
        <pc:spChg chg="mod">
          <ac:chgData name="Yash Ratanpal" userId="5db668b1-93e7-4c08-9786-4ed81315a653" providerId="ADAL" clId="{3F7A7787-00CA-42A0-97CD-637349527123}" dt="2021-07-11T11:37:51.357" v="246"/>
          <ac:spMkLst>
            <pc:docMk/>
            <pc:sldMk cId="3370481018" sldId="1700"/>
            <ac:spMk id="146" creationId="{7E203472-C960-4C5F-9440-F693D2B27711}"/>
          </ac:spMkLst>
        </pc:spChg>
        <pc:spChg chg="mod">
          <ac:chgData name="Yash Ratanpal" userId="5db668b1-93e7-4c08-9786-4ed81315a653" providerId="ADAL" clId="{3F7A7787-00CA-42A0-97CD-637349527123}" dt="2021-07-11T11:37:51.357" v="246"/>
          <ac:spMkLst>
            <pc:docMk/>
            <pc:sldMk cId="3370481018" sldId="1700"/>
            <ac:spMk id="148" creationId="{E4468E14-0083-44DD-B59A-0B70A29532A6}"/>
          </ac:spMkLst>
        </pc:spChg>
        <pc:spChg chg="mod">
          <ac:chgData name="Yash Ratanpal" userId="5db668b1-93e7-4c08-9786-4ed81315a653" providerId="ADAL" clId="{3F7A7787-00CA-42A0-97CD-637349527123}" dt="2021-07-11T11:37:51.357" v="246"/>
          <ac:spMkLst>
            <pc:docMk/>
            <pc:sldMk cId="3370481018" sldId="1700"/>
            <ac:spMk id="152" creationId="{C624743E-AE10-45C7-98D2-3202B9B22370}"/>
          </ac:spMkLst>
        </pc:spChg>
        <pc:spChg chg="mod">
          <ac:chgData name="Yash Ratanpal" userId="5db668b1-93e7-4c08-9786-4ed81315a653" providerId="ADAL" clId="{3F7A7787-00CA-42A0-97CD-637349527123}" dt="2021-07-11T11:37:51.357" v="246"/>
          <ac:spMkLst>
            <pc:docMk/>
            <pc:sldMk cId="3370481018" sldId="1700"/>
            <ac:spMk id="153" creationId="{4F53281E-F734-4370-8C53-B718AC986BE8}"/>
          </ac:spMkLst>
        </pc:spChg>
        <pc:spChg chg="mod">
          <ac:chgData name="Yash Ratanpal" userId="5db668b1-93e7-4c08-9786-4ed81315a653" providerId="ADAL" clId="{3F7A7787-00CA-42A0-97CD-637349527123}" dt="2021-07-11T11:37:51.357" v="246"/>
          <ac:spMkLst>
            <pc:docMk/>
            <pc:sldMk cId="3370481018" sldId="1700"/>
            <ac:spMk id="154" creationId="{814E9786-6904-4D76-B6A9-406A43FF4C69}"/>
          </ac:spMkLst>
        </pc:spChg>
        <pc:spChg chg="mod">
          <ac:chgData name="Yash Ratanpal" userId="5db668b1-93e7-4c08-9786-4ed81315a653" providerId="ADAL" clId="{3F7A7787-00CA-42A0-97CD-637349527123}" dt="2021-07-11T11:37:51.357" v="246"/>
          <ac:spMkLst>
            <pc:docMk/>
            <pc:sldMk cId="3370481018" sldId="1700"/>
            <ac:spMk id="156" creationId="{FCEB8189-CB3C-4268-8734-0602ECDD7C8C}"/>
          </ac:spMkLst>
        </pc:spChg>
        <pc:spChg chg="mod">
          <ac:chgData name="Yash Ratanpal" userId="5db668b1-93e7-4c08-9786-4ed81315a653" providerId="ADAL" clId="{3F7A7787-00CA-42A0-97CD-637349527123}" dt="2021-07-11T11:37:51.357" v="246"/>
          <ac:spMkLst>
            <pc:docMk/>
            <pc:sldMk cId="3370481018" sldId="1700"/>
            <ac:spMk id="157" creationId="{4885B103-8FC0-495B-9C71-D78CEE5043A0}"/>
          </ac:spMkLst>
        </pc:spChg>
        <pc:spChg chg="mod">
          <ac:chgData name="Yash Ratanpal" userId="5db668b1-93e7-4c08-9786-4ed81315a653" providerId="ADAL" clId="{3F7A7787-00CA-42A0-97CD-637349527123}" dt="2021-07-11T11:37:51.357" v="246"/>
          <ac:spMkLst>
            <pc:docMk/>
            <pc:sldMk cId="3370481018" sldId="1700"/>
            <ac:spMk id="158" creationId="{0FA81DC6-5ED8-4474-BD7D-6444819C1BFA}"/>
          </ac:spMkLst>
        </pc:spChg>
        <pc:spChg chg="mod">
          <ac:chgData name="Yash Ratanpal" userId="5db668b1-93e7-4c08-9786-4ed81315a653" providerId="ADAL" clId="{3F7A7787-00CA-42A0-97CD-637349527123}" dt="2021-07-11T11:37:51.357" v="246"/>
          <ac:spMkLst>
            <pc:docMk/>
            <pc:sldMk cId="3370481018" sldId="1700"/>
            <ac:spMk id="159" creationId="{AD0AA1A4-8B91-4CBD-9D8A-C0DDCE438BE4}"/>
          </ac:spMkLst>
        </pc:spChg>
        <pc:spChg chg="mod">
          <ac:chgData name="Yash Ratanpal" userId="5db668b1-93e7-4c08-9786-4ed81315a653" providerId="ADAL" clId="{3F7A7787-00CA-42A0-97CD-637349527123}" dt="2021-07-11T11:37:51.357" v="246"/>
          <ac:spMkLst>
            <pc:docMk/>
            <pc:sldMk cId="3370481018" sldId="1700"/>
            <ac:spMk id="160" creationId="{2197608C-A9CD-4E8A-B5EC-53FDB0D46F45}"/>
          </ac:spMkLst>
        </pc:spChg>
        <pc:spChg chg="mod">
          <ac:chgData name="Yash Ratanpal" userId="5db668b1-93e7-4c08-9786-4ed81315a653" providerId="ADAL" clId="{3F7A7787-00CA-42A0-97CD-637349527123}" dt="2021-07-11T11:37:51.357" v="246"/>
          <ac:spMkLst>
            <pc:docMk/>
            <pc:sldMk cId="3370481018" sldId="1700"/>
            <ac:spMk id="161" creationId="{04A87792-C97A-40D3-BB12-00223B690E8E}"/>
          </ac:spMkLst>
        </pc:spChg>
        <pc:spChg chg="mod">
          <ac:chgData name="Yash Ratanpal" userId="5db668b1-93e7-4c08-9786-4ed81315a653" providerId="ADAL" clId="{3F7A7787-00CA-42A0-97CD-637349527123}" dt="2021-07-11T11:37:51.357" v="246"/>
          <ac:spMkLst>
            <pc:docMk/>
            <pc:sldMk cId="3370481018" sldId="1700"/>
            <ac:spMk id="162" creationId="{D12646ED-8888-4B47-ADB0-5D57D5FF5684}"/>
          </ac:spMkLst>
        </pc:spChg>
        <pc:spChg chg="mod">
          <ac:chgData name="Yash Ratanpal" userId="5db668b1-93e7-4c08-9786-4ed81315a653" providerId="ADAL" clId="{3F7A7787-00CA-42A0-97CD-637349527123}" dt="2021-07-11T11:37:51.357" v="246"/>
          <ac:spMkLst>
            <pc:docMk/>
            <pc:sldMk cId="3370481018" sldId="1700"/>
            <ac:spMk id="163" creationId="{7545A6C7-57AE-4F9C-9783-E01BA0648F07}"/>
          </ac:spMkLst>
        </pc:spChg>
        <pc:spChg chg="mod">
          <ac:chgData name="Yash Ratanpal" userId="5db668b1-93e7-4c08-9786-4ed81315a653" providerId="ADAL" clId="{3F7A7787-00CA-42A0-97CD-637349527123}" dt="2021-07-11T11:37:51.357" v="246"/>
          <ac:spMkLst>
            <pc:docMk/>
            <pc:sldMk cId="3370481018" sldId="1700"/>
            <ac:spMk id="164" creationId="{8EA56AEB-E657-4CDE-80C2-05E4CA14EE50}"/>
          </ac:spMkLst>
        </pc:spChg>
        <pc:spChg chg="mod">
          <ac:chgData name="Yash Ratanpal" userId="5db668b1-93e7-4c08-9786-4ed81315a653" providerId="ADAL" clId="{3F7A7787-00CA-42A0-97CD-637349527123}" dt="2021-07-11T11:37:51.357" v="246"/>
          <ac:spMkLst>
            <pc:docMk/>
            <pc:sldMk cId="3370481018" sldId="1700"/>
            <ac:spMk id="165" creationId="{CFE94EC2-4302-4C65-AEFE-F4323D191406}"/>
          </ac:spMkLst>
        </pc:spChg>
        <pc:spChg chg="mod">
          <ac:chgData name="Yash Ratanpal" userId="5db668b1-93e7-4c08-9786-4ed81315a653" providerId="ADAL" clId="{3F7A7787-00CA-42A0-97CD-637349527123}" dt="2021-07-11T11:37:51.357" v="246"/>
          <ac:spMkLst>
            <pc:docMk/>
            <pc:sldMk cId="3370481018" sldId="1700"/>
            <ac:spMk id="166" creationId="{F59CF07A-D941-4676-88FB-A40B213BF9BC}"/>
          </ac:spMkLst>
        </pc:spChg>
        <pc:spChg chg="mod">
          <ac:chgData name="Yash Ratanpal" userId="5db668b1-93e7-4c08-9786-4ed81315a653" providerId="ADAL" clId="{3F7A7787-00CA-42A0-97CD-637349527123}" dt="2021-07-11T11:37:51.357" v="246"/>
          <ac:spMkLst>
            <pc:docMk/>
            <pc:sldMk cId="3370481018" sldId="1700"/>
            <ac:spMk id="167" creationId="{EF8764D6-1A3F-4ECA-A6B9-95C26ABF8D4B}"/>
          </ac:spMkLst>
        </pc:spChg>
        <pc:spChg chg="mod">
          <ac:chgData name="Yash Ratanpal" userId="5db668b1-93e7-4c08-9786-4ed81315a653" providerId="ADAL" clId="{3F7A7787-00CA-42A0-97CD-637349527123}" dt="2021-07-11T11:37:51.357" v="246"/>
          <ac:spMkLst>
            <pc:docMk/>
            <pc:sldMk cId="3370481018" sldId="1700"/>
            <ac:spMk id="168" creationId="{D8D1EDCE-BE8C-4406-B0CE-92F6B10ECC25}"/>
          </ac:spMkLst>
        </pc:spChg>
        <pc:spChg chg="mod">
          <ac:chgData name="Yash Ratanpal" userId="5db668b1-93e7-4c08-9786-4ed81315a653" providerId="ADAL" clId="{3F7A7787-00CA-42A0-97CD-637349527123}" dt="2021-07-11T11:37:51.357" v="246"/>
          <ac:spMkLst>
            <pc:docMk/>
            <pc:sldMk cId="3370481018" sldId="1700"/>
            <ac:spMk id="169" creationId="{3B1CB16E-1F1F-4885-AB95-A5DB810E7C5D}"/>
          </ac:spMkLst>
        </pc:spChg>
        <pc:spChg chg="mod">
          <ac:chgData name="Yash Ratanpal" userId="5db668b1-93e7-4c08-9786-4ed81315a653" providerId="ADAL" clId="{3F7A7787-00CA-42A0-97CD-637349527123}" dt="2021-07-11T11:37:51.357" v="246"/>
          <ac:spMkLst>
            <pc:docMk/>
            <pc:sldMk cId="3370481018" sldId="1700"/>
            <ac:spMk id="170" creationId="{6203A6FD-D114-4A97-96FD-E3C0F41AFA2A}"/>
          </ac:spMkLst>
        </pc:spChg>
        <pc:spChg chg="mod">
          <ac:chgData name="Yash Ratanpal" userId="5db668b1-93e7-4c08-9786-4ed81315a653" providerId="ADAL" clId="{3F7A7787-00CA-42A0-97CD-637349527123}" dt="2021-07-11T11:37:51.357" v="246"/>
          <ac:spMkLst>
            <pc:docMk/>
            <pc:sldMk cId="3370481018" sldId="1700"/>
            <ac:spMk id="171" creationId="{1F830456-1604-4497-B1FE-8B6A19C4C086}"/>
          </ac:spMkLst>
        </pc:spChg>
        <pc:grpChg chg="mod">
          <ac:chgData name="Yash Ratanpal" userId="5db668b1-93e7-4c08-9786-4ed81315a653" providerId="ADAL" clId="{3F7A7787-00CA-42A0-97CD-637349527123}" dt="2021-07-11T11:37:51.357" v="246"/>
          <ac:grpSpMkLst>
            <pc:docMk/>
            <pc:sldMk cId="3370481018" sldId="1700"/>
            <ac:grpSpMk id="18" creationId="{271D240B-F37D-4D51-9163-693A179947AA}"/>
          </ac:grpSpMkLst>
        </pc:grpChg>
        <pc:graphicFrameChg chg="mod">
          <ac:chgData name="Yash Ratanpal" userId="5db668b1-93e7-4c08-9786-4ed81315a653" providerId="ADAL" clId="{3F7A7787-00CA-42A0-97CD-637349527123}" dt="2021-07-11T11:37:51.357" v="246"/>
          <ac:graphicFrameMkLst>
            <pc:docMk/>
            <pc:sldMk cId="3370481018" sldId="1700"/>
            <ac:graphicFrameMk id="36" creationId="{00000000-0000-0000-0000-000000000000}"/>
          </ac:graphicFrameMkLst>
        </pc:graphicFrameChg>
        <pc:picChg chg="mod">
          <ac:chgData name="Yash Ratanpal" userId="5db668b1-93e7-4c08-9786-4ed81315a653" providerId="ADAL" clId="{3F7A7787-00CA-42A0-97CD-637349527123}" dt="2021-07-11T11:37:51.357" v="246"/>
          <ac:picMkLst>
            <pc:docMk/>
            <pc:sldMk cId="3370481018" sldId="1700"/>
            <ac:picMk id="8" creationId="{ADE938D2-B5A7-4C8B-9BEF-058001B58E1C}"/>
          </ac:picMkLst>
        </pc:picChg>
        <pc:picChg chg="add mod">
          <ac:chgData name="Yash Ratanpal" userId="5db668b1-93e7-4c08-9786-4ed81315a653" providerId="ADAL" clId="{3F7A7787-00CA-42A0-97CD-637349527123}" dt="2021-07-11T11:37:51.357" v="246"/>
          <ac:picMkLst>
            <pc:docMk/>
            <pc:sldMk cId="3370481018" sldId="1700"/>
            <ac:picMk id="44" creationId="{07BD7DC4-F910-40C7-A5B8-8093519952DC}"/>
          </ac:picMkLst>
        </pc:picChg>
      </pc:sldChg>
      <pc:sldChg chg="modSp add del modNotes">
        <pc:chgData name="Yash Ratanpal" userId="5db668b1-93e7-4c08-9786-4ed81315a653" providerId="ADAL" clId="{3F7A7787-00CA-42A0-97CD-637349527123}" dt="2021-07-11T13:45:16.602" v="1748" actId="47"/>
        <pc:sldMkLst>
          <pc:docMk/>
          <pc:sldMk cId="2125634436" sldId="1701"/>
        </pc:sldMkLst>
        <pc:spChg chg="mod">
          <ac:chgData name="Yash Ratanpal" userId="5db668b1-93e7-4c08-9786-4ed81315a653" providerId="ADAL" clId="{3F7A7787-00CA-42A0-97CD-637349527123}" dt="2021-07-11T11:37:51.357" v="246"/>
          <ac:spMkLst>
            <pc:docMk/>
            <pc:sldMk cId="2125634436" sldId="1701"/>
            <ac:spMk id="3" creationId="{00000000-0000-0000-0000-000000000000}"/>
          </ac:spMkLst>
        </pc:spChg>
        <pc:spChg chg="mod">
          <ac:chgData name="Yash Ratanpal" userId="5db668b1-93e7-4c08-9786-4ed81315a653" providerId="ADAL" clId="{3F7A7787-00CA-42A0-97CD-637349527123}" dt="2021-07-11T11:37:51.357" v="246"/>
          <ac:spMkLst>
            <pc:docMk/>
            <pc:sldMk cId="2125634436" sldId="1701"/>
            <ac:spMk id="4" creationId="{00000000-0000-0000-0000-000000000000}"/>
          </ac:spMkLst>
        </pc:spChg>
        <pc:spChg chg="mod">
          <ac:chgData name="Yash Ratanpal" userId="5db668b1-93e7-4c08-9786-4ed81315a653" providerId="ADAL" clId="{3F7A7787-00CA-42A0-97CD-637349527123}" dt="2021-07-11T11:37:51.357" v="246"/>
          <ac:spMkLst>
            <pc:docMk/>
            <pc:sldMk cId="2125634436" sldId="1701"/>
            <ac:spMk id="5" creationId="{00000000-0000-0000-0000-000000000000}"/>
          </ac:spMkLst>
        </pc:spChg>
        <pc:spChg chg="mod">
          <ac:chgData name="Yash Ratanpal" userId="5db668b1-93e7-4c08-9786-4ed81315a653" providerId="ADAL" clId="{3F7A7787-00CA-42A0-97CD-637349527123}" dt="2021-07-11T11:37:51.357" v="246"/>
          <ac:spMkLst>
            <pc:docMk/>
            <pc:sldMk cId="2125634436" sldId="1701"/>
            <ac:spMk id="7" creationId="{21DFFFAE-D548-4F98-AA91-430D6F3C0415}"/>
          </ac:spMkLst>
        </pc:spChg>
        <pc:spChg chg="mod">
          <ac:chgData name="Yash Ratanpal" userId="5db668b1-93e7-4c08-9786-4ed81315a653" providerId="ADAL" clId="{3F7A7787-00CA-42A0-97CD-637349527123}" dt="2021-07-11T11:37:51.357" v="246"/>
          <ac:spMkLst>
            <pc:docMk/>
            <pc:sldMk cId="2125634436" sldId="1701"/>
            <ac:spMk id="8" creationId="{5FB70E86-5CAB-446E-80B2-344ECAAE7E7B}"/>
          </ac:spMkLst>
        </pc:spChg>
        <pc:spChg chg="mod">
          <ac:chgData name="Yash Ratanpal" userId="5db668b1-93e7-4c08-9786-4ed81315a653" providerId="ADAL" clId="{3F7A7787-00CA-42A0-97CD-637349527123}" dt="2021-07-11T11:37:51.357" v="246"/>
          <ac:spMkLst>
            <pc:docMk/>
            <pc:sldMk cId="2125634436" sldId="1701"/>
            <ac:spMk id="29" creationId="{9872E618-52FF-4906-9FCD-6AC27599EC75}"/>
          </ac:spMkLst>
        </pc:spChg>
        <pc:spChg chg="mod">
          <ac:chgData name="Yash Ratanpal" userId="5db668b1-93e7-4c08-9786-4ed81315a653" providerId="ADAL" clId="{3F7A7787-00CA-42A0-97CD-637349527123}" dt="2021-07-11T11:37:51.357" v="246"/>
          <ac:spMkLst>
            <pc:docMk/>
            <pc:sldMk cId="2125634436" sldId="1701"/>
            <ac:spMk id="31" creationId="{7A0732E3-1A7E-4D88-B01F-A3651C362170}"/>
          </ac:spMkLst>
        </pc:spChg>
        <pc:spChg chg="mod">
          <ac:chgData name="Yash Ratanpal" userId="5db668b1-93e7-4c08-9786-4ed81315a653" providerId="ADAL" clId="{3F7A7787-00CA-42A0-97CD-637349527123}" dt="2021-07-11T11:37:51.357" v="246"/>
          <ac:spMkLst>
            <pc:docMk/>
            <pc:sldMk cId="2125634436" sldId="1701"/>
            <ac:spMk id="32" creationId="{6CD210B2-6097-498F-B2D8-3C08E44C768B}"/>
          </ac:spMkLst>
        </pc:spChg>
        <pc:spChg chg="mod">
          <ac:chgData name="Yash Ratanpal" userId="5db668b1-93e7-4c08-9786-4ed81315a653" providerId="ADAL" clId="{3F7A7787-00CA-42A0-97CD-637349527123}" dt="2021-07-11T11:37:51.357" v="246"/>
          <ac:spMkLst>
            <pc:docMk/>
            <pc:sldMk cId="2125634436" sldId="1701"/>
            <ac:spMk id="33" creationId="{7E873580-09A8-4C8F-9D71-F118BDB92B48}"/>
          </ac:spMkLst>
        </pc:spChg>
        <pc:spChg chg="mod">
          <ac:chgData name="Yash Ratanpal" userId="5db668b1-93e7-4c08-9786-4ed81315a653" providerId="ADAL" clId="{3F7A7787-00CA-42A0-97CD-637349527123}" dt="2021-07-11T11:37:51.357" v="246"/>
          <ac:spMkLst>
            <pc:docMk/>
            <pc:sldMk cId="2125634436" sldId="1701"/>
            <ac:spMk id="35" creationId="{A7E93576-7F46-4A4A-AD82-605D12CAFE83}"/>
          </ac:spMkLst>
        </pc:spChg>
        <pc:spChg chg="mod">
          <ac:chgData name="Yash Ratanpal" userId="5db668b1-93e7-4c08-9786-4ed81315a653" providerId="ADAL" clId="{3F7A7787-00CA-42A0-97CD-637349527123}" dt="2021-07-11T11:37:51.357" v="246"/>
          <ac:spMkLst>
            <pc:docMk/>
            <pc:sldMk cId="2125634436" sldId="1701"/>
            <ac:spMk id="37" creationId="{69026759-E5A8-4AFD-ACE1-91A7C5C172C7}"/>
          </ac:spMkLst>
        </pc:spChg>
        <pc:spChg chg="mod">
          <ac:chgData name="Yash Ratanpal" userId="5db668b1-93e7-4c08-9786-4ed81315a653" providerId="ADAL" clId="{3F7A7787-00CA-42A0-97CD-637349527123}" dt="2021-07-11T11:37:51.357" v="246"/>
          <ac:spMkLst>
            <pc:docMk/>
            <pc:sldMk cId="2125634436" sldId="1701"/>
            <ac:spMk id="38" creationId="{8348CD24-98FB-41F8-BC49-4156E1E5912F}"/>
          </ac:spMkLst>
        </pc:spChg>
        <pc:spChg chg="mod">
          <ac:chgData name="Yash Ratanpal" userId="5db668b1-93e7-4c08-9786-4ed81315a653" providerId="ADAL" clId="{3F7A7787-00CA-42A0-97CD-637349527123}" dt="2021-07-11T11:37:51.357" v="246"/>
          <ac:spMkLst>
            <pc:docMk/>
            <pc:sldMk cId="2125634436" sldId="1701"/>
            <ac:spMk id="39" creationId="{1A71C947-27B1-4ECD-A48E-3E84EBB4871F}"/>
          </ac:spMkLst>
        </pc:spChg>
        <pc:spChg chg="mod">
          <ac:chgData name="Yash Ratanpal" userId="5db668b1-93e7-4c08-9786-4ed81315a653" providerId="ADAL" clId="{3F7A7787-00CA-42A0-97CD-637349527123}" dt="2021-07-11T11:37:51.357" v="246"/>
          <ac:spMkLst>
            <pc:docMk/>
            <pc:sldMk cId="2125634436" sldId="1701"/>
            <ac:spMk id="42" creationId="{6CE744EB-3202-42EE-9771-9DAC81EFFE3D}"/>
          </ac:spMkLst>
        </pc:spChg>
        <pc:spChg chg="mod">
          <ac:chgData name="Yash Ratanpal" userId="5db668b1-93e7-4c08-9786-4ed81315a653" providerId="ADAL" clId="{3F7A7787-00CA-42A0-97CD-637349527123}" dt="2021-07-11T11:37:51.357" v="246"/>
          <ac:spMkLst>
            <pc:docMk/>
            <pc:sldMk cId="2125634436" sldId="1701"/>
            <ac:spMk id="44" creationId="{7A2A2165-8AD8-4960-B3CA-7BDF869502FF}"/>
          </ac:spMkLst>
        </pc:spChg>
        <pc:grpChg chg="mod">
          <ac:chgData name="Yash Ratanpal" userId="5db668b1-93e7-4c08-9786-4ed81315a653" providerId="ADAL" clId="{3F7A7787-00CA-42A0-97CD-637349527123}" dt="2021-07-11T11:37:51.357" v="246"/>
          <ac:grpSpMkLst>
            <pc:docMk/>
            <pc:sldMk cId="2125634436" sldId="1701"/>
            <ac:grpSpMk id="6" creationId="{0D899FFB-F75B-44EC-BBB4-7DECAC59A401}"/>
          </ac:grpSpMkLst>
        </pc:grpChg>
        <pc:grpChg chg="mod">
          <ac:chgData name="Yash Ratanpal" userId="5db668b1-93e7-4c08-9786-4ed81315a653" providerId="ADAL" clId="{3F7A7787-00CA-42A0-97CD-637349527123}" dt="2021-07-11T11:37:51.357" v="246"/>
          <ac:grpSpMkLst>
            <pc:docMk/>
            <pc:sldMk cId="2125634436" sldId="1701"/>
            <ac:grpSpMk id="46" creationId="{C4F3232E-DCF9-40B3-9A60-96C14B4589B1}"/>
          </ac:grpSpMkLst>
        </pc:grpChg>
        <pc:picChg chg="mod">
          <ac:chgData name="Yash Ratanpal" userId="5db668b1-93e7-4c08-9786-4ed81315a653" providerId="ADAL" clId="{3F7A7787-00CA-42A0-97CD-637349527123}" dt="2021-07-11T11:37:51.357" v="246"/>
          <ac:picMkLst>
            <pc:docMk/>
            <pc:sldMk cId="2125634436" sldId="1701"/>
            <ac:picMk id="2" creationId="{00000000-0000-0000-0000-000000000000}"/>
          </ac:picMkLst>
        </pc:picChg>
        <pc:cxnChg chg="mod">
          <ac:chgData name="Yash Ratanpal" userId="5db668b1-93e7-4c08-9786-4ed81315a653" providerId="ADAL" clId="{3F7A7787-00CA-42A0-97CD-637349527123}" dt="2021-07-11T11:37:51.357" v="246"/>
          <ac:cxnSpMkLst>
            <pc:docMk/>
            <pc:sldMk cId="2125634436" sldId="1701"/>
            <ac:cxnSpMk id="28" creationId="{DEEF4E46-BA5B-4C2F-8B3D-AB9D31C3D5C5}"/>
          </ac:cxnSpMkLst>
        </pc:cxnChg>
        <pc:cxnChg chg="mod">
          <ac:chgData name="Yash Ratanpal" userId="5db668b1-93e7-4c08-9786-4ed81315a653" providerId="ADAL" clId="{3F7A7787-00CA-42A0-97CD-637349527123}" dt="2021-07-11T11:37:51.357" v="246"/>
          <ac:cxnSpMkLst>
            <pc:docMk/>
            <pc:sldMk cId="2125634436" sldId="1701"/>
            <ac:cxnSpMk id="30" creationId="{46968B10-4CEF-49B1-A24D-B87D197D8A79}"/>
          </ac:cxnSpMkLst>
        </pc:cxnChg>
        <pc:cxnChg chg="mod">
          <ac:chgData name="Yash Ratanpal" userId="5db668b1-93e7-4c08-9786-4ed81315a653" providerId="ADAL" clId="{3F7A7787-00CA-42A0-97CD-637349527123}" dt="2021-07-11T11:37:51.357" v="246"/>
          <ac:cxnSpMkLst>
            <pc:docMk/>
            <pc:sldMk cId="2125634436" sldId="1701"/>
            <ac:cxnSpMk id="34" creationId="{27F4F03F-A056-4040-B260-8E231F72918A}"/>
          </ac:cxnSpMkLst>
        </pc:cxnChg>
        <pc:cxnChg chg="mod">
          <ac:chgData name="Yash Ratanpal" userId="5db668b1-93e7-4c08-9786-4ed81315a653" providerId="ADAL" clId="{3F7A7787-00CA-42A0-97CD-637349527123}" dt="2021-07-11T11:37:51.357" v="246"/>
          <ac:cxnSpMkLst>
            <pc:docMk/>
            <pc:sldMk cId="2125634436" sldId="1701"/>
            <ac:cxnSpMk id="36" creationId="{4674425A-3F8D-4CB6-9F5E-6DFD89810AE5}"/>
          </ac:cxnSpMkLst>
        </pc:cxnChg>
        <pc:cxnChg chg="mod">
          <ac:chgData name="Yash Ratanpal" userId="5db668b1-93e7-4c08-9786-4ed81315a653" providerId="ADAL" clId="{3F7A7787-00CA-42A0-97CD-637349527123}" dt="2021-07-11T11:37:51.357" v="246"/>
          <ac:cxnSpMkLst>
            <pc:docMk/>
            <pc:sldMk cId="2125634436" sldId="1701"/>
            <ac:cxnSpMk id="40" creationId="{6E803236-1F59-4D5F-A204-B6EF58517B0F}"/>
          </ac:cxnSpMkLst>
        </pc:cxnChg>
        <pc:cxnChg chg="mod">
          <ac:chgData name="Yash Ratanpal" userId="5db668b1-93e7-4c08-9786-4ed81315a653" providerId="ADAL" clId="{3F7A7787-00CA-42A0-97CD-637349527123}" dt="2021-07-11T11:37:51.357" v="246"/>
          <ac:cxnSpMkLst>
            <pc:docMk/>
            <pc:sldMk cId="2125634436" sldId="1701"/>
            <ac:cxnSpMk id="41" creationId="{64798EB0-11B6-4216-AB9B-793E591A21CB}"/>
          </ac:cxnSpMkLst>
        </pc:cxnChg>
        <pc:cxnChg chg="mod">
          <ac:chgData name="Yash Ratanpal" userId="5db668b1-93e7-4c08-9786-4ed81315a653" providerId="ADAL" clId="{3F7A7787-00CA-42A0-97CD-637349527123}" dt="2021-07-11T11:37:51.357" v="246"/>
          <ac:cxnSpMkLst>
            <pc:docMk/>
            <pc:sldMk cId="2125634436" sldId="1701"/>
            <ac:cxnSpMk id="43" creationId="{9D8A8B72-E2CF-40C4-93C1-C69A19D3661D}"/>
          </ac:cxnSpMkLst>
        </pc:cxnChg>
        <pc:cxnChg chg="mod">
          <ac:chgData name="Yash Ratanpal" userId="5db668b1-93e7-4c08-9786-4ed81315a653" providerId="ADAL" clId="{3F7A7787-00CA-42A0-97CD-637349527123}" dt="2021-07-11T11:37:51.357" v="246"/>
          <ac:cxnSpMkLst>
            <pc:docMk/>
            <pc:sldMk cId="2125634436" sldId="1701"/>
            <ac:cxnSpMk id="45" creationId="{9D30102F-36B9-4BCD-91EF-79E1D268497A}"/>
          </ac:cxnSpMkLst>
        </pc:cxnChg>
      </pc:sldChg>
      <pc:sldChg chg="addSp delSp modSp add del mod">
        <pc:chgData name="Yash Ratanpal" userId="5db668b1-93e7-4c08-9786-4ed81315a653" providerId="ADAL" clId="{3F7A7787-00CA-42A0-97CD-637349527123}" dt="2021-07-11T11:40:01.580" v="278" actId="47"/>
        <pc:sldMkLst>
          <pc:docMk/>
          <pc:sldMk cId="104161929" sldId="1702"/>
        </pc:sldMkLst>
        <pc:spChg chg="del">
          <ac:chgData name="Yash Ratanpal" userId="5db668b1-93e7-4c08-9786-4ed81315a653" providerId="ADAL" clId="{3F7A7787-00CA-42A0-97CD-637349527123}" dt="2021-07-11T11:38:40.260" v="256" actId="478"/>
          <ac:spMkLst>
            <pc:docMk/>
            <pc:sldMk cId="104161929" sldId="1702"/>
            <ac:spMk id="3" creationId="{00000000-0000-0000-0000-000000000000}"/>
          </ac:spMkLst>
        </pc:spChg>
        <pc:spChg chg="del">
          <ac:chgData name="Yash Ratanpal" userId="5db668b1-93e7-4c08-9786-4ed81315a653" providerId="ADAL" clId="{3F7A7787-00CA-42A0-97CD-637349527123}" dt="2021-07-11T11:38:41.599" v="257" actId="478"/>
          <ac:spMkLst>
            <pc:docMk/>
            <pc:sldMk cId="104161929" sldId="1702"/>
            <ac:spMk id="4" creationId="{00000000-0000-0000-0000-000000000000}"/>
          </ac:spMkLst>
        </pc:spChg>
        <pc:spChg chg="add del mod">
          <ac:chgData name="Yash Ratanpal" userId="5db668b1-93e7-4c08-9786-4ed81315a653" providerId="ADAL" clId="{3F7A7787-00CA-42A0-97CD-637349527123}" dt="2021-07-11T11:38:50.752" v="260" actId="478"/>
          <ac:spMkLst>
            <pc:docMk/>
            <pc:sldMk cId="104161929" sldId="1702"/>
            <ac:spMk id="5" creationId="{1001A026-8D24-46CC-ACF9-CEBBF44B003F}"/>
          </ac:spMkLst>
        </pc:spChg>
        <pc:spChg chg="mod">
          <ac:chgData name="Yash Ratanpal" userId="5db668b1-93e7-4c08-9786-4ed81315a653" providerId="ADAL" clId="{3F7A7787-00CA-42A0-97CD-637349527123}" dt="2021-07-11T11:38:55.466" v="261"/>
          <ac:spMkLst>
            <pc:docMk/>
            <pc:sldMk cId="104161929" sldId="1702"/>
            <ac:spMk id="7" creationId="{F74B3833-3750-483B-8A7E-3B5F9F2BED6F}"/>
          </ac:spMkLst>
        </pc:spChg>
        <pc:spChg chg="mod">
          <ac:chgData name="Yash Ratanpal" userId="5db668b1-93e7-4c08-9786-4ed81315a653" providerId="ADAL" clId="{3F7A7787-00CA-42A0-97CD-637349527123}" dt="2021-07-11T11:38:55.466" v="261"/>
          <ac:spMkLst>
            <pc:docMk/>
            <pc:sldMk cId="104161929" sldId="1702"/>
            <ac:spMk id="8" creationId="{FA1F5F9E-98D8-423F-9A85-8CB03FC98810}"/>
          </ac:spMkLst>
        </pc:spChg>
        <pc:spChg chg="mod">
          <ac:chgData name="Yash Ratanpal" userId="5db668b1-93e7-4c08-9786-4ed81315a653" providerId="ADAL" clId="{3F7A7787-00CA-42A0-97CD-637349527123}" dt="2021-07-11T11:38:55.466" v="261"/>
          <ac:spMkLst>
            <pc:docMk/>
            <pc:sldMk cId="104161929" sldId="1702"/>
            <ac:spMk id="10" creationId="{7502EB05-6E7C-40DF-AD18-2D0E2561011C}"/>
          </ac:spMkLst>
        </pc:spChg>
        <pc:spChg chg="mod">
          <ac:chgData name="Yash Ratanpal" userId="5db668b1-93e7-4c08-9786-4ed81315a653" providerId="ADAL" clId="{3F7A7787-00CA-42A0-97CD-637349527123}" dt="2021-07-11T11:38:55.466" v="261"/>
          <ac:spMkLst>
            <pc:docMk/>
            <pc:sldMk cId="104161929" sldId="1702"/>
            <ac:spMk id="11" creationId="{6566B867-3888-44E6-8E0A-312836FF5E3C}"/>
          </ac:spMkLst>
        </pc:spChg>
        <pc:spChg chg="mod">
          <ac:chgData name="Yash Ratanpal" userId="5db668b1-93e7-4c08-9786-4ed81315a653" providerId="ADAL" clId="{3F7A7787-00CA-42A0-97CD-637349527123}" dt="2021-07-11T11:38:55.466" v="261"/>
          <ac:spMkLst>
            <pc:docMk/>
            <pc:sldMk cId="104161929" sldId="1702"/>
            <ac:spMk id="12" creationId="{CC52A699-BB98-44B0-B22F-3FAA4CF23401}"/>
          </ac:spMkLst>
        </pc:spChg>
        <pc:spChg chg="mod">
          <ac:chgData name="Yash Ratanpal" userId="5db668b1-93e7-4c08-9786-4ed81315a653" providerId="ADAL" clId="{3F7A7787-00CA-42A0-97CD-637349527123}" dt="2021-07-11T11:38:55.466" v="261"/>
          <ac:spMkLst>
            <pc:docMk/>
            <pc:sldMk cId="104161929" sldId="1702"/>
            <ac:spMk id="13" creationId="{9235CB06-5DC3-4302-8223-0FFB500B5EBB}"/>
          </ac:spMkLst>
        </pc:spChg>
        <pc:spChg chg="mod">
          <ac:chgData name="Yash Ratanpal" userId="5db668b1-93e7-4c08-9786-4ed81315a653" providerId="ADAL" clId="{3F7A7787-00CA-42A0-97CD-637349527123}" dt="2021-07-11T11:38:55.466" v="261"/>
          <ac:spMkLst>
            <pc:docMk/>
            <pc:sldMk cId="104161929" sldId="1702"/>
            <ac:spMk id="14" creationId="{10B2F07C-5234-4DFD-AA5F-F317C22F65B0}"/>
          </ac:spMkLst>
        </pc:spChg>
        <pc:spChg chg="mod">
          <ac:chgData name="Yash Ratanpal" userId="5db668b1-93e7-4c08-9786-4ed81315a653" providerId="ADAL" clId="{3F7A7787-00CA-42A0-97CD-637349527123}" dt="2021-07-11T11:38:55.466" v="261"/>
          <ac:spMkLst>
            <pc:docMk/>
            <pc:sldMk cId="104161929" sldId="1702"/>
            <ac:spMk id="15" creationId="{30343C9D-E374-4A26-84CF-AAAEB7102E0B}"/>
          </ac:spMkLst>
        </pc:spChg>
        <pc:spChg chg="mod">
          <ac:chgData name="Yash Ratanpal" userId="5db668b1-93e7-4c08-9786-4ed81315a653" providerId="ADAL" clId="{3F7A7787-00CA-42A0-97CD-637349527123}" dt="2021-07-11T11:38:55.466" v="261"/>
          <ac:spMkLst>
            <pc:docMk/>
            <pc:sldMk cId="104161929" sldId="1702"/>
            <ac:spMk id="16" creationId="{D7C8B6B2-2BFB-46C7-9246-8F772C7AAEE6}"/>
          </ac:spMkLst>
        </pc:spChg>
        <pc:spChg chg="mod">
          <ac:chgData name="Yash Ratanpal" userId="5db668b1-93e7-4c08-9786-4ed81315a653" providerId="ADAL" clId="{3F7A7787-00CA-42A0-97CD-637349527123}" dt="2021-07-11T11:38:55.466" v="261"/>
          <ac:spMkLst>
            <pc:docMk/>
            <pc:sldMk cId="104161929" sldId="1702"/>
            <ac:spMk id="17" creationId="{EF2D0E7D-7493-4C75-8C4A-80A1611BF7FC}"/>
          </ac:spMkLst>
        </pc:spChg>
        <pc:spChg chg="mod">
          <ac:chgData name="Yash Ratanpal" userId="5db668b1-93e7-4c08-9786-4ed81315a653" providerId="ADAL" clId="{3F7A7787-00CA-42A0-97CD-637349527123}" dt="2021-07-11T11:38:55.466" v="261"/>
          <ac:spMkLst>
            <pc:docMk/>
            <pc:sldMk cId="104161929" sldId="1702"/>
            <ac:spMk id="18" creationId="{ED74FC93-579F-4F2D-80E9-3B96F010D3FA}"/>
          </ac:spMkLst>
        </pc:spChg>
        <pc:spChg chg="mod">
          <ac:chgData name="Yash Ratanpal" userId="5db668b1-93e7-4c08-9786-4ed81315a653" providerId="ADAL" clId="{3F7A7787-00CA-42A0-97CD-637349527123}" dt="2021-07-11T11:38:55.466" v="261"/>
          <ac:spMkLst>
            <pc:docMk/>
            <pc:sldMk cId="104161929" sldId="1702"/>
            <ac:spMk id="19" creationId="{35B4502A-680C-4AE5-841F-AE0F471CAF91}"/>
          </ac:spMkLst>
        </pc:spChg>
        <pc:spChg chg="mod">
          <ac:chgData name="Yash Ratanpal" userId="5db668b1-93e7-4c08-9786-4ed81315a653" providerId="ADAL" clId="{3F7A7787-00CA-42A0-97CD-637349527123}" dt="2021-07-11T11:38:55.466" v="261"/>
          <ac:spMkLst>
            <pc:docMk/>
            <pc:sldMk cId="104161929" sldId="1702"/>
            <ac:spMk id="20" creationId="{42967D58-C479-4F88-96EF-F7021F16D911}"/>
          </ac:spMkLst>
        </pc:spChg>
        <pc:spChg chg="mod">
          <ac:chgData name="Yash Ratanpal" userId="5db668b1-93e7-4c08-9786-4ed81315a653" providerId="ADAL" clId="{3F7A7787-00CA-42A0-97CD-637349527123}" dt="2021-07-11T11:38:55.466" v="261"/>
          <ac:spMkLst>
            <pc:docMk/>
            <pc:sldMk cId="104161929" sldId="1702"/>
            <ac:spMk id="21" creationId="{98071B39-1546-49D5-882C-624787275FEE}"/>
          </ac:spMkLst>
        </pc:spChg>
        <pc:spChg chg="mod">
          <ac:chgData name="Yash Ratanpal" userId="5db668b1-93e7-4c08-9786-4ed81315a653" providerId="ADAL" clId="{3F7A7787-00CA-42A0-97CD-637349527123}" dt="2021-07-11T11:38:55.466" v="261"/>
          <ac:spMkLst>
            <pc:docMk/>
            <pc:sldMk cId="104161929" sldId="1702"/>
            <ac:spMk id="22" creationId="{9147081F-BE8D-47D8-BB5F-B949AA9E2812}"/>
          </ac:spMkLst>
        </pc:spChg>
        <pc:spChg chg="mod">
          <ac:chgData name="Yash Ratanpal" userId="5db668b1-93e7-4c08-9786-4ed81315a653" providerId="ADAL" clId="{3F7A7787-00CA-42A0-97CD-637349527123}" dt="2021-07-11T11:38:55.466" v="261"/>
          <ac:spMkLst>
            <pc:docMk/>
            <pc:sldMk cId="104161929" sldId="1702"/>
            <ac:spMk id="23" creationId="{CD5A0115-650E-4257-AF6A-DC898C63AC78}"/>
          </ac:spMkLst>
        </pc:spChg>
        <pc:spChg chg="mod">
          <ac:chgData name="Yash Ratanpal" userId="5db668b1-93e7-4c08-9786-4ed81315a653" providerId="ADAL" clId="{3F7A7787-00CA-42A0-97CD-637349527123}" dt="2021-07-11T11:38:55.466" v="261"/>
          <ac:spMkLst>
            <pc:docMk/>
            <pc:sldMk cId="104161929" sldId="1702"/>
            <ac:spMk id="24" creationId="{4D6A9CAD-B281-46E4-9478-0827D2A5123D}"/>
          </ac:spMkLst>
        </pc:spChg>
        <pc:spChg chg="mod">
          <ac:chgData name="Yash Ratanpal" userId="5db668b1-93e7-4c08-9786-4ed81315a653" providerId="ADAL" clId="{3F7A7787-00CA-42A0-97CD-637349527123}" dt="2021-07-11T11:38:55.466" v="261"/>
          <ac:spMkLst>
            <pc:docMk/>
            <pc:sldMk cId="104161929" sldId="1702"/>
            <ac:spMk id="25" creationId="{DE5B91B5-4A97-4E6A-8A11-9BF18D170DC4}"/>
          </ac:spMkLst>
        </pc:spChg>
        <pc:spChg chg="mod">
          <ac:chgData name="Yash Ratanpal" userId="5db668b1-93e7-4c08-9786-4ed81315a653" providerId="ADAL" clId="{3F7A7787-00CA-42A0-97CD-637349527123}" dt="2021-07-11T11:38:55.466" v="261"/>
          <ac:spMkLst>
            <pc:docMk/>
            <pc:sldMk cId="104161929" sldId="1702"/>
            <ac:spMk id="26" creationId="{7EF8F2A8-F4F3-4B51-AA18-6B64AFFF0E2F}"/>
          </ac:spMkLst>
        </pc:spChg>
        <pc:spChg chg="mod">
          <ac:chgData name="Yash Ratanpal" userId="5db668b1-93e7-4c08-9786-4ed81315a653" providerId="ADAL" clId="{3F7A7787-00CA-42A0-97CD-637349527123}" dt="2021-07-11T11:38:55.466" v="261"/>
          <ac:spMkLst>
            <pc:docMk/>
            <pc:sldMk cId="104161929" sldId="1702"/>
            <ac:spMk id="27" creationId="{5E6B884C-B93E-4A1E-B82D-DD7746F7C5D5}"/>
          </ac:spMkLst>
        </pc:spChg>
        <pc:spChg chg="mod">
          <ac:chgData name="Yash Ratanpal" userId="5db668b1-93e7-4c08-9786-4ed81315a653" providerId="ADAL" clId="{3F7A7787-00CA-42A0-97CD-637349527123}" dt="2021-07-11T11:38:55.466" v="261"/>
          <ac:spMkLst>
            <pc:docMk/>
            <pc:sldMk cId="104161929" sldId="1702"/>
            <ac:spMk id="28" creationId="{92A4643B-AF8A-4298-9D95-25DD1E802D7F}"/>
          </ac:spMkLst>
        </pc:spChg>
        <pc:spChg chg="mod">
          <ac:chgData name="Yash Ratanpal" userId="5db668b1-93e7-4c08-9786-4ed81315a653" providerId="ADAL" clId="{3F7A7787-00CA-42A0-97CD-637349527123}" dt="2021-07-11T11:38:55.466" v="261"/>
          <ac:spMkLst>
            <pc:docMk/>
            <pc:sldMk cId="104161929" sldId="1702"/>
            <ac:spMk id="30" creationId="{6421E947-9A09-4278-99ED-F6AD9742CB31}"/>
          </ac:spMkLst>
        </pc:spChg>
        <pc:spChg chg="mod">
          <ac:chgData name="Yash Ratanpal" userId="5db668b1-93e7-4c08-9786-4ed81315a653" providerId="ADAL" clId="{3F7A7787-00CA-42A0-97CD-637349527123}" dt="2021-07-11T11:38:55.466" v="261"/>
          <ac:spMkLst>
            <pc:docMk/>
            <pc:sldMk cId="104161929" sldId="1702"/>
            <ac:spMk id="31" creationId="{CF15B34C-F7E4-42FA-AD32-96CFEBBE15DF}"/>
          </ac:spMkLst>
        </pc:spChg>
        <pc:spChg chg="mod">
          <ac:chgData name="Yash Ratanpal" userId="5db668b1-93e7-4c08-9786-4ed81315a653" providerId="ADAL" clId="{3F7A7787-00CA-42A0-97CD-637349527123}" dt="2021-07-11T11:38:55.466" v="261"/>
          <ac:spMkLst>
            <pc:docMk/>
            <pc:sldMk cId="104161929" sldId="1702"/>
            <ac:spMk id="32" creationId="{6990235B-868C-4881-8398-F5BBFD982D60}"/>
          </ac:spMkLst>
        </pc:spChg>
        <pc:spChg chg="mod">
          <ac:chgData name="Yash Ratanpal" userId="5db668b1-93e7-4c08-9786-4ed81315a653" providerId="ADAL" clId="{3F7A7787-00CA-42A0-97CD-637349527123}" dt="2021-07-11T11:38:55.466" v="261"/>
          <ac:spMkLst>
            <pc:docMk/>
            <pc:sldMk cId="104161929" sldId="1702"/>
            <ac:spMk id="33" creationId="{CF76CA55-0EEF-49A6-A358-1C931A868F4F}"/>
          </ac:spMkLst>
        </pc:spChg>
        <pc:spChg chg="mod">
          <ac:chgData name="Yash Ratanpal" userId="5db668b1-93e7-4c08-9786-4ed81315a653" providerId="ADAL" clId="{3F7A7787-00CA-42A0-97CD-637349527123}" dt="2021-07-11T11:38:55.466" v="261"/>
          <ac:spMkLst>
            <pc:docMk/>
            <pc:sldMk cId="104161929" sldId="1702"/>
            <ac:spMk id="34" creationId="{6C6C8081-90AF-446F-A1F7-28CA910A29E1}"/>
          </ac:spMkLst>
        </pc:spChg>
        <pc:spChg chg="mod">
          <ac:chgData name="Yash Ratanpal" userId="5db668b1-93e7-4c08-9786-4ed81315a653" providerId="ADAL" clId="{3F7A7787-00CA-42A0-97CD-637349527123}" dt="2021-07-11T11:38:55.466" v="261"/>
          <ac:spMkLst>
            <pc:docMk/>
            <pc:sldMk cId="104161929" sldId="1702"/>
            <ac:spMk id="35" creationId="{C0238066-C803-43AA-84A7-E28D0AC96A47}"/>
          </ac:spMkLst>
        </pc:spChg>
        <pc:spChg chg="mod">
          <ac:chgData name="Yash Ratanpal" userId="5db668b1-93e7-4c08-9786-4ed81315a653" providerId="ADAL" clId="{3F7A7787-00CA-42A0-97CD-637349527123}" dt="2021-07-11T11:38:55.466" v="261"/>
          <ac:spMkLst>
            <pc:docMk/>
            <pc:sldMk cId="104161929" sldId="1702"/>
            <ac:spMk id="36" creationId="{77E0D9E7-5755-41CC-B9C0-70A405F8B4E4}"/>
          </ac:spMkLst>
        </pc:spChg>
        <pc:spChg chg="mod">
          <ac:chgData name="Yash Ratanpal" userId="5db668b1-93e7-4c08-9786-4ed81315a653" providerId="ADAL" clId="{3F7A7787-00CA-42A0-97CD-637349527123}" dt="2021-07-11T11:38:55.466" v="261"/>
          <ac:spMkLst>
            <pc:docMk/>
            <pc:sldMk cId="104161929" sldId="1702"/>
            <ac:spMk id="37" creationId="{4FCA9718-0C7C-4214-A345-72955702ED40}"/>
          </ac:spMkLst>
        </pc:spChg>
        <pc:spChg chg="mod">
          <ac:chgData name="Yash Ratanpal" userId="5db668b1-93e7-4c08-9786-4ed81315a653" providerId="ADAL" clId="{3F7A7787-00CA-42A0-97CD-637349527123}" dt="2021-07-11T11:38:55.466" v="261"/>
          <ac:spMkLst>
            <pc:docMk/>
            <pc:sldMk cId="104161929" sldId="1702"/>
            <ac:spMk id="38" creationId="{4D436259-3146-42C2-AF05-B6AA9F153A45}"/>
          </ac:spMkLst>
        </pc:spChg>
        <pc:spChg chg="mod">
          <ac:chgData name="Yash Ratanpal" userId="5db668b1-93e7-4c08-9786-4ed81315a653" providerId="ADAL" clId="{3F7A7787-00CA-42A0-97CD-637349527123}" dt="2021-07-11T11:38:55.466" v="261"/>
          <ac:spMkLst>
            <pc:docMk/>
            <pc:sldMk cId="104161929" sldId="1702"/>
            <ac:spMk id="39" creationId="{8ECA8F98-D532-49CD-BA87-823F2524A9DE}"/>
          </ac:spMkLst>
        </pc:spChg>
        <pc:spChg chg="mod">
          <ac:chgData name="Yash Ratanpal" userId="5db668b1-93e7-4c08-9786-4ed81315a653" providerId="ADAL" clId="{3F7A7787-00CA-42A0-97CD-637349527123}" dt="2021-07-11T11:38:55.466" v="261"/>
          <ac:spMkLst>
            <pc:docMk/>
            <pc:sldMk cId="104161929" sldId="1702"/>
            <ac:spMk id="40" creationId="{35654687-C569-4A9C-AFEE-03E0AD02E90B}"/>
          </ac:spMkLst>
        </pc:spChg>
        <pc:spChg chg="mod">
          <ac:chgData name="Yash Ratanpal" userId="5db668b1-93e7-4c08-9786-4ed81315a653" providerId="ADAL" clId="{3F7A7787-00CA-42A0-97CD-637349527123}" dt="2021-07-11T11:38:55.466" v="261"/>
          <ac:spMkLst>
            <pc:docMk/>
            <pc:sldMk cId="104161929" sldId="1702"/>
            <ac:spMk id="41" creationId="{059C3DA4-550B-4B7F-8571-920241F39CF0}"/>
          </ac:spMkLst>
        </pc:spChg>
        <pc:spChg chg="mod">
          <ac:chgData name="Yash Ratanpal" userId="5db668b1-93e7-4c08-9786-4ed81315a653" providerId="ADAL" clId="{3F7A7787-00CA-42A0-97CD-637349527123}" dt="2021-07-11T11:38:55.466" v="261"/>
          <ac:spMkLst>
            <pc:docMk/>
            <pc:sldMk cId="104161929" sldId="1702"/>
            <ac:spMk id="42" creationId="{8659535C-8AAE-445E-A663-7046B7FDE67F}"/>
          </ac:spMkLst>
        </pc:spChg>
        <pc:spChg chg="mod">
          <ac:chgData name="Yash Ratanpal" userId="5db668b1-93e7-4c08-9786-4ed81315a653" providerId="ADAL" clId="{3F7A7787-00CA-42A0-97CD-637349527123}" dt="2021-07-11T11:38:55.466" v="261"/>
          <ac:spMkLst>
            <pc:docMk/>
            <pc:sldMk cId="104161929" sldId="1702"/>
            <ac:spMk id="43" creationId="{5B989C3B-5AD4-4815-A078-C4A12AE509D3}"/>
          </ac:spMkLst>
        </pc:spChg>
        <pc:spChg chg="mod">
          <ac:chgData name="Yash Ratanpal" userId="5db668b1-93e7-4c08-9786-4ed81315a653" providerId="ADAL" clId="{3F7A7787-00CA-42A0-97CD-637349527123}" dt="2021-07-11T11:38:55.466" v="261"/>
          <ac:spMkLst>
            <pc:docMk/>
            <pc:sldMk cId="104161929" sldId="1702"/>
            <ac:spMk id="44" creationId="{6B99D353-9B6C-439C-BE6A-6DE2FD27AEE9}"/>
          </ac:spMkLst>
        </pc:spChg>
        <pc:spChg chg="mod">
          <ac:chgData name="Yash Ratanpal" userId="5db668b1-93e7-4c08-9786-4ed81315a653" providerId="ADAL" clId="{3F7A7787-00CA-42A0-97CD-637349527123}" dt="2021-07-11T11:38:55.466" v="261"/>
          <ac:spMkLst>
            <pc:docMk/>
            <pc:sldMk cId="104161929" sldId="1702"/>
            <ac:spMk id="45" creationId="{C3E44007-F88E-466C-B22C-2A7A243A57A0}"/>
          </ac:spMkLst>
        </pc:spChg>
        <pc:spChg chg="mod">
          <ac:chgData name="Yash Ratanpal" userId="5db668b1-93e7-4c08-9786-4ed81315a653" providerId="ADAL" clId="{3F7A7787-00CA-42A0-97CD-637349527123}" dt="2021-07-11T11:38:55.466" v="261"/>
          <ac:spMkLst>
            <pc:docMk/>
            <pc:sldMk cId="104161929" sldId="1702"/>
            <ac:spMk id="46" creationId="{1924558B-CDFE-4E72-B249-E72A70F1F3A8}"/>
          </ac:spMkLst>
        </pc:spChg>
        <pc:spChg chg="mod">
          <ac:chgData name="Yash Ratanpal" userId="5db668b1-93e7-4c08-9786-4ed81315a653" providerId="ADAL" clId="{3F7A7787-00CA-42A0-97CD-637349527123}" dt="2021-07-11T11:38:55.466" v="261"/>
          <ac:spMkLst>
            <pc:docMk/>
            <pc:sldMk cId="104161929" sldId="1702"/>
            <ac:spMk id="47" creationId="{D059841D-8D83-413C-9D69-ED02B4D76AD4}"/>
          </ac:spMkLst>
        </pc:spChg>
        <pc:grpChg chg="add del mod">
          <ac:chgData name="Yash Ratanpal" userId="5db668b1-93e7-4c08-9786-4ed81315a653" providerId="ADAL" clId="{3F7A7787-00CA-42A0-97CD-637349527123}" dt="2021-07-11T11:39:04.399" v="264" actId="478"/>
          <ac:grpSpMkLst>
            <pc:docMk/>
            <pc:sldMk cId="104161929" sldId="1702"/>
            <ac:grpSpMk id="6" creationId="{1D6E675B-F4C3-44C8-8450-73F2A8127ADE}"/>
          </ac:grpSpMkLst>
        </pc:grpChg>
        <pc:grpChg chg="mod">
          <ac:chgData name="Yash Ratanpal" userId="5db668b1-93e7-4c08-9786-4ed81315a653" providerId="ADAL" clId="{3F7A7787-00CA-42A0-97CD-637349527123}" dt="2021-07-11T11:38:55.466" v="261"/>
          <ac:grpSpMkLst>
            <pc:docMk/>
            <pc:sldMk cId="104161929" sldId="1702"/>
            <ac:grpSpMk id="29" creationId="{8C6AB17B-FAF8-4BA1-9C1B-F4FA9F43D40F}"/>
          </ac:grpSpMkLst>
        </pc:grpChg>
        <pc:picChg chg="mod">
          <ac:chgData name="Yash Ratanpal" userId="5db668b1-93e7-4c08-9786-4ed81315a653" providerId="ADAL" clId="{3F7A7787-00CA-42A0-97CD-637349527123}" dt="2021-07-11T11:38:55.466" v="261"/>
          <ac:picMkLst>
            <pc:docMk/>
            <pc:sldMk cId="104161929" sldId="1702"/>
            <ac:picMk id="9" creationId="{01A4C2B0-3362-4661-8EFF-E26260A7C9E7}"/>
          </ac:picMkLst>
        </pc:picChg>
      </pc:sldChg>
      <pc:sldChg chg="modSp add del mod">
        <pc:chgData name="Yash Ratanpal" userId="5db668b1-93e7-4c08-9786-4ed81315a653" providerId="ADAL" clId="{3F7A7787-00CA-42A0-97CD-637349527123}" dt="2021-07-11T11:40:24.594" v="319" actId="47"/>
        <pc:sldMkLst>
          <pc:docMk/>
          <pc:sldMk cId="2405987178" sldId="1702"/>
        </pc:sldMkLst>
        <pc:spChg chg="mod">
          <ac:chgData name="Yash Ratanpal" userId="5db668b1-93e7-4c08-9786-4ed81315a653" providerId="ADAL" clId="{3F7A7787-00CA-42A0-97CD-637349527123}" dt="2021-07-11T11:40:17.826" v="316" actId="14100"/>
          <ac:spMkLst>
            <pc:docMk/>
            <pc:sldMk cId="2405987178" sldId="1702"/>
            <ac:spMk id="3" creationId="{00000000-0000-0000-0000-000000000000}"/>
          </ac:spMkLst>
        </pc:spChg>
      </pc:sldChg>
      <pc:sldChg chg="modSp add mod">
        <pc:chgData name="Yash Ratanpal" userId="5db668b1-93e7-4c08-9786-4ed81315a653" providerId="ADAL" clId="{3F7A7787-00CA-42A0-97CD-637349527123}" dt="2021-07-18T16:39:07.807" v="7699" actId="20577"/>
        <pc:sldMkLst>
          <pc:docMk/>
          <pc:sldMk cId="3600778414" sldId="1702"/>
        </pc:sldMkLst>
        <pc:spChg chg="mod">
          <ac:chgData name="Yash Ratanpal" userId="5db668b1-93e7-4c08-9786-4ed81315a653" providerId="ADAL" clId="{3F7A7787-00CA-42A0-97CD-637349527123}" dt="2021-07-18T16:39:07.807" v="7699" actId="20577"/>
          <ac:spMkLst>
            <pc:docMk/>
            <pc:sldMk cId="3600778414" sldId="1702"/>
            <ac:spMk id="4" creationId="{00000000-0000-0000-0000-000000000000}"/>
          </ac:spMkLst>
        </pc:spChg>
      </pc:sldChg>
      <pc:sldChg chg="addSp delSp modSp add del mod setBg">
        <pc:chgData name="Yash Ratanpal" userId="5db668b1-93e7-4c08-9786-4ed81315a653" providerId="ADAL" clId="{3F7A7787-00CA-42A0-97CD-637349527123}" dt="2021-07-18T14:55:43.870" v="3765" actId="47"/>
        <pc:sldMkLst>
          <pc:docMk/>
          <pc:sldMk cId="1171460674" sldId="1703"/>
        </pc:sldMkLst>
        <pc:spChg chg="mod">
          <ac:chgData name="Yash Ratanpal" userId="5db668b1-93e7-4c08-9786-4ed81315a653" providerId="ADAL" clId="{3F7A7787-00CA-42A0-97CD-637349527123}" dt="2021-07-11T11:43:23.472" v="417" actId="14100"/>
          <ac:spMkLst>
            <pc:docMk/>
            <pc:sldMk cId="1171460674" sldId="1703"/>
            <ac:spMk id="3" creationId="{00000000-0000-0000-0000-000000000000}"/>
          </ac:spMkLst>
        </pc:spChg>
        <pc:spChg chg="del">
          <ac:chgData name="Yash Ratanpal" userId="5db668b1-93e7-4c08-9786-4ed81315a653" providerId="ADAL" clId="{3F7A7787-00CA-42A0-97CD-637349527123}" dt="2021-07-11T11:41:14.580" v="331" actId="478"/>
          <ac:spMkLst>
            <pc:docMk/>
            <pc:sldMk cId="1171460674" sldId="1703"/>
            <ac:spMk id="4" creationId="{00000000-0000-0000-0000-000000000000}"/>
          </ac:spMkLst>
        </pc:spChg>
        <pc:spChg chg="add del mod">
          <ac:chgData name="Yash Ratanpal" userId="5db668b1-93e7-4c08-9786-4ed81315a653" providerId="ADAL" clId="{3F7A7787-00CA-42A0-97CD-637349527123}" dt="2021-07-11T11:41:26.156" v="333"/>
          <ac:spMkLst>
            <pc:docMk/>
            <pc:sldMk cId="1171460674" sldId="1703"/>
            <ac:spMk id="5" creationId="{A163ECCC-CFC9-4BBC-A772-B11493262973}"/>
          </ac:spMkLst>
        </pc:spChg>
        <pc:spChg chg="add del mod">
          <ac:chgData name="Yash Ratanpal" userId="5db668b1-93e7-4c08-9786-4ed81315a653" providerId="ADAL" clId="{3F7A7787-00CA-42A0-97CD-637349527123}" dt="2021-07-11T11:41:26.156" v="333"/>
          <ac:spMkLst>
            <pc:docMk/>
            <pc:sldMk cId="1171460674" sldId="1703"/>
            <ac:spMk id="6" creationId="{2A609E8E-79AE-46A4-AA5E-7C2333AD426D}"/>
          </ac:spMkLst>
        </pc:spChg>
        <pc:spChg chg="add del mod">
          <ac:chgData name="Yash Ratanpal" userId="5db668b1-93e7-4c08-9786-4ed81315a653" providerId="ADAL" clId="{3F7A7787-00CA-42A0-97CD-637349527123}" dt="2021-07-11T11:41:26.156" v="333"/>
          <ac:spMkLst>
            <pc:docMk/>
            <pc:sldMk cId="1171460674" sldId="1703"/>
            <ac:spMk id="8" creationId="{BE2B5A40-413F-4C93-8817-67FE66238BDA}"/>
          </ac:spMkLst>
        </pc:spChg>
        <pc:spChg chg="add del mod">
          <ac:chgData name="Yash Ratanpal" userId="5db668b1-93e7-4c08-9786-4ed81315a653" providerId="ADAL" clId="{3F7A7787-00CA-42A0-97CD-637349527123}" dt="2021-07-11T11:41:26.156" v="333"/>
          <ac:spMkLst>
            <pc:docMk/>
            <pc:sldMk cId="1171460674" sldId="1703"/>
            <ac:spMk id="9" creationId="{C7FF892B-7522-421D-A7C4-6B589A64C7BA}"/>
          </ac:spMkLst>
        </pc:spChg>
        <pc:spChg chg="add del mod">
          <ac:chgData name="Yash Ratanpal" userId="5db668b1-93e7-4c08-9786-4ed81315a653" providerId="ADAL" clId="{3F7A7787-00CA-42A0-97CD-637349527123}" dt="2021-07-11T11:41:26.156" v="333"/>
          <ac:spMkLst>
            <pc:docMk/>
            <pc:sldMk cId="1171460674" sldId="1703"/>
            <ac:spMk id="10" creationId="{D5735B07-1E21-4C5F-A59A-EE327E322E96}"/>
          </ac:spMkLst>
        </pc:spChg>
        <pc:spChg chg="add del mod">
          <ac:chgData name="Yash Ratanpal" userId="5db668b1-93e7-4c08-9786-4ed81315a653" providerId="ADAL" clId="{3F7A7787-00CA-42A0-97CD-637349527123}" dt="2021-07-11T11:41:26.156" v="333"/>
          <ac:spMkLst>
            <pc:docMk/>
            <pc:sldMk cId="1171460674" sldId="1703"/>
            <ac:spMk id="11" creationId="{8D670D44-FF58-47E1-ADAE-DF3357FCEA51}"/>
          </ac:spMkLst>
        </pc:spChg>
        <pc:spChg chg="add del mod">
          <ac:chgData name="Yash Ratanpal" userId="5db668b1-93e7-4c08-9786-4ed81315a653" providerId="ADAL" clId="{3F7A7787-00CA-42A0-97CD-637349527123}" dt="2021-07-11T11:41:26.156" v="333"/>
          <ac:spMkLst>
            <pc:docMk/>
            <pc:sldMk cId="1171460674" sldId="1703"/>
            <ac:spMk id="12" creationId="{ABF20837-E786-4ADF-8D49-F7DED0E075F1}"/>
          </ac:spMkLst>
        </pc:spChg>
        <pc:spChg chg="add del mod">
          <ac:chgData name="Yash Ratanpal" userId="5db668b1-93e7-4c08-9786-4ed81315a653" providerId="ADAL" clId="{3F7A7787-00CA-42A0-97CD-637349527123}" dt="2021-07-11T11:41:26.156" v="333"/>
          <ac:spMkLst>
            <pc:docMk/>
            <pc:sldMk cId="1171460674" sldId="1703"/>
            <ac:spMk id="13" creationId="{244100B0-9D38-402D-B047-6FBF93241828}"/>
          </ac:spMkLst>
        </pc:spChg>
        <pc:spChg chg="add del mod">
          <ac:chgData name="Yash Ratanpal" userId="5db668b1-93e7-4c08-9786-4ed81315a653" providerId="ADAL" clId="{3F7A7787-00CA-42A0-97CD-637349527123}" dt="2021-07-11T11:41:26.156" v="333"/>
          <ac:spMkLst>
            <pc:docMk/>
            <pc:sldMk cId="1171460674" sldId="1703"/>
            <ac:spMk id="14" creationId="{3AEDA034-E79C-4685-9687-D2AC96C018DA}"/>
          </ac:spMkLst>
        </pc:spChg>
        <pc:spChg chg="add del mod">
          <ac:chgData name="Yash Ratanpal" userId="5db668b1-93e7-4c08-9786-4ed81315a653" providerId="ADAL" clId="{3F7A7787-00CA-42A0-97CD-637349527123}" dt="2021-07-11T11:41:26.156" v="333"/>
          <ac:spMkLst>
            <pc:docMk/>
            <pc:sldMk cId="1171460674" sldId="1703"/>
            <ac:spMk id="15" creationId="{0C5BD76C-127D-4A12-8098-7D78D5C11193}"/>
          </ac:spMkLst>
        </pc:spChg>
        <pc:spChg chg="add del mod">
          <ac:chgData name="Yash Ratanpal" userId="5db668b1-93e7-4c08-9786-4ed81315a653" providerId="ADAL" clId="{3F7A7787-00CA-42A0-97CD-637349527123}" dt="2021-07-11T11:41:26.156" v="333"/>
          <ac:spMkLst>
            <pc:docMk/>
            <pc:sldMk cId="1171460674" sldId="1703"/>
            <ac:spMk id="16" creationId="{4FEA6B2A-E369-47E8-A038-248A31C67380}"/>
          </ac:spMkLst>
        </pc:spChg>
        <pc:spChg chg="add del mod">
          <ac:chgData name="Yash Ratanpal" userId="5db668b1-93e7-4c08-9786-4ed81315a653" providerId="ADAL" clId="{3F7A7787-00CA-42A0-97CD-637349527123}" dt="2021-07-11T11:41:26.156" v="333"/>
          <ac:spMkLst>
            <pc:docMk/>
            <pc:sldMk cId="1171460674" sldId="1703"/>
            <ac:spMk id="17" creationId="{521662F9-3985-406D-B07D-30FA190236EB}"/>
          </ac:spMkLst>
        </pc:spChg>
        <pc:spChg chg="add del mod">
          <ac:chgData name="Yash Ratanpal" userId="5db668b1-93e7-4c08-9786-4ed81315a653" providerId="ADAL" clId="{3F7A7787-00CA-42A0-97CD-637349527123}" dt="2021-07-11T11:41:26.156" v="333"/>
          <ac:spMkLst>
            <pc:docMk/>
            <pc:sldMk cId="1171460674" sldId="1703"/>
            <ac:spMk id="18" creationId="{7319CD4C-95BB-4AE2-A566-2B8AA849B8FF}"/>
          </ac:spMkLst>
        </pc:spChg>
        <pc:spChg chg="add del mod">
          <ac:chgData name="Yash Ratanpal" userId="5db668b1-93e7-4c08-9786-4ed81315a653" providerId="ADAL" clId="{3F7A7787-00CA-42A0-97CD-637349527123}" dt="2021-07-11T11:41:26.156" v="333"/>
          <ac:spMkLst>
            <pc:docMk/>
            <pc:sldMk cId="1171460674" sldId="1703"/>
            <ac:spMk id="19" creationId="{B8FD1AB8-4614-4986-93DB-CAE7522CB404}"/>
          </ac:spMkLst>
        </pc:spChg>
        <pc:spChg chg="add del mod">
          <ac:chgData name="Yash Ratanpal" userId="5db668b1-93e7-4c08-9786-4ed81315a653" providerId="ADAL" clId="{3F7A7787-00CA-42A0-97CD-637349527123}" dt="2021-07-11T11:41:26.156" v="333"/>
          <ac:spMkLst>
            <pc:docMk/>
            <pc:sldMk cId="1171460674" sldId="1703"/>
            <ac:spMk id="20" creationId="{E0C6B408-CEB0-4D10-9CEE-E9F80B7197A8}"/>
          </ac:spMkLst>
        </pc:spChg>
        <pc:spChg chg="add del mod">
          <ac:chgData name="Yash Ratanpal" userId="5db668b1-93e7-4c08-9786-4ed81315a653" providerId="ADAL" clId="{3F7A7787-00CA-42A0-97CD-637349527123}" dt="2021-07-11T11:41:26.156" v="333"/>
          <ac:spMkLst>
            <pc:docMk/>
            <pc:sldMk cId="1171460674" sldId="1703"/>
            <ac:spMk id="21" creationId="{16668364-49AB-46DD-9D7D-A736FDB4249A}"/>
          </ac:spMkLst>
        </pc:spChg>
        <pc:spChg chg="add del mod">
          <ac:chgData name="Yash Ratanpal" userId="5db668b1-93e7-4c08-9786-4ed81315a653" providerId="ADAL" clId="{3F7A7787-00CA-42A0-97CD-637349527123}" dt="2021-07-11T11:41:26.156" v="333"/>
          <ac:spMkLst>
            <pc:docMk/>
            <pc:sldMk cId="1171460674" sldId="1703"/>
            <ac:spMk id="22" creationId="{0437ED04-54C4-42FE-8A65-B3D003A3FAE3}"/>
          </ac:spMkLst>
        </pc:spChg>
        <pc:spChg chg="add del mod">
          <ac:chgData name="Yash Ratanpal" userId="5db668b1-93e7-4c08-9786-4ed81315a653" providerId="ADAL" clId="{3F7A7787-00CA-42A0-97CD-637349527123}" dt="2021-07-11T11:41:26.156" v="333"/>
          <ac:spMkLst>
            <pc:docMk/>
            <pc:sldMk cId="1171460674" sldId="1703"/>
            <ac:spMk id="23" creationId="{F8F74B15-17C8-44DD-9915-25C0B4D26325}"/>
          </ac:spMkLst>
        </pc:spChg>
        <pc:spChg chg="add del mod">
          <ac:chgData name="Yash Ratanpal" userId="5db668b1-93e7-4c08-9786-4ed81315a653" providerId="ADAL" clId="{3F7A7787-00CA-42A0-97CD-637349527123}" dt="2021-07-11T11:41:26.156" v="333"/>
          <ac:spMkLst>
            <pc:docMk/>
            <pc:sldMk cId="1171460674" sldId="1703"/>
            <ac:spMk id="24" creationId="{631307E4-860E-4D3E-9F22-64F452848F57}"/>
          </ac:spMkLst>
        </pc:spChg>
        <pc:spChg chg="add del mod">
          <ac:chgData name="Yash Ratanpal" userId="5db668b1-93e7-4c08-9786-4ed81315a653" providerId="ADAL" clId="{3F7A7787-00CA-42A0-97CD-637349527123}" dt="2021-07-11T11:41:26.156" v="333"/>
          <ac:spMkLst>
            <pc:docMk/>
            <pc:sldMk cId="1171460674" sldId="1703"/>
            <ac:spMk id="25" creationId="{ECB48AB1-944E-45E6-84E4-1CF327C3F6F7}"/>
          </ac:spMkLst>
        </pc:spChg>
        <pc:spChg chg="add del mod">
          <ac:chgData name="Yash Ratanpal" userId="5db668b1-93e7-4c08-9786-4ed81315a653" providerId="ADAL" clId="{3F7A7787-00CA-42A0-97CD-637349527123}" dt="2021-07-11T11:41:26.156" v="333"/>
          <ac:spMkLst>
            <pc:docMk/>
            <pc:sldMk cId="1171460674" sldId="1703"/>
            <ac:spMk id="26" creationId="{C67DA3D8-0FC2-4725-85E8-8DC41B6FB9E8}"/>
          </ac:spMkLst>
        </pc:spChg>
        <pc:spChg chg="mod">
          <ac:chgData name="Yash Ratanpal" userId="5db668b1-93e7-4c08-9786-4ed81315a653" providerId="ADAL" clId="{3F7A7787-00CA-42A0-97CD-637349527123}" dt="2021-07-11T11:41:25.260" v="332"/>
          <ac:spMkLst>
            <pc:docMk/>
            <pc:sldMk cId="1171460674" sldId="1703"/>
            <ac:spMk id="28" creationId="{45CAC598-B596-4F70-B7BA-3FA84C70B3B6}"/>
          </ac:spMkLst>
        </pc:spChg>
        <pc:spChg chg="mod">
          <ac:chgData name="Yash Ratanpal" userId="5db668b1-93e7-4c08-9786-4ed81315a653" providerId="ADAL" clId="{3F7A7787-00CA-42A0-97CD-637349527123}" dt="2021-07-11T11:41:25.260" v="332"/>
          <ac:spMkLst>
            <pc:docMk/>
            <pc:sldMk cId="1171460674" sldId="1703"/>
            <ac:spMk id="29" creationId="{BD9B6572-2E26-4315-9696-8C0655B0FF90}"/>
          </ac:spMkLst>
        </pc:spChg>
        <pc:spChg chg="mod">
          <ac:chgData name="Yash Ratanpal" userId="5db668b1-93e7-4c08-9786-4ed81315a653" providerId="ADAL" clId="{3F7A7787-00CA-42A0-97CD-637349527123}" dt="2021-07-11T11:41:25.260" v="332"/>
          <ac:spMkLst>
            <pc:docMk/>
            <pc:sldMk cId="1171460674" sldId="1703"/>
            <ac:spMk id="30" creationId="{7C1F2810-D7E4-4FBF-B379-6B090640D962}"/>
          </ac:spMkLst>
        </pc:spChg>
        <pc:spChg chg="mod">
          <ac:chgData name="Yash Ratanpal" userId="5db668b1-93e7-4c08-9786-4ed81315a653" providerId="ADAL" clId="{3F7A7787-00CA-42A0-97CD-637349527123}" dt="2021-07-11T11:41:25.260" v="332"/>
          <ac:spMkLst>
            <pc:docMk/>
            <pc:sldMk cId="1171460674" sldId="1703"/>
            <ac:spMk id="31" creationId="{0B346540-05C2-4DED-A0CB-4B8235567F9F}"/>
          </ac:spMkLst>
        </pc:spChg>
        <pc:spChg chg="mod">
          <ac:chgData name="Yash Ratanpal" userId="5db668b1-93e7-4c08-9786-4ed81315a653" providerId="ADAL" clId="{3F7A7787-00CA-42A0-97CD-637349527123}" dt="2021-07-11T11:41:25.260" v="332"/>
          <ac:spMkLst>
            <pc:docMk/>
            <pc:sldMk cId="1171460674" sldId="1703"/>
            <ac:spMk id="32" creationId="{C4A05EDA-D303-44F9-AD36-06D73D286D66}"/>
          </ac:spMkLst>
        </pc:spChg>
        <pc:spChg chg="mod">
          <ac:chgData name="Yash Ratanpal" userId="5db668b1-93e7-4c08-9786-4ed81315a653" providerId="ADAL" clId="{3F7A7787-00CA-42A0-97CD-637349527123}" dt="2021-07-11T11:41:25.260" v="332"/>
          <ac:spMkLst>
            <pc:docMk/>
            <pc:sldMk cId="1171460674" sldId="1703"/>
            <ac:spMk id="33" creationId="{5EC886F5-4AAF-423D-891A-71BCE6E02711}"/>
          </ac:spMkLst>
        </pc:spChg>
        <pc:spChg chg="mod">
          <ac:chgData name="Yash Ratanpal" userId="5db668b1-93e7-4c08-9786-4ed81315a653" providerId="ADAL" clId="{3F7A7787-00CA-42A0-97CD-637349527123}" dt="2021-07-11T11:41:25.260" v="332"/>
          <ac:spMkLst>
            <pc:docMk/>
            <pc:sldMk cId="1171460674" sldId="1703"/>
            <ac:spMk id="34" creationId="{CECD9189-3ED6-4064-AD69-1FF09F03978D}"/>
          </ac:spMkLst>
        </pc:spChg>
        <pc:spChg chg="mod">
          <ac:chgData name="Yash Ratanpal" userId="5db668b1-93e7-4c08-9786-4ed81315a653" providerId="ADAL" clId="{3F7A7787-00CA-42A0-97CD-637349527123}" dt="2021-07-11T11:41:25.260" v="332"/>
          <ac:spMkLst>
            <pc:docMk/>
            <pc:sldMk cId="1171460674" sldId="1703"/>
            <ac:spMk id="35" creationId="{EFD90222-E143-499B-A822-E791735891E6}"/>
          </ac:spMkLst>
        </pc:spChg>
        <pc:spChg chg="mod">
          <ac:chgData name="Yash Ratanpal" userId="5db668b1-93e7-4c08-9786-4ed81315a653" providerId="ADAL" clId="{3F7A7787-00CA-42A0-97CD-637349527123}" dt="2021-07-11T11:41:25.260" v="332"/>
          <ac:spMkLst>
            <pc:docMk/>
            <pc:sldMk cId="1171460674" sldId="1703"/>
            <ac:spMk id="36" creationId="{859D8FCF-D4C6-4916-911F-EB632B414FC0}"/>
          </ac:spMkLst>
        </pc:spChg>
        <pc:spChg chg="mod">
          <ac:chgData name="Yash Ratanpal" userId="5db668b1-93e7-4c08-9786-4ed81315a653" providerId="ADAL" clId="{3F7A7787-00CA-42A0-97CD-637349527123}" dt="2021-07-11T11:41:25.260" v="332"/>
          <ac:spMkLst>
            <pc:docMk/>
            <pc:sldMk cId="1171460674" sldId="1703"/>
            <ac:spMk id="37" creationId="{A6378C39-98F3-4CB0-9DD4-9D9811F57156}"/>
          </ac:spMkLst>
        </pc:spChg>
        <pc:spChg chg="mod">
          <ac:chgData name="Yash Ratanpal" userId="5db668b1-93e7-4c08-9786-4ed81315a653" providerId="ADAL" clId="{3F7A7787-00CA-42A0-97CD-637349527123}" dt="2021-07-11T11:41:25.260" v="332"/>
          <ac:spMkLst>
            <pc:docMk/>
            <pc:sldMk cId="1171460674" sldId="1703"/>
            <ac:spMk id="38" creationId="{F20AAF10-E510-4244-92E2-314A0B6968C6}"/>
          </ac:spMkLst>
        </pc:spChg>
        <pc:spChg chg="mod">
          <ac:chgData name="Yash Ratanpal" userId="5db668b1-93e7-4c08-9786-4ed81315a653" providerId="ADAL" clId="{3F7A7787-00CA-42A0-97CD-637349527123}" dt="2021-07-11T11:41:25.260" v="332"/>
          <ac:spMkLst>
            <pc:docMk/>
            <pc:sldMk cId="1171460674" sldId="1703"/>
            <ac:spMk id="39" creationId="{352AA75A-E8F6-4031-A33D-7A67DBE6C7AD}"/>
          </ac:spMkLst>
        </pc:spChg>
        <pc:spChg chg="mod">
          <ac:chgData name="Yash Ratanpal" userId="5db668b1-93e7-4c08-9786-4ed81315a653" providerId="ADAL" clId="{3F7A7787-00CA-42A0-97CD-637349527123}" dt="2021-07-11T11:41:25.260" v="332"/>
          <ac:spMkLst>
            <pc:docMk/>
            <pc:sldMk cId="1171460674" sldId="1703"/>
            <ac:spMk id="40" creationId="{AD737608-5BB4-443D-A32A-B2AF18789E96}"/>
          </ac:spMkLst>
        </pc:spChg>
        <pc:spChg chg="mod">
          <ac:chgData name="Yash Ratanpal" userId="5db668b1-93e7-4c08-9786-4ed81315a653" providerId="ADAL" clId="{3F7A7787-00CA-42A0-97CD-637349527123}" dt="2021-07-11T11:41:25.260" v="332"/>
          <ac:spMkLst>
            <pc:docMk/>
            <pc:sldMk cId="1171460674" sldId="1703"/>
            <ac:spMk id="41" creationId="{D9468A86-2163-450C-8801-DEAB5A1ACE21}"/>
          </ac:spMkLst>
        </pc:spChg>
        <pc:spChg chg="mod">
          <ac:chgData name="Yash Ratanpal" userId="5db668b1-93e7-4c08-9786-4ed81315a653" providerId="ADAL" clId="{3F7A7787-00CA-42A0-97CD-637349527123}" dt="2021-07-11T11:41:25.260" v="332"/>
          <ac:spMkLst>
            <pc:docMk/>
            <pc:sldMk cId="1171460674" sldId="1703"/>
            <ac:spMk id="42" creationId="{26DC3B28-9C30-49B0-88C3-9C5DFED66454}"/>
          </ac:spMkLst>
        </pc:spChg>
        <pc:spChg chg="mod">
          <ac:chgData name="Yash Ratanpal" userId="5db668b1-93e7-4c08-9786-4ed81315a653" providerId="ADAL" clId="{3F7A7787-00CA-42A0-97CD-637349527123}" dt="2021-07-11T11:41:25.260" v="332"/>
          <ac:spMkLst>
            <pc:docMk/>
            <pc:sldMk cId="1171460674" sldId="1703"/>
            <ac:spMk id="43" creationId="{842B6F31-3E30-499F-8BF1-9C81BFCFAF14}"/>
          </ac:spMkLst>
        </pc:spChg>
        <pc:spChg chg="mod">
          <ac:chgData name="Yash Ratanpal" userId="5db668b1-93e7-4c08-9786-4ed81315a653" providerId="ADAL" clId="{3F7A7787-00CA-42A0-97CD-637349527123}" dt="2021-07-11T11:41:25.260" v="332"/>
          <ac:spMkLst>
            <pc:docMk/>
            <pc:sldMk cId="1171460674" sldId="1703"/>
            <ac:spMk id="44" creationId="{14BABC2D-082C-4305-B91D-F119A529ED4C}"/>
          </ac:spMkLst>
        </pc:spChg>
        <pc:spChg chg="mod">
          <ac:chgData name="Yash Ratanpal" userId="5db668b1-93e7-4c08-9786-4ed81315a653" providerId="ADAL" clId="{3F7A7787-00CA-42A0-97CD-637349527123}" dt="2021-07-11T11:41:25.260" v="332"/>
          <ac:spMkLst>
            <pc:docMk/>
            <pc:sldMk cId="1171460674" sldId="1703"/>
            <ac:spMk id="45" creationId="{5A4E79F8-7F9D-40A7-A86F-D93ACD0D696E}"/>
          </ac:spMkLst>
        </pc:spChg>
        <pc:spChg chg="add del mod">
          <ac:chgData name="Yash Ratanpal" userId="5db668b1-93e7-4c08-9786-4ed81315a653" providerId="ADAL" clId="{3F7A7787-00CA-42A0-97CD-637349527123}" dt="2021-07-11T11:41:41.484" v="337" actId="478"/>
          <ac:spMkLst>
            <pc:docMk/>
            <pc:sldMk cId="1171460674" sldId="1703"/>
            <ac:spMk id="46" creationId="{D3EAB69F-7F9B-4B26-97EC-978242EC35E3}"/>
          </ac:spMkLst>
        </pc:spChg>
        <pc:spChg chg="add del mod">
          <ac:chgData name="Yash Ratanpal" userId="5db668b1-93e7-4c08-9786-4ed81315a653" providerId="ADAL" clId="{3F7A7787-00CA-42A0-97CD-637349527123}" dt="2021-07-11T11:41:41.484" v="337" actId="478"/>
          <ac:spMkLst>
            <pc:docMk/>
            <pc:sldMk cId="1171460674" sldId="1703"/>
            <ac:spMk id="47" creationId="{C6563A11-0AE1-411B-A4D4-61C12ACB0E28}"/>
          </ac:spMkLst>
        </pc:spChg>
        <pc:spChg chg="add del mod">
          <ac:chgData name="Yash Ratanpal" userId="5db668b1-93e7-4c08-9786-4ed81315a653" providerId="ADAL" clId="{3F7A7787-00CA-42A0-97CD-637349527123}" dt="2021-07-11T11:41:41.484" v="337" actId="478"/>
          <ac:spMkLst>
            <pc:docMk/>
            <pc:sldMk cId="1171460674" sldId="1703"/>
            <ac:spMk id="49" creationId="{48E88F78-08F8-4023-AE25-769927BC3B59}"/>
          </ac:spMkLst>
        </pc:spChg>
        <pc:spChg chg="add del mod">
          <ac:chgData name="Yash Ratanpal" userId="5db668b1-93e7-4c08-9786-4ed81315a653" providerId="ADAL" clId="{3F7A7787-00CA-42A0-97CD-637349527123}" dt="2021-07-11T11:41:41.484" v="337" actId="478"/>
          <ac:spMkLst>
            <pc:docMk/>
            <pc:sldMk cId="1171460674" sldId="1703"/>
            <ac:spMk id="50" creationId="{DF6AEBA6-51B2-4B41-B195-40F19E0718FD}"/>
          </ac:spMkLst>
        </pc:spChg>
        <pc:spChg chg="add del mod">
          <ac:chgData name="Yash Ratanpal" userId="5db668b1-93e7-4c08-9786-4ed81315a653" providerId="ADAL" clId="{3F7A7787-00CA-42A0-97CD-637349527123}" dt="2021-07-11T11:41:41.484" v="337" actId="478"/>
          <ac:spMkLst>
            <pc:docMk/>
            <pc:sldMk cId="1171460674" sldId="1703"/>
            <ac:spMk id="51" creationId="{9D996712-272E-4F23-A6D6-3BE0527853C2}"/>
          </ac:spMkLst>
        </pc:spChg>
        <pc:spChg chg="add del mod">
          <ac:chgData name="Yash Ratanpal" userId="5db668b1-93e7-4c08-9786-4ed81315a653" providerId="ADAL" clId="{3F7A7787-00CA-42A0-97CD-637349527123}" dt="2021-07-11T11:41:41.484" v="337" actId="478"/>
          <ac:spMkLst>
            <pc:docMk/>
            <pc:sldMk cId="1171460674" sldId="1703"/>
            <ac:spMk id="52" creationId="{A8ED30F3-8839-4AE5-B209-B818545F2402}"/>
          </ac:spMkLst>
        </pc:spChg>
        <pc:spChg chg="add del mod">
          <ac:chgData name="Yash Ratanpal" userId="5db668b1-93e7-4c08-9786-4ed81315a653" providerId="ADAL" clId="{3F7A7787-00CA-42A0-97CD-637349527123}" dt="2021-07-11T11:41:41.484" v="337" actId="478"/>
          <ac:spMkLst>
            <pc:docMk/>
            <pc:sldMk cId="1171460674" sldId="1703"/>
            <ac:spMk id="53" creationId="{DAA8082A-C6FB-4AE9-94E6-24D5CA271E1E}"/>
          </ac:spMkLst>
        </pc:spChg>
        <pc:spChg chg="add del mod">
          <ac:chgData name="Yash Ratanpal" userId="5db668b1-93e7-4c08-9786-4ed81315a653" providerId="ADAL" clId="{3F7A7787-00CA-42A0-97CD-637349527123}" dt="2021-07-11T11:41:41.484" v="337" actId="478"/>
          <ac:spMkLst>
            <pc:docMk/>
            <pc:sldMk cId="1171460674" sldId="1703"/>
            <ac:spMk id="54" creationId="{A9F53002-6A43-4BE0-B736-9887613CA6AC}"/>
          </ac:spMkLst>
        </pc:spChg>
        <pc:spChg chg="add del mod">
          <ac:chgData name="Yash Ratanpal" userId="5db668b1-93e7-4c08-9786-4ed81315a653" providerId="ADAL" clId="{3F7A7787-00CA-42A0-97CD-637349527123}" dt="2021-07-11T11:41:41.484" v="337" actId="478"/>
          <ac:spMkLst>
            <pc:docMk/>
            <pc:sldMk cId="1171460674" sldId="1703"/>
            <ac:spMk id="55" creationId="{D0B9E703-9522-4D6C-9597-9DCA8F5B93F1}"/>
          </ac:spMkLst>
        </pc:spChg>
        <pc:spChg chg="add del mod">
          <ac:chgData name="Yash Ratanpal" userId="5db668b1-93e7-4c08-9786-4ed81315a653" providerId="ADAL" clId="{3F7A7787-00CA-42A0-97CD-637349527123}" dt="2021-07-11T11:41:41.484" v="337" actId="478"/>
          <ac:spMkLst>
            <pc:docMk/>
            <pc:sldMk cId="1171460674" sldId="1703"/>
            <ac:spMk id="56" creationId="{9ECD2BAA-9C30-42BA-A545-0BA0C494A5BD}"/>
          </ac:spMkLst>
        </pc:spChg>
        <pc:spChg chg="add del mod">
          <ac:chgData name="Yash Ratanpal" userId="5db668b1-93e7-4c08-9786-4ed81315a653" providerId="ADAL" clId="{3F7A7787-00CA-42A0-97CD-637349527123}" dt="2021-07-11T11:41:41.484" v="337" actId="478"/>
          <ac:spMkLst>
            <pc:docMk/>
            <pc:sldMk cId="1171460674" sldId="1703"/>
            <ac:spMk id="57" creationId="{42DEE1EA-38D5-4A00-9FC4-CBE0E8E75BC5}"/>
          </ac:spMkLst>
        </pc:spChg>
        <pc:spChg chg="add del mod">
          <ac:chgData name="Yash Ratanpal" userId="5db668b1-93e7-4c08-9786-4ed81315a653" providerId="ADAL" clId="{3F7A7787-00CA-42A0-97CD-637349527123}" dt="2021-07-11T11:41:41.484" v="337" actId="478"/>
          <ac:spMkLst>
            <pc:docMk/>
            <pc:sldMk cId="1171460674" sldId="1703"/>
            <ac:spMk id="58" creationId="{2EB352E1-4F6F-41D2-B365-1A2C0A2D5663}"/>
          </ac:spMkLst>
        </pc:spChg>
        <pc:spChg chg="add del mod">
          <ac:chgData name="Yash Ratanpal" userId="5db668b1-93e7-4c08-9786-4ed81315a653" providerId="ADAL" clId="{3F7A7787-00CA-42A0-97CD-637349527123}" dt="2021-07-11T11:41:41.484" v="337" actId="478"/>
          <ac:spMkLst>
            <pc:docMk/>
            <pc:sldMk cId="1171460674" sldId="1703"/>
            <ac:spMk id="59" creationId="{AC20CF81-F040-4E51-8B69-05D7E149EA32}"/>
          </ac:spMkLst>
        </pc:spChg>
        <pc:spChg chg="add del mod">
          <ac:chgData name="Yash Ratanpal" userId="5db668b1-93e7-4c08-9786-4ed81315a653" providerId="ADAL" clId="{3F7A7787-00CA-42A0-97CD-637349527123}" dt="2021-07-11T11:41:41.484" v="337" actId="478"/>
          <ac:spMkLst>
            <pc:docMk/>
            <pc:sldMk cId="1171460674" sldId="1703"/>
            <ac:spMk id="60" creationId="{FC7720DB-4ABF-4807-868C-444BDF5CB197}"/>
          </ac:spMkLst>
        </pc:spChg>
        <pc:spChg chg="add del mod">
          <ac:chgData name="Yash Ratanpal" userId="5db668b1-93e7-4c08-9786-4ed81315a653" providerId="ADAL" clId="{3F7A7787-00CA-42A0-97CD-637349527123}" dt="2021-07-11T11:41:41.484" v="337" actId="478"/>
          <ac:spMkLst>
            <pc:docMk/>
            <pc:sldMk cId="1171460674" sldId="1703"/>
            <ac:spMk id="61" creationId="{2F8E2BD7-712A-4391-A43D-5D64B7C0EFFE}"/>
          </ac:spMkLst>
        </pc:spChg>
        <pc:spChg chg="add del mod">
          <ac:chgData name="Yash Ratanpal" userId="5db668b1-93e7-4c08-9786-4ed81315a653" providerId="ADAL" clId="{3F7A7787-00CA-42A0-97CD-637349527123}" dt="2021-07-11T11:41:41.484" v="337" actId="478"/>
          <ac:spMkLst>
            <pc:docMk/>
            <pc:sldMk cId="1171460674" sldId="1703"/>
            <ac:spMk id="62" creationId="{C6A06DBE-2F7F-439A-AF62-82E29AD678D9}"/>
          </ac:spMkLst>
        </pc:spChg>
        <pc:spChg chg="add del mod">
          <ac:chgData name="Yash Ratanpal" userId="5db668b1-93e7-4c08-9786-4ed81315a653" providerId="ADAL" clId="{3F7A7787-00CA-42A0-97CD-637349527123}" dt="2021-07-11T11:41:41.484" v="337" actId="478"/>
          <ac:spMkLst>
            <pc:docMk/>
            <pc:sldMk cId="1171460674" sldId="1703"/>
            <ac:spMk id="63" creationId="{2FE7FE21-B9C8-407E-93CC-D99706D87B2A}"/>
          </ac:spMkLst>
        </pc:spChg>
        <pc:spChg chg="add del mod">
          <ac:chgData name="Yash Ratanpal" userId="5db668b1-93e7-4c08-9786-4ed81315a653" providerId="ADAL" clId="{3F7A7787-00CA-42A0-97CD-637349527123}" dt="2021-07-11T11:41:41.484" v="337" actId="478"/>
          <ac:spMkLst>
            <pc:docMk/>
            <pc:sldMk cId="1171460674" sldId="1703"/>
            <ac:spMk id="64" creationId="{43E16117-BCC6-4607-9C96-D91A6861D01D}"/>
          </ac:spMkLst>
        </pc:spChg>
        <pc:spChg chg="add del mod">
          <ac:chgData name="Yash Ratanpal" userId="5db668b1-93e7-4c08-9786-4ed81315a653" providerId="ADAL" clId="{3F7A7787-00CA-42A0-97CD-637349527123}" dt="2021-07-11T11:41:41.484" v="337" actId="478"/>
          <ac:spMkLst>
            <pc:docMk/>
            <pc:sldMk cId="1171460674" sldId="1703"/>
            <ac:spMk id="65" creationId="{6E8FF1CC-C47E-4D8E-B16A-C467E9FDDCAA}"/>
          </ac:spMkLst>
        </pc:spChg>
        <pc:spChg chg="add del mod">
          <ac:chgData name="Yash Ratanpal" userId="5db668b1-93e7-4c08-9786-4ed81315a653" providerId="ADAL" clId="{3F7A7787-00CA-42A0-97CD-637349527123}" dt="2021-07-11T11:41:41.484" v="337" actId="478"/>
          <ac:spMkLst>
            <pc:docMk/>
            <pc:sldMk cId="1171460674" sldId="1703"/>
            <ac:spMk id="66" creationId="{388BEA26-B15B-4729-B7A8-D6D77B5598B3}"/>
          </ac:spMkLst>
        </pc:spChg>
        <pc:spChg chg="add del mod">
          <ac:chgData name="Yash Ratanpal" userId="5db668b1-93e7-4c08-9786-4ed81315a653" providerId="ADAL" clId="{3F7A7787-00CA-42A0-97CD-637349527123}" dt="2021-07-11T11:41:41.484" v="337" actId="478"/>
          <ac:spMkLst>
            <pc:docMk/>
            <pc:sldMk cId="1171460674" sldId="1703"/>
            <ac:spMk id="67" creationId="{0E62EF1D-FFD8-4F79-9DA5-227A10EB2781}"/>
          </ac:spMkLst>
        </pc:spChg>
        <pc:spChg chg="mod">
          <ac:chgData name="Yash Ratanpal" userId="5db668b1-93e7-4c08-9786-4ed81315a653" providerId="ADAL" clId="{3F7A7787-00CA-42A0-97CD-637349527123}" dt="2021-07-11T11:41:27.729" v="334"/>
          <ac:spMkLst>
            <pc:docMk/>
            <pc:sldMk cId="1171460674" sldId="1703"/>
            <ac:spMk id="69" creationId="{D87039B8-E43F-4C39-92F2-B2DD5370DB08}"/>
          </ac:spMkLst>
        </pc:spChg>
        <pc:spChg chg="mod">
          <ac:chgData name="Yash Ratanpal" userId="5db668b1-93e7-4c08-9786-4ed81315a653" providerId="ADAL" clId="{3F7A7787-00CA-42A0-97CD-637349527123}" dt="2021-07-11T11:41:27.729" v="334"/>
          <ac:spMkLst>
            <pc:docMk/>
            <pc:sldMk cId="1171460674" sldId="1703"/>
            <ac:spMk id="70" creationId="{BF54848E-EBF4-4509-87E7-D27E1CB42528}"/>
          </ac:spMkLst>
        </pc:spChg>
        <pc:spChg chg="mod">
          <ac:chgData name="Yash Ratanpal" userId="5db668b1-93e7-4c08-9786-4ed81315a653" providerId="ADAL" clId="{3F7A7787-00CA-42A0-97CD-637349527123}" dt="2021-07-11T11:41:27.729" v="334"/>
          <ac:spMkLst>
            <pc:docMk/>
            <pc:sldMk cId="1171460674" sldId="1703"/>
            <ac:spMk id="71" creationId="{6EE35A80-E25E-4497-90BE-5828CBB712D8}"/>
          </ac:spMkLst>
        </pc:spChg>
        <pc:spChg chg="mod">
          <ac:chgData name="Yash Ratanpal" userId="5db668b1-93e7-4c08-9786-4ed81315a653" providerId="ADAL" clId="{3F7A7787-00CA-42A0-97CD-637349527123}" dt="2021-07-11T11:41:27.729" v="334"/>
          <ac:spMkLst>
            <pc:docMk/>
            <pc:sldMk cId="1171460674" sldId="1703"/>
            <ac:spMk id="72" creationId="{2F39E2A4-1C24-4F37-B8CA-9ADC46972E42}"/>
          </ac:spMkLst>
        </pc:spChg>
        <pc:spChg chg="mod">
          <ac:chgData name="Yash Ratanpal" userId="5db668b1-93e7-4c08-9786-4ed81315a653" providerId="ADAL" clId="{3F7A7787-00CA-42A0-97CD-637349527123}" dt="2021-07-11T11:41:27.729" v="334"/>
          <ac:spMkLst>
            <pc:docMk/>
            <pc:sldMk cId="1171460674" sldId="1703"/>
            <ac:spMk id="73" creationId="{51BBC5D6-9D15-4754-A36D-E67CC08752CB}"/>
          </ac:spMkLst>
        </pc:spChg>
        <pc:spChg chg="mod">
          <ac:chgData name="Yash Ratanpal" userId="5db668b1-93e7-4c08-9786-4ed81315a653" providerId="ADAL" clId="{3F7A7787-00CA-42A0-97CD-637349527123}" dt="2021-07-11T11:41:27.729" v="334"/>
          <ac:spMkLst>
            <pc:docMk/>
            <pc:sldMk cId="1171460674" sldId="1703"/>
            <ac:spMk id="74" creationId="{C79A1026-397F-4A55-AA71-EC0A5EDD3C2F}"/>
          </ac:spMkLst>
        </pc:spChg>
        <pc:spChg chg="mod">
          <ac:chgData name="Yash Ratanpal" userId="5db668b1-93e7-4c08-9786-4ed81315a653" providerId="ADAL" clId="{3F7A7787-00CA-42A0-97CD-637349527123}" dt="2021-07-11T11:41:27.729" v="334"/>
          <ac:spMkLst>
            <pc:docMk/>
            <pc:sldMk cId="1171460674" sldId="1703"/>
            <ac:spMk id="75" creationId="{B3CEC9EB-7130-4753-85B9-6F92589F03F5}"/>
          </ac:spMkLst>
        </pc:spChg>
        <pc:spChg chg="mod">
          <ac:chgData name="Yash Ratanpal" userId="5db668b1-93e7-4c08-9786-4ed81315a653" providerId="ADAL" clId="{3F7A7787-00CA-42A0-97CD-637349527123}" dt="2021-07-11T11:41:27.729" v="334"/>
          <ac:spMkLst>
            <pc:docMk/>
            <pc:sldMk cId="1171460674" sldId="1703"/>
            <ac:spMk id="76" creationId="{E38E1198-C7E5-4A1C-B991-C760BED67EB3}"/>
          </ac:spMkLst>
        </pc:spChg>
        <pc:spChg chg="mod">
          <ac:chgData name="Yash Ratanpal" userId="5db668b1-93e7-4c08-9786-4ed81315a653" providerId="ADAL" clId="{3F7A7787-00CA-42A0-97CD-637349527123}" dt="2021-07-11T11:41:27.729" v="334"/>
          <ac:spMkLst>
            <pc:docMk/>
            <pc:sldMk cId="1171460674" sldId="1703"/>
            <ac:spMk id="77" creationId="{41E5BDD2-A996-4366-AAC1-F34CCC3A775E}"/>
          </ac:spMkLst>
        </pc:spChg>
        <pc:spChg chg="mod">
          <ac:chgData name="Yash Ratanpal" userId="5db668b1-93e7-4c08-9786-4ed81315a653" providerId="ADAL" clId="{3F7A7787-00CA-42A0-97CD-637349527123}" dt="2021-07-11T11:41:27.729" v="334"/>
          <ac:spMkLst>
            <pc:docMk/>
            <pc:sldMk cId="1171460674" sldId="1703"/>
            <ac:spMk id="78" creationId="{1A00A3E2-ABA9-43B6-8FE9-853546C9EEC9}"/>
          </ac:spMkLst>
        </pc:spChg>
        <pc:spChg chg="mod">
          <ac:chgData name="Yash Ratanpal" userId="5db668b1-93e7-4c08-9786-4ed81315a653" providerId="ADAL" clId="{3F7A7787-00CA-42A0-97CD-637349527123}" dt="2021-07-11T11:41:27.729" v="334"/>
          <ac:spMkLst>
            <pc:docMk/>
            <pc:sldMk cId="1171460674" sldId="1703"/>
            <ac:spMk id="79" creationId="{DC65F6D7-A7AA-4D02-8C60-DA2F3E6F3BC7}"/>
          </ac:spMkLst>
        </pc:spChg>
        <pc:spChg chg="mod">
          <ac:chgData name="Yash Ratanpal" userId="5db668b1-93e7-4c08-9786-4ed81315a653" providerId="ADAL" clId="{3F7A7787-00CA-42A0-97CD-637349527123}" dt="2021-07-11T11:41:27.729" v="334"/>
          <ac:spMkLst>
            <pc:docMk/>
            <pc:sldMk cId="1171460674" sldId="1703"/>
            <ac:spMk id="80" creationId="{FF183907-4643-4C4A-8FFE-E8D02B00098B}"/>
          </ac:spMkLst>
        </pc:spChg>
        <pc:spChg chg="mod">
          <ac:chgData name="Yash Ratanpal" userId="5db668b1-93e7-4c08-9786-4ed81315a653" providerId="ADAL" clId="{3F7A7787-00CA-42A0-97CD-637349527123}" dt="2021-07-11T11:41:27.729" v="334"/>
          <ac:spMkLst>
            <pc:docMk/>
            <pc:sldMk cId="1171460674" sldId="1703"/>
            <ac:spMk id="81" creationId="{6DEC4B95-60C6-4DCF-99AF-AA2E833ECC39}"/>
          </ac:spMkLst>
        </pc:spChg>
        <pc:spChg chg="mod">
          <ac:chgData name="Yash Ratanpal" userId="5db668b1-93e7-4c08-9786-4ed81315a653" providerId="ADAL" clId="{3F7A7787-00CA-42A0-97CD-637349527123}" dt="2021-07-11T11:41:27.729" v="334"/>
          <ac:spMkLst>
            <pc:docMk/>
            <pc:sldMk cId="1171460674" sldId="1703"/>
            <ac:spMk id="82" creationId="{A7759B76-9F05-4215-AE6C-C9F308C6B9F4}"/>
          </ac:spMkLst>
        </pc:spChg>
        <pc:spChg chg="mod">
          <ac:chgData name="Yash Ratanpal" userId="5db668b1-93e7-4c08-9786-4ed81315a653" providerId="ADAL" clId="{3F7A7787-00CA-42A0-97CD-637349527123}" dt="2021-07-11T11:41:27.729" v="334"/>
          <ac:spMkLst>
            <pc:docMk/>
            <pc:sldMk cId="1171460674" sldId="1703"/>
            <ac:spMk id="83" creationId="{7B08421E-2FD9-4E8D-B0AE-6FA32E7BE515}"/>
          </ac:spMkLst>
        </pc:spChg>
        <pc:spChg chg="mod">
          <ac:chgData name="Yash Ratanpal" userId="5db668b1-93e7-4c08-9786-4ed81315a653" providerId="ADAL" clId="{3F7A7787-00CA-42A0-97CD-637349527123}" dt="2021-07-11T11:41:27.729" v="334"/>
          <ac:spMkLst>
            <pc:docMk/>
            <pc:sldMk cId="1171460674" sldId="1703"/>
            <ac:spMk id="84" creationId="{CF9EC3A5-70EB-4933-A76E-0E24984DC32B}"/>
          </ac:spMkLst>
        </pc:spChg>
        <pc:spChg chg="mod">
          <ac:chgData name="Yash Ratanpal" userId="5db668b1-93e7-4c08-9786-4ed81315a653" providerId="ADAL" clId="{3F7A7787-00CA-42A0-97CD-637349527123}" dt="2021-07-11T11:41:27.729" v="334"/>
          <ac:spMkLst>
            <pc:docMk/>
            <pc:sldMk cId="1171460674" sldId="1703"/>
            <ac:spMk id="85" creationId="{8EF32ED7-740B-4E32-A58E-916624F5B7B6}"/>
          </ac:spMkLst>
        </pc:spChg>
        <pc:spChg chg="mod">
          <ac:chgData name="Yash Ratanpal" userId="5db668b1-93e7-4c08-9786-4ed81315a653" providerId="ADAL" clId="{3F7A7787-00CA-42A0-97CD-637349527123}" dt="2021-07-11T11:41:27.729" v="334"/>
          <ac:spMkLst>
            <pc:docMk/>
            <pc:sldMk cId="1171460674" sldId="1703"/>
            <ac:spMk id="86" creationId="{652B25A7-0979-416A-9FE1-4FBF9B3E0FCA}"/>
          </ac:spMkLst>
        </pc:spChg>
        <pc:spChg chg="add mod">
          <ac:chgData name="Yash Ratanpal" userId="5db668b1-93e7-4c08-9786-4ed81315a653" providerId="ADAL" clId="{3F7A7787-00CA-42A0-97CD-637349527123}" dt="2021-07-11T11:42:10.118" v="339" actId="1076"/>
          <ac:spMkLst>
            <pc:docMk/>
            <pc:sldMk cId="1171460674" sldId="1703"/>
            <ac:spMk id="87" creationId="{C1A8F2FB-C6EB-465F-B5BC-3F2E45137349}"/>
          </ac:spMkLst>
        </pc:spChg>
        <pc:spChg chg="add mod">
          <ac:chgData name="Yash Ratanpal" userId="5db668b1-93e7-4c08-9786-4ed81315a653" providerId="ADAL" clId="{3F7A7787-00CA-42A0-97CD-637349527123}" dt="2021-07-11T11:42:10.118" v="339" actId="1076"/>
          <ac:spMkLst>
            <pc:docMk/>
            <pc:sldMk cId="1171460674" sldId="1703"/>
            <ac:spMk id="88" creationId="{FBB4E47F-1B37-47DD-A844-D520E189D285}"/>
          </ac:spMkLst>
        </pc:spChg>
        <pc:spChg chg="add mod">
          <ac:chgData name="Yash Ratanpal" userId="5db668b1-93e7-4c08-9786-4ed81315a653" providerId="ADAL" clId="{3F7A7787-00CA-42A0-97CD-637349527123}" dt="2021-07-11T11:42:10.118" v="339" actId="1076"/>
          <ac:spMkLst>
            <pc:docMk/>
            <pc:sldMk cId="1171460674" sldId="1703"/>
            <ac:spMk id="90" creationId="{0F47427B-A059-436E-9620-59F7D7A3B8C6}"/>
          </ac:spMkLst>
        </pc:spChg>
        <pc:spChg chg="add mod">
          <ac:chgData name="Yash Ratanpal" userId="5db668b1-93e7-4c08-9786-4ed81315a653" providerId="ADAL" clId="{3F7A7787-00CA-42A0-97CD-637349527123}" dt="2021-07-11T11:42:10.118" v="339" actId="1076"/>
          <ac:spMkLst>
            <pc:docMk/>
            <pc:sldMk cId="1171460674" sldId="1703"/>
            <ac:spMk id="91" creationId="{3B261B09-3B6D-40F3-A376-08897679B23B}"/>
          </ac:spMkLst>
        </pc:spChg>
        <pc:spChg chg="add mod">
          <ac:chgData name="Yash Ratanpal" userId="5db668b1-93e7-4c08-9786-4ed81315a653" providerId="ADAL" clId="{3F7A7787-00CA-42A0-97CD-637349527123}" dt="2021-07-11T11:42:10.118" v="339" actId="1076"/>
          <ac:spMkLst>
            <pc:docMk/>
            <pc:sldMk cId="1171460674" sldId="1703"/>
            <ac:spMk id="92" creationId="{CF99227E-F368-498A-8812-951779A78A15}"/>
          </ac:spMkLst>
        </pc:spChg>
        <pc:spChg chg="add mod">
          <ac:chgData name="Yash Ratanpal" userId="5db668b1-93e7-4c08-9786-4ed81315a653" providerId="ADAL" clId="{3F7A7787-00CA-42A0-97CD-637349527123}" dt="2021-07-11T11:42:10.118" v="339" actId="1076"/>
          <ac:spMkLst>
            <pc:docMk/>
            <pc:sldMk cId="1171460674" sldId="1703"/>
            <ac:spMk id="93" creationId="{5A95863E-1DB8-4FA4-92C8-5E99390E7CE1}"/>
          </ac:spMkLst>
        </pc:spChg>
        <pc:spChg chg="add mod">
          <ac:chgData name="Yash Ratanpal" userId="5db668b1-93e7-4c08-9786-4ed81315a653" providerId="ADAL" clId="{3F7A7787-00CA-42A0-97CD-637349527123}" dt="2021-07-11T11:42:10.118" v="339" actId="1076"/>
          <ac:spMkLst>
            <pc:docMk/>
            <pc:sldMk cId="1171460674" sldId="1703"/>
            <ac:spMk id="94" creationId="{E215E584-BBA0-4B50-8160-A58B1A1AD996}"/>
          </ac:spMkLst>
        </pc:spChg>
        <pc:spChg chg="add mod">
          <ac:chgData name="Yash Ratanpal" userId="5db668b1-93e7-4c08-9786-4ed81315a653" providerId="ADAL" clId="{3F7A7787-00CA-42A0-97CD-637349527123}" dt="2021-07-11T11:42:10.118" v="339" actId="1076"/>
          <ac:spMkLst>
            <pc:docMk/>
            <pc:sldMk cId="1171460674" sldId="1703"/>
            <ac:spMk id="95" creationId="{9A58BE4A-D9A3-459E-A09F-12942BB41667}"/>
          </ac:spMkLst>
        </pc:spChg>
        <pc:spChg chg="add mod">
          <ac:chgData name="Yash Ratanpal" userId="5db668b1-93e7-4c08-9786-4ed81315a653" providerId="ADAL" clId="{3F7A7787-00CA-42A0-97CD-637349527123}" dt="2021-07-11T11:42:10.118" v="339" actId="1076"/>
          <ac:spMkLst>
            <pc:docMk/>
            <pc:sldMk cId="1171460674" sldId="1703"/>
            <ac:spMk id="96" creationId="{DA9099CC-BC67-4487-9B01-F5CD8E9BB609}"/>
          </ac:spMkLst>
        </pc:spChg>
        <pc:spChg chg="add mod">
          <ac:chgData name="Yash Ratanpal" userId="5db668b1-93e7-4c08-9786-4ed81315a653" providerId="ADAL" clId="{3F7A7787-00CA-42A0-97CD-637349527123}" dt="2021-07-11T11:42:10.118" v="339" actId="1076"/>
          <ac:spMkLst>
            <pc:docMk/>
            <pc:sldMk cId="1171460674" sldId="1703"/>
            <ac:spMk id="97" creationId="{0D91D246-D141-42EB-B54F-0840F6D3D3AC}"/>
          </ac:spMkLst>
        </pc:spChg>
        <pc:spChg chg="add mod">
          <ac:chgData name="Yash Ratanpal" userId="5db668b1-93e7-4c08-9786-4ed81315a653" providerId="ADAL" clId="{3F7A7787-00CA-42A0-97CD-637349527123}" dt="2021-07-11T11:42:10.118" v="339" actId="1076"/>
          <ac:spMkLst>
            <pc:docMk/>
            <pc:sldMk cId="1171460674" sldId="1703"/>
            <ac:spMk id="98" creationId="{3F52E695-4B62-4E30-9A89-4C477B68B96F}"/>
          </ac:spMkLst>
        </pc:spChg>
        <pc:spChg chg="add mod">
          <ac:chgData name="Yash Ratanpal" userId="5db668b1-93e7-4c08-9786-4ed81315a653" providerId="ADAL" clId="{3F7A7787-00CA-42A0-97CD-637349527123}" dt="2021-07-11T11:42:10.118" v="339" actId="1076"/>
          <ac:spMkLst>
            <pc:docMk/>
            <pc:sldMk cId="1171460674" sldId="1703"/>
            <ac:spMk id="99" creationId="{CD1389DC-2EAB-4292-8F14-6601F531FB2F}"/>
          </ac:spMkLst>
        </pc:spChg>
        <pc:spChg chg="add mod">
          <ac:chgData name="Yash Ratanpal" userId="5db668b1-93e7-4c08-9786-4ed81315a653" providerId="ADAL" clId="{3F7A7787-00CA-42A0-97CD-637349527123}" dt="2021-07-11T11:42:10.118" v="339" actId="1076"/>
          <ac:spMkLst>
            <pc:docMk/>
            <pc:sldMk cId="1171460674" sldId="1703"/>
            <ac:spMk id="100" creationId="{504F5F89-2831-4714-B10A-67AFD6B92ECD}"/>
          </ac:spMkLst>
        </pc:spChg>
        <pc:spChg chg="add mod">
          <ac:chgData name="Yash Ratanpal" userId="5db668b1-93e7-4c08-9786-4ed81315a653" providerId="ADAL" clId="{3F7A7787-00CA-42A0-97CD-637349527123}" dt="2021-07-11T11:42:10.118" v="339" actId="1076"/>
          <ac:spMkLst>
            <pc:docMk/>
            <pc:sldMk cId="1171460674" sldId="1703"/>
            <ac:spMk id="101" creationId="{BE812A37-9CC1-466E-9562-7BD62E5128DE}"/>
          </ac:spMkLst>
        </pc:spChg>
        <pc:spChg chg="add mod">
          <ac:chgData name="Yash Ratanpal" userId="5db668b1-93e7-4c08-9786-4ed81315a653" providerId="ADAL" clId="{3F7A7787-00CA-42A0-97CD-637349527123}" dt="2021-07-11T11:42:10.118" v="339" actId="1076"/>
          <ac:spMkLst>
            <pc:docMk/>
            <pc:sldMk cId="1171460674" sldId="1703"/>
            <ac:spMk id="102" creationId="{7D2E37D4-88E8-4C5C-9B31-82A1194D2E1F}"/>
          </ac:spMkLst>
        </pc:spChg>
        <pc:spChg chg="add mod">
          <ac:chgData name="Yash Ratanpal" userId="5db668b1-93e7-4c08-9786-4ed81315a653" providerId="ADAL" clId="{3F7A7787-00CA-42A0-97CD-637349527123}" dt="2021-07-11T11:42:10.118" v="339" actId="1076"/>
          <ac:spMkLst>
            <pc:docMk/>
            <pc:sldMk cId="1171460674" sldId="1703"/>
            <ac:spMk id="103" creationId="{F7685AF2-8A3E-4A3C-90CB-3CA2FDD8ADBE}"/>
          </ac:spMkLst>
        </pc:spChg>
        <pc:spChg chg="add mod">
          <ac:chgData name="Yash Ratanpal" userId="5db668b1-93e7-4c08-9786-4ed81315a653" providerId="ADAL" clId="{3F7A7787-00CA-42A0-97CD-637349527123}" dt="2021-07-11T11:42:10.118" v="339" actId="1076"/>
          <ac:spMkLst>
            <pc:docMk/>
            <pc:sldMk cId="1171460674" sldId="1703"/>
            <ac:spMk id="104" creationId="{42F67B06-6379-4819-9FB1-1976E44F1C73}"/>
          </ac:spMkLst>
        </pc:spChg>
        <pc:spChg chg="add mod">
          <ac:chgData name="Yash Ratanpal" userId="5db668b1-93e7-4c08-9786-4ed81315a653" providerId="ADAL" clId="{3F7A7787-00CA-42A0-97CD-637349527123}" dt="2021-07-11T11:42:10.118" v="339" actId="1076"/>
          <ac:spMkLst>
            <pc:docMk/>
            <pc:sldMk cId="1171460674" sldId="1703"/>
            <ac:spMk id="105" creationId="{217BA448-11AC-49F0-BFE2-B698660932CB}"/>
          </ac:spMkLst>
        </pc:spChg>
        <pc:spChg chg="add mod">
          <ac:chgData name="Yash Ratanpal" userId="5db668b1-93e7-4c08-9786-4ed81315a653" providerId="ADAL" clId="{3F7A7787-00CA-42A0-97CD-637349527123}" dt="2021-07-11T11:42:10.118" v="339" actId="1076"/>
          <ac:spMkLst>
            <pc:docMk/>
            <pc:sldMk cId="1171460674" sldId="1703"/>
            <ac:spMk id="106" creationId="{A6B30FC3-48D1-4160-AB73-32E6617749ED}"/>
          </ac:spMkLst>
        </pc:spChg>
        <pc:spChg chg="add mod">
          <ac:chgData name="Yash Ratanpal" userId="5db668b1-93e7-4c08-9786-4ed81315a653" providerId="ADAL" clId="{3F7A7787-00CA-42A0-97CD-637349527123}" dt="2021-07-11T11:42:10.118" v="339" actId="1076"/>
          <ac:spMkLst>
            <pc:docMk/>
            <pc:sldMk cId="1171460674" sldId="1703"/>
            <ac:spMk id="107" creationId="{3B466589-AD65-44C4-BC42-F1AF43865DC5}"/>
          </ac:spMkLst>
        </pc:spChg>
        <pc:spChg chg="add mod">
          <ac:chgData name="Yash Ratanpal" userId="5db668b1-93e7-4c08-9786-4ed81315a653" providerId="ADAL" clId="{3F7A7787-00CA-42A0-97CD-637349527123}" dt="2021-07-11T11:42:10.118" v="339" actId="1076"/>
          <ac:spMkLst>
            <pc:docMk/>
            <pc:sldMk cId="1171460674" sldId="1703"/>
            <ac:spMk id="108" creationId="{0560212D-8C40-4302-A037-36104061CFC2}"/>
          </ac:spMkLst>
        </pc:spChg>
        <pc:spChg chg="mod topLvl">
          <ac:chgData name="Yash Ratanpal" userId="5db668b1-93e7-4c08-9786-4ed81315a653" providerId="ADAL" clId="{3F7A7787-00CA-42A0-97CD-637349527123}" dt="2021-07-11T11:43:05.595" v="374" actId="165"/>
          <ac:spMkLst>
            <pc:docMk/>
            <pc:sldMk cId="1171460674" sldId="1703"/>
            <ac:spMk id="110" creationId="{4E9D6CC5-EBC0-4719-BA75-F35ED7111AD0}"/>
          </ac:spMkLst>
        </pc:spChg>
        <pc:spChg chg="mod topLvl">
          <ac:chgData name="Yash Ratanpal" userId="5db668b1-93e7-4c08-9786-4ed81315a653" providerId="ADAL" clId="{3F7A7787-00CA-42A0-97CD-637349527123}" dt="2021-07-11T11:43:05.595" v="374" actId="165"/>
          <ac:spMkLst>
            <pc:docMk/>
            <pc:sldMk cId="1171460674" sldId="1703"/>
            <ac:spMk id="111" creationId="{35BFF57F-DF4B-4051-AF28-05DFF484A0E4}"/>
          </ac:spMkLst>
        </pc:spChg>
        <pc:spChg chg="mod topLvl">
          <ac:chgData name="Yash Ratanpal" userId="5db668b1-93e7-4c08-9786-4ed81315a653" providerId="ADAL" clId="{3F7A7787-00CA-42A0-97CD-637349527123}" dt="2021-07-11T11:43:05.595" v="374" actId="165"/>
          <ac:spMkLst>
            <pc:docMk/>
            <pc:sldMk cId="1171460674" sldId="1703"/>
            <ac:spMk id="112" creationId="{B6E2A6A2-FA82-4279-8C71-77E389433938}"/>
          </ac:spMkLst>
        </pc:spChg>
        <pc:spChg chg="mod topLvl">
          <ac:chgData name="Yash Ratanpal" userId="5db668b1-93e7-4c08-9786-4ed81315a653" providerId="ADAL" clId="{3F7A7787-00CA-42A0-97CD-637349527123}" dt="2021-07-11T11:43:08.740" v="381" actId="1036"/>
          <ac:spMkLst>
            <pc:docMk/>
            <pc:sldMk cId="1171460674" sldId="1703"/>
            <ac:spMk id="113" creationId="{CD338C18-FEF4-450A-86F2-B0670EFEAB90}"/>
          </ac:spMkLst>
        </pc:spChg>
        <pc:spChg chg="mod topLvl">
          <ac:chgData name="Yash Ratanpal" userId="5db668b1-93e7-4c08-9786-4ed81315a653" providerId="ADAL" clId="{3F7A7787-00CA-42A0-97CD-637349527123}" dt="2021-07-11T11:43:08.740" v="381" actId="1036"/>
          <ac:spMkLst>
            <pc:docMk/>
            <pc:sldMk cId="1171460674" sldId="1703"/>
            <ac:spMk id="114" creationId="{53F94D77-C6DC-4B05-85EF-B07AD773E1FB}"/>
          </ac:spMkLst>
        </pc:spChg>
        <pc:spChg chg="mod topLvl">
          <ac:chgData name="Yash Ratanpal" userId="5db668b1-93e7-4c08-9786-4ed81315a653" providerId="ADAL" clId="{3F7A7787-00CA-42A0-97CD-637349527123}" dt="2021-07-11T11:43:05.595" v="374" actId="165"/>
          <ac:spMkLst>
            <pc:docMk/>
            <pc:sldMk cId="1171460674" sldId="1703"/>
            <ac:spMk id="115" creationId="{ABDC57BC-98DD-467B-81E5-E3CD0679444F}"/>
          </ac:spMkLst>
        </pc:spChg>
        <pc:spChg chg="mod topLvl">
          <ac:chgData name="Yash Ratanpal" userId="5db668b1-93e7-4c08-9786-4ed81315a653" providerId="ADAL" clId="{3F7A7787-00CA-42A0-97CD-637349527123}" dt="2021-07-11T11:43:05.595" v="374" actId="165"/>
          <ac:spMkLst>
            <pc:docMk/>
            <pc:sldMk cId="1171460674" sldId="1703"/>
            <ac:spMk id="116" creationId="{8F3FFFE4-E0FB-4A8D-B1F2-C95121490153}"/>
          </ac:spMkLst>
        </pc:spChg>
        <pc:spChg chg="mod topLvl">
          <ac:chgData name="Yash Ratanpal" userId="5db668b1-93e7-4c08-9786-4ed81315a653" providerId="ADAL" clId="{3F7A7787-00CA-42A0-97CD-637349527123}" dt="2021-07-11T11:43:05.595" v="374" actId="165"/>
          <ac:spMkLst>
            <pc:docMk/>
            <pc:sldMk cId="1171460674" sldId="1703"/>
            <ac:spMk id="117" creationId="{A4D7243A-828F-4558-9317-AA13CA2463AC}"/>
          </ac:spMkLst>
        </pc:spChg>
        <pc:spChg chg="mod topLvl">
          <ac:chgData name="Yash Ratanpal" userId="5db668b1-93e7-4c08-9786-4ed81315a653" providerId="ADAL" clId="{3F7A7787-00CA-42A0-97CD-637349527123}" dt="2021-07-11T11:43:08.740" v="381" actId="1036"/>
          <ac:spMkLst>
            <pc:docMk/>
            <pc:sldMk cId="1171460674" sldId="1703"/>
            <ac:spMk id="118" creationId="{05FFB165-EF81-4579-97A7-4D3D16B5C3F6}"/>
          </ac:spMkLst>
        </pc:spChg>
        <pc:spChg chg="mod topLvl">
          <ac:chgData name="Yash Ratanpal" userId="5db668b1-93e7-4c08-9786-4ed81315a653" providerId="ADAL" clId="{3F7A7787-00CA-42A0-97CD-637349527123}" dt="2021-07-11T11:43:08.740" v="381" actId="1036"/>
          <ac:spMkLst>
            <pc:docMk/>
            <pc:sldMk cId="1171460674" sldId="1703"/>
            <ac:spMk id="119" creationId="{33F274E7-53F1-4DA4-B5C9-14399AD9B0E7}"/>
          </ac:spMkLst>
        </pc:spChg>
        <pc:spChg chg="mod topLvl">
          <ac:chgData name="Yash Ratanpal" userId="5db668b1-93e7-4c08-9786-4ed81315a653" providerId="ADAL" clId="{3F7A7787-00CA-42A0-97CD-637349527123}" dt="2021-07-11T11:43:05.595" v="374" actId="165"/>
          <ac:spMkLst>
            <pc:docMk/>
            <pc:sldMk cId="1171460674" sldId="1703"/>
            <ac:spMk id="120" creationId="{98639536-99AA-459D-BF86-34EB9AF0BF56}"/>
          </ac:spMkLst>
        </pc:spChg>
        <pc:spChg chg="mod topLvl">
          <ac:chgData name="Yash Ratanpal" userId="5db668b1-93e7-4c08-9786-4ed81315a653" providerId="ADAL" clId="{3F7A7787-00CA-42A0-97CD-637349527123}" dt="2021-07-11T11:43:05.595" v="374" actId="165"/>
          <ac:spMkLst>
            <pc:docMk/>
            <pc:sldMk cId="1171460674" sldId="1703"/>
            <ac:spMk id="121" creationId="{DA12F555-EBAB-488A-BA7D-A2093ED7C368}"/>
          </ac:spMkLst>
        </pc:spChg>
        <pc:spChg chg="mod topLvl">
          <ac:chgData name="Yash Ratanpal" userId="5db668b1-93e7-4c08-9786-4ed81315a653" providerId="ADAL" clId="{3F7A7787-00CA-42A0-97CD-637349527123}" dt="2021-07-11T11:43:05.595" v="374" actId="165"/>
          <ac:spMkLst>
            <pc:docMk/>
            <pc:sldMk cId="1171460674" sldId="1703"/>
            <ac:spMk id="122" creationId="{CD2ECBD5-FD7A-4DCC-9D41-9A98B0BBE46A}"/>
          </ac:spMkLst>
        </pc:spChg>
        <pc:spChg chg="mod topLvl">
          <ac:chgData name="Yash Ratanpal" userId="5db668b1-93e7-4c08-9786-4ed81315a653" providerId="ADAL" clId="{3F7A7787-00CA-42A0-97CD-637349527123}" dt="2021-07-11T11:43:08.740" v="381" actId="1036"/>
          <ac:spMkLst>
            <pc:docMk/>
            <pc:sldMk cId="1171460674" sldId="1703"/>
            <ac:spMk id="123" creationId="{8B6409E9-6B69-4253-AE73-BE76029A27E8}"/>
          </ac:spMkLst>
        </pc:spChg>
        <pc:spChg chg="mod topLvl">
          <ac:chgData name="Yash Ratanpal" userId="5db668b1-93e7-4c08-9786-4ed81315a653" providerId="ADAL" clId="{3F7A7787-00CA-42A0-97CD-637349527123}" dt="2021-07-11T11:43:08.740" v="381" actId="1036"/>
          <ac:spMkLst>
            <pc:docMk/>
            <pc:sldMk cId="1171460674" sldId="1703"/>
            <ac:spMk id="124" creationId="{448D0C69-2886-4567-8C50-0EA91EBDBEAC}"/>
          </ac:spMkLst>
        </pc:spChg>
        <pc:spChg chg="mod topLvl">
          <ac:chgData name="Yash Ratanpal" userId="5db668b1-93e7-4c08-9786-4ed81315a653" providerId="ADAL" clId="{3F7A7787-00CA-42A0-97CD-637349527123}" dt="2021-07-11T11:43:05.595" v="374" actId="165"/>
          <ac:spMkLst>
            <pc:docMk/>
            <pc:sldMk cId="1171460674" sldId="1703"/>
            <ac:spMk id="125" creationId="{92C536D7-A5A8-45AF-8055-0CC6F450090C}"/>
          </ac:spMkLst>
        </pc:spChg>
        <pc:spChg chg="mod topLvl">
          <ac:chgData name="Yash Ratanpal" userId="5db668b1-93e7-4c08-9786-4ed81315a653" providerId="ADAL" clId="{3F7A7787-00CA-42A0-97CD-637349527123}" dt="2021-07-11T11:43:05.595" v="374" actId="165"/>
          <ac:spMkLst>
            <pc:docMk/>
            <pc:sldMk cId="1171460674" sldId="1703"/>
            <ac:spMk id="126" creationId="{A6524B88-C4F7-491A-832A-B3A2B5BFF42D}"/>
          </ac:spMkLst>
        </pc:spChg>
        <pc:spChg chg="mod topLvl">
          <ac:chgData name="Yash Ratanpal" userId="5db668b1-93e7-4c08-9786-4ed81315a653" providerId="ADAL" clId="{3F7A7787-00CA-42A0-97CD-637349527123}" dt="2021-07-11T11:43:05.595" v="374" actId="165"/>
          <ac:spMkLst>
            <pc:docMk/>
            <pc:sldMk cId="1171460674" sldId="1703"/>
            <ac:spMk id="127" creationId="{9A383336-DAF3-4356-BC47-D508D39DE957}"/>
          </ac:spMkLst>
        </pc:spChg>
        <pc:grpChg chg="add del mod">
          <ac:chgData name="Yash Ratanpal" userId="5db668b1-93e7-4c08-9786-4ed81315a653" providerId="ADAL" clId="{3F7A7787-00CA-42A0-97CD-637349527123}" dt="2021-07-11T11:41:26.156" v="333"/>
          <ac:grpSpMkLst>
            <pc:docMk/>
            <pc:sldMk cId="1171460674" sldId="1703"/>
            <ac:grpSpMk id="27" creationId="{E03818A0-9201-49C9-A886-ED72793701C1}"/>
          </ac:grpSpMkLst>
        </pc:grpChg>
        <pc:grpChg chg="add del mod">
          <ac:chgData name="Yash Ratanpal" userId="5db668b1-93e7-4c08-9786-4ed81315a653" providerId="ADAL" clId="{3F7A7787-00CA-42A0-97CD-637349527123}" dt="2021-07-11T11:41:41.484" v="337" actId="478"/>
          <ac:grpSpMkLst>
            <pc:docMk/>
            <pc:sldMk cId="1171460674" sldId="1703"/>
            <ac:grpSpMk id="68" creationId="{D9A9FC16-1B59-429A-9B7C-BE2533499841}"/>
          </ac:grpSpMkLst>
        </pc:grpChg>
        <pc:grpChg chg="add del mod">
          <ac:chgData name="Yash Ratanpal" userId="5db668b1-93e7-4c08-9786-4ed81315a653" providerId="ADAL" clId="{3F7A7787-00CA-42A0-97CD-637349527123}" dt="2021-07-11T11:43:05.595" v="374" actId="165"/>
          <ac:grpSpMkLst>
            <pc:docMk/>
            <pc:sldMk cId="1171460674" sldId="1703"/>
            <ac:grpSpMk id="109" creationId="{7F1D3C1C-579C-4C95-998C-14B49B9EE06A}"/>
          </ac:grpSpMkLst>
        </pc:grpChg>
        <pc:picChg chg="add del mod">
          <ac:chgData name="Yash Ratanpal" userId="5db668b1-93e7-4c08-9786-4ed81315a653" providerId="ADAL" clId="{3F7A7787-00CA-42A0-97CD-637349527123}" dt="2021-07-11T11:41:26.156" v="333"/>
          <ac:picMkLst>
            <pc:docMk/>
            <pc:sldMk cId="1171460674" sldId="1703"/>
            <ac:picMk id="7" creationId="{390909DA-76B8-4A1B-8553-388B43F23B33}"/>
          </ac:picMkLst>
        </pc:picChg>
        <pc:picChg chg="add del mod">
          <ac:chgData name="Yash Ratanpal" userId="5db668b1-93e7-4c08-9786-4ed81315a653" providerId="ADAL" clId="{3F7A7787-00CA-42A0-97CD-637349527123}" dt="2021-07-11T11:41:41.484" v="337" actId="478"/>
          <ac:picMkLst>
            <pc:docMk/>
            <pc:sldMk cId="1171460674" sldId="1703"/>
            <ac:picMk id="48" creationId="{AAC46566-573D-4DBF-9467-95862262A59A}"/>
          </ac:picMkLst>
        </pc:picChg>
        <pc:picChg chg="add mod">
          <ac:chgData name="Yash Ratanpal" userId="5db668b1-93e7-4c08-9786-4ed81315a653" providerId="ADAL" clId="{3F7A7787-00CA-42A0-97CD-637349527123}" dt="2021-07-11T11:42:10.118" v="339" actId="1076"/>
          <ac:picMkLst>
            <pc:docMk/>
            <pc:sldMk cId="1171460674" sldId="1703"/>
            <ac:picMk id="89" creationId="{3429785C-A1D7-42DE-A966-B7400C173593}"/>
          </ac:picMkLst>
        </pc:picChg>
      </pc:sldChg>
      <pc:sldChg chg="addSp delSp modSp add mod">
        <pc:chgData name="Yash Ratanpal" userId="5db668b1-93e7-4c08-9786-4ed81315a653" providerId="ADAL" clId="{3F7A7787-00CA-42A0-97CD-637349527123}" dt="2021-07-18T16:34:52.884" v="7564" actId="2711"/>
        <pc:sldMkLst>
          <pc:docMk/>
          <pc:sldMk cId="920433170" sldId="1704"/>
        </pc:sldMkLst>
        <pc:spChg chg="mod">
          <ac:chgData name="Yash Ratanpal" userId="5db668b1-93e7-4c08-9786-4ed81315a653" providerId="ADAL" clId="{3F7A7787-00CA-42A0-97CD-637349527123}" dt="2021-07-18T14:58:47.951" v="3956" actId="20577"/>
          <ac:spMkLst>
            <pc:docMk/>
            <pc:sldMk cId="920433170" sldId="1704"/>
            <ac:spMk id="3" creationId="{00000000-0000-0000-0000-000000000000}"/>
          </ac:spMkLst>
        </pc:spChg>
        <pc:spChg chg="mod">
          <ac:chgData name="Yash Ratanpal" userId="5db668b1-93e7-4c08-9786-4ed81315a653" providerId="ADAL" clId="{3F7A7787-00CA-42A0-97CD-637349527123}" dt="2021-07-11T11:43:51.071" v="424" actId="1076"/>
          <ac:spMkLst>
            <pc:docMk/>
            <pc:sldMk cId="920433170" sldId="1704"/>
            <ac:spMk id="46" creationId="{933C85D1-FFBE-47E5-85A4-72D712AF2C0E}"/>
          </ac:spMkLst>
        </pc:spChg>
        <pc:spChg chg="mod">
          <ac:chgData name="Yash Ratanpal" userId="5db668b1-93e7-4c08-9786-4ed81315a653" providerId="ADAL" clId="{3F7A7787-00CA-42A0-97CD-637349527123}" dt="2021-07-11T11:43:51.071" v="424" actId="1076"/>
          <ac:spMkLst>
            <pc:docMk/>
            <pc:sldMk cId="920433170" sldId="1704"/>
            <ac:spMk id="47" creationId="{E0D47E74-E0B4-4346-90C9-636683A801EC}"/>
          </ac:spMkLst>
        </pc:spChg>
        <pc:spChg chg="mod">
          <ac:chgData name="Yash Ratanpal" userId="5db668b1-93e7-4c08-9786-4ed81315a653" providerId="ADAL" clId="{3F7A7787-00CA-42A0-97CD-637349527123}" dt="2021-07-11T11:43:51.071" v="424" actId="1076"/>
          <ac:spMkLst>
            <pc:docMk/>
            <pc:sldMk cId="920433170" sldId="1704"/>
            <ac:spMk id="48" creationId="{29B8D59A-41BE-41BD-90B7-8833B2669B34}"/>
          </ac:spMkLst>
        </pc:spChg>
        <pc:spChg chg="mod">
          <ac:chgData name="Yash Ratanpal" userId="5db668b1-93e7-4c08-9786-4ed81315a653" providerId="ADAL" clId="{3F7A7787-00CA-42A0-97CD-637349527123}" dt="2021-07-11T11:43:51.071" v="424" actId="1076"/>
          <ac:spMkLst>
            <pc:docMk/>
            <pc:sldMk cId="920433170" sldId="1704"/>
            <ac:spMk id="49" creationId="{9EF9C797-1B92-4A76-8C8A-6D5F4BCC19CF}"/>
          </ac:spMkLst>
        </pc:spChg>
        <pc:spChg chg="mod">
          <ac:chgData name="Yash Ratanpal" userId="5db668b1-93e7-4c08-9786-4ed81315a653" providerId="ADAL" clId="{3F7A7787-00CA-42A0-97CD-637349527123}" dt="2021-07-11T11:43:51.071" v="424" actId="1076"/>
          <ac:spMkLst>
            <pc:docMk/>
            <pc:sldMk cId="920433170" sldId="1704"/>
            <ac:spMk id="50" creationId="{C65CB762-D82A-4931-A60B-1B0D2B9A4981}"/>
          </ac:spMkLst>
        </pc:spChg>
        <pc:spChg chg="mod">
          <ac:chgData name="Yash Ratanpal" userId="5db668b1-93e7-4c08-9786-4ed81315a653" providerId="ADAL" clId="{3F7A7787-00CA-42A0-97CD-637349527123}" dt="2021-07-11T11:43:51.071" v="424" actId="1076"/>
          <ac:spMkLst>
            <pc:docMk/>
            <pc:sldMk cId="920433170" sldId="1704"/>
            <ac:spMk id="51" creationId="{A7A1C4A6-F656-4F25-8B93-C3E2ADBEE054}"/>
          </ac:spMkLst>
        </pc:spChg>
        <pc:spChg chg="mod">
          <ac:chgData name="Yash Ratanpal" userId="5db668b1-93e7-4c08-9786-4ed81315a653" providerId="ADAL" clId="{3F7A7787-00CA-42A0-97CD-637349527123}" dt="2021-07-11T11:43:51.071" v="424" actId="1076"/>
          <ac:spMkLst>
            <pc:docMk/>
            <pc:sldMk cId="920433170" sldId="1704"/>
            <ac:spMk id="52" creationId="{5C6D31A7-3D62-442D-B5E9-F8470A54F09B}"/>
          </ac:spMkLst>
        </pc:spChg>
        <pc:spChg chg="mod">
          <ac:chgData name="Yash Ratanpal" userId="5db668b1-93e7-4c08-9786-4ed81315a653" providerId="ADAL" clId="{3F7A7787-00CA-42A0-97CD-637349527123}" dt="2021-07-11T11:43:51.071" v="424" actId="1076"/>
          <ac:spMkLst>
            <pc:docMk/>
            <pc:sldMk cId="920433170" sldId="1704"/>
            <ac:spMk id="53" creationId="{FED3F1F9-762B-480F-8230-1BA3455DE16B}"/>
          </ac:spMkLst>
        </pc:spChg>
        <pc:spChg chg="mod">
          <ac:chgData name="Yash Ratanpal" userId="5db668b1-93e7-4c08-9786-4ed81315a653" providerId="ADAL" clId="{3F7A7787-00CA-42A0-97CD-637349527123}" dt="2021-07-11T11:43:51.071" v="424" actId="1076"/>
          <ac:spMkLst>
            <pc:docMk/>
            <pc:sldMk cId="920433170" sldId="1704"/>
            <ac:spMk id="54" creationId="{A68B5960-7020-42A3-B97E-9C2CCECE4686}"/>
          </ac:spMkLst>
        </pc:spChg>
        <pc:spChg chg="mod">
          <ac:chgData name="Yash Ratanpal" userId="5db668b1-93e7-4c08-9786-4ed81315a653" providerId="ADAL" clId="{3F7A7787-00CA-42A0-97CD-637349527123}" dt="2021-07-11T11:43:51.071" v="424" actId="1076"/>
          <ac:spMkLst>
            <pc:docMk/>
            <pc:sldMk cId="920433170" sldId="1704"/>
            <ac:spMk id="55" creationId="{57D38344-2B1C-44C9-8503-CC3239F82BB7}"/>
          </ac:spMkLst>
        </pc:spChg>
        <pc:spChg chg="mod">
          <ac:chgData name="Yash Ratanpal" userId="5db668b1-93e7-4c08-9786-4ed81315a653" providerId="ADAL" clId="{3F7A7787-00CA-42A0-97CD-637349527123}" dt="2021-07-11T11:43:51.071" v="424" actId="1076"/>
          <ac:spMkLst>
            <pc:docMk/>
            <pc:sldMk cId="920433170" sldId="1704"/>
            <ac:spMk id="56" creationId="{F754E4A5-D287-4CBB-B578-351FD792C9D5}"/>
          </ac:spMkLst>
        </pc:spChg>
        <pc:spChg chg="mod">
          <ac:chgData name="Yash Ratanpal" userId="5db668b1-93e7-4c08-9786-4ed81315a653" providerId="ADAL" clId="{3F7A7787-00CA-42A0-97CD-637349527123}" dt="2021-07-11T11:43:51.071" v="424" actId="1076"/>
          <ac:spMkLst>
            <pc:docMk/>
            <pc:sldMk cId="920433170" sldId="1704"/>
            <ac:spMk id="58" creationId="{310474D4-657F-4146-98C7-B64FA8AED400}"/>
          </ac:spMkLst>
        </pc:spChg>
        <pc:spChg chg="mod">
          <ac:chgData name="Yash Ratanpal" userId="5db668b1-93e7-4c08-9786-4ed81315a653" providerId="ADAL" clId="{3F7A7787-00CA-42A0-97CD-637349527123}" dt="2021-07-11T11:43:51.071" v="424" actId="1076"/>
          <ac:spMkLst>
            <pc:docMk/>
            <pc:sldMk cId="920433170" sldId="1704"/>
            <ac:spMk id="59" creationId="{A01A64E4-06FB-4494-A7B1-075B3464E179}"/>
          </ac:spMkLst>
        </pc:spChg>
        <pc:spChg chg="mod">
          <ac:chgData name="Yash Ratanpal" userId="5db668b1-93e7-4c08-9786-4ed81315a653" providerId="ADAL" clId="{3F7A7787-00CA-42A0-97CD-637349527123}" dt="2021-07-11T11:43:51.071" v="424" actId="1076"/>
          <ac:spMkLst>
            <pc:docMk/>
            <pc:sldMk cId="920433170" sldId="1704"/>
            <ac:spMk id="60" creationId="{45714DA4-EF1E-43E5-9973-41D9E39B5724}"/>
          </ac:spMkLst>
        </pc:spChg>
        <pc:spChg chg="mod">
          <ac:chgData name="Yash Ratanpal" userId="5db668b1-93e7-4c08-9786-4ed81315a653" providerId="ADAL" clId="{3F7A7787-00CA-42A0-97CD-637349527123}" dt="2021-07-11T11:43:51.071" v="424" actId="1076"/>
          <ac:spMkLst>
            <pc:docMk/>
            <pc:sldMk cId="920433170" sldId="1704"/>
            <ac:spMk id="61" creationId="{A3ACFBB5-5B68-49DD-9DEC-29BA37C68FD8}"/>
          </ac:spMkLst>
        </pc:spChg>
        <pc:spChg chg="mod">
          <ac:chgData name="Yash Ratanpal" userId="5db668b1-93e7-4c08-9786-4ed81315a653" providerId="ADAL" clId="{3F7A7787-00CA-42A0-97CD-637349527123}" dt="2021-07-11T11:43:51.071" v="424" actId="1076"/>
          <ac:spMkLst>
            <pc:docMk/>
            <pc:sldMk cId="920433170" sldId="1704"/>
            <ac:spMk id="62" creationId="{1E9A8344-A7D9-49E2-8D3B-5BEC22E678CC}"/>
          </ac:spMkLst>
        </pc:spChg>
        <pc:spChg chg="mod">
          <ac:chgData name="Yash Ratanpal" userId="5db668b1-93e7-4c08-9786-4ed81315a653" providerId="ADAL" clId="{3F7A7787-00CA-42A0-97CD-637349527123}" dt="2021-07-11T11:43:51.071" v="424" actId="1076"/>
          <ac:spMkLst>
            <pc:docMk/>
            <pc:sldMk cId="920433170" sldId="1704"/>
            <ac:spMk id="63" creationId="{5BC40C5F-5F06-4F11-B164-FA96704E245C}"/>
          </ac:spMkLst>
        </pc:spChg>
        <pc:spChg chg="mod">
          <ac:chgData name="Yash Ratanpal" userId="5db668b1-93e7-4c08-9786-4ed81315a653" providerId="ADAL" clId="{3F7A7787-00CA-42A0-97CD-637349527123}" dt="2021-07-11T11:43:51.071" v="424" actId="1076"/>
          <ac:spMkLst>
            <pc:docMk/>
            <pc:sldMk cId="920433170" sldId="1704"/>
            <ac:spMk id="64" creationId="{AABFC2A4-17B3-4672-B1A6-7BE1536CFD01}"/>
          </ac:spMkLst>
        </pc:spChg>
        <pc:spChg chg="mod">
          <ac:chgData name="Yash Ratanpal" userId="5db668b1-93e7-4c08-9786-4ed81315a653" providerId="ADAL" clId="{3F7A7787-00CA-42A0-97CD-637349527123}" dt="2021-07-11T11:43:51.071" v="424" actId="1076"/>
          <ac:spMkLst>
            <pc:docMk/>
            <pc:sldMk cId="920433170" sldId="1704"/>
            <ac:spMk id="65" creationId="{E953C89F-1738-4CF5-A4EB-2AB228AEE170}"/>
          </ac:spMkLst>
        </pc:spChg>
        <pc:spChg chg="mod">
          <ac:chgData name="Yash Ratanpal" userId="5db668b1-93e7-4c08-9786-4ed81315a653" providerId="ADAL" clId="{3F7A7787-00CA-42A0-97CD-637349527123}" dt="2021-07-11T11:43:51.071" v="424" actId="1076"/>
          <ac:spMkLst>
            <pc:docMk/>
            <pc:sldMk cId="920433170" sldId="1704"/>
            <ac:spMk id="66" creationId="{49B773CD-A522-448A-B5EA-519501B0F731}"/>
          </ac:spMkLst>
        </pc:spChg>
        <pc:spChg chg="mod">
          <ac:chgData name="Yash Ratanpal" userId="5db668b1-93e7-4c08-9786-4ed81315a653" providerId="ADAL" clId="{3F7A7787-00CA-42A0-97CD-637349527123}" dt="2021-07-11T11:43:51.071" v="424" actId="1076"/>
          <ac:spMkLst>
            <pc:docMk/>
            <pc:sldMk cId="920433170" sldId="1704"/>
            <ac:spMk id="67" creationId="{30E66964-0581-4560-93B1-358E05EC11B1}"/>
          </ac:spMkLst>
        </pc:spChg>
        <pc:spChg chg="add del">
          <ac:chgData name="Yash Ratanpal" userId="5db668b1-93e7-4c08-9786-4ed81315a653" providerId="ADAL" clId="{3F7A7787-00CA-42A0-97CD-637349527123}" dt="2021-07-18T15:06:05.550" v="4409" actId="22"/>
          <ac:spMkLst>
            <pc:docMk/>
            <pc:sldMk cId="920433170" sldId="1704"/>
            <ac:spMk id="68" creationId="{D193A90B-9349-4C0B-ADE4-86F4B2182093}"/>
          </ac:spMkLst>
        </pc:spChg>
        <pc:spChg chg="mod">
          <ac:chgData name="Yash Ratanpal" userId="5db668b1-93e7-4c08-9786-4ed81315a653" providerId="ADAL" clId="{3F7A7787-00CA-42A0-97CD-637349527123}" dt="2021-07-11T11:43:51.071" v="424" actId="1076"/>
          <ac:spMkLst>
            <pc:docMk/>
            <pc:sldMk cId="920433170" sldId="1704"/>
            <ac:spMk id="68" creationId="{FBCD86EB-56FC-4902-A49E-93CEA31EFC7A}"/>
          </ac:spMkLst>
        </pc:spChg>
        <pc:spChg chg="mod">
          <ac:chgData name="Yash Ratanpal" userId="5db668b1-93e7-4c08-9786-4ed81315a653" providerId="ADAL" clId="{3F7A7787-00CA-42A0-97CD-637349527123}" dt="2021-07-11T11:43:51.071" v="424" actId="1076"/>
          <ac:spMkLst>
            <pc:docMk/>
            <pc:sldMk cId="920433170" sldId="1704"/>
            <ac:spMk id="69" creationId="{016AB434-4C23-4265-B525-6BEEAFAB7A12}"/>
          </ac:spMkLst>
        </pc:spChg>
        <pc:spChg chg="add mod">
          <ac:chgData name="Yash Ratanpal" userId="5db668b1-93e7-4c08-9786-4ed81315a653" providerId="ADAL" clId="{3F7A7787-00CA-42A0-97CD-637349527123}" dt="2021-07-18T16:34:52.884" v="7564" actId="2711"/>
          <ac:spMkLst>
            <pc:docMk/>
            <pc:sldMk cId="920433170" sldId="1704"/>
            <ac:spMk id="69" creationId="{819A3F10-1A93-40E6-BFD0-D9D8FBFA6BED}"/>
          </ac:spMkLst>
        </pc:spChg>
        <pc:spChg chg="mod">
          <ac:chgData name="Yash Ratanpal" userId="5db668b1-93e7-4c08-9786-4ed81315a653" providerId="ADAL" clId="{3F7A7787-00CA-42A0-97CD-637349527123}" dt="2021-07-11T11:45:51.835" v="585" actId="20577"/>
          <ac:spMkLst>
            <pc:docMk/>
            <pc:sldMk cId="920433170" sldId="1704"/>
            <ac:spMk id="70" creationId="{22CAB75D-1A0D-48B2-A8CF-9622306F134F}"/>
          </ac:spMkLst>
        </pc:spChg>
        <pc:spChg chg="mod">
          <ac:chgData name="Yash Ratanpal" userId="5db668b1-93e7-4c08-9786-4ed81315a653" providerId="ADAL" clId="{3F7A7787-00CA-42A0-97CD-637349527123}" dt="2021-07-11T11:46:21.414" v="617" actId="20577"/>
          <ac:spMkLst>
            <pc:docMk/>
            <pc:sldMk cId="920433170" sldId="1704"/>
            <ac:spMk id="71" creationId="{D523DA42-8D7D-4D66-B7F4-CC08BFA402AA}"/>
          </ac:spMkLst>
        </pc:spChg>
        <pc:spChg chg="mod">
          <ac:chgData name="Yash Ratanpal" userId="5db668b1-93e7-4c08-9786-4ed81315a653" providerId="ADAL" clId="{3F7A7787-00CA-42A0-97CD-637349527123}" dt="2021-07-11T11:43:51.071" v="424" actId="1076"/>
          <ac:spMkLst>
            <pc:docMk/>
            <pc:sldMk cId="920433170" sldId="1704"/>
            <ac:spMk id="72" creationId="{538803A2-1F2A-4440-9B0E-251836FBFD4A}"/>
          </ac:spMkLst>
        </pc:spChg>
        <pc:spChg chg="mod">
          <ac:chgData name="Yash Ratanpal" userId="5db668b1-93e7-4c08-9786-4ed81315a653" providerId="ADAL" clId="{3F7A7787-00CA-42A0-97CD-637349527123}" dt="2021-07-11T11:43:51.071" v="424" actId="1076"/>
          <ac:spMkLst>
            <pc:docMk/>
            <pc:sldMk cId="920433170" sldId="1704"/>
            <ac:spMk id="73" creationId="{7D53D3C8-FB76-41F2-93F9-F7D45FD3E8A2}"/>
          </ac:spMkLst>
        </pc:spChg>
        <pc:spChg chg="mod">
          <ac:chgData name="Yash Ratanpal" userId="5db668b1-93e7-4c08-9786-4ed81315a653" providerId="ADAL" clId="{3F7A7787-00CA-42A0-97CD-637349527123}" dt="2021-07-11T11:47:12.142" v="636" actId="20577"/>
          <ac:spMkLst>
            <pc:docMk/>
            <pc:sldMk cId="920433170" sldId="1704"/>
            <ac:spMk id="74" creationId="{85963EE3-A645-4CA5-AC63-AF18A0334EC3}"/>
          </ac:spMkLst>
        </pc:spChg>
        <pc:spChg chg="mod">
          <ac:chgData name="Yash Ratanpal" userId="5db668b1-93e7-4c08-9786-4ed81315a653" providerId="ADAL" clId="{3F7A7787-00CA-42A0-97CD-637349527123}" dt="2021-07-11T11:43:51.071" v="424" actId="1076"/>
          <ac:spMkLst>
            <pc:docMk/>
            <pc:sldMk cId="920433170" sldId="1704"/>
            <ac:spMk id="75" creationId="{D03F0D83-A709-406C-B020-D682CDEF7881}"/>
          </ac:spMkLst>
        </pc:spChg>
        <pc:spChg chg="mod">
          <ac:chgData name="Yash Ratanpal" userId="5db668b1-93e7-4c08-9786-4ed81315a653" providerId="ADAL" clId="{3F7A7787-00CA-42A0-97CD-637349527123}" dt="2021-07-11T11:44:35.390" v="481" actId="20577"/>
          <ac:spMkLst>
            <pc:docMk/>
            <pc:sldMk cId="920433170" sldId="1704"/>
            <ac:spMk id="76" creationId="{E4123AF7-6992-4E9A-80EE-8FC896EEBABB}"/>
          </ac:spMkLst>
        </pc:spChg>
        <pc:spChg chg="mod">
          <ac:chgData name="Yash Ratanpal" userId="5db668b1-93e7-4c08-9786-4ed81315a653" providerId="ADAL" clId="{3F7A7787-00CA-42A0-97CD-637349527123}" dt="2021-07-11T11:47:35.533" v="657" actId="6549"/>
          <ac:spMkLst>
            <pc:docMk/>
            <pc:sldMk cId="920433170" sldId="1704"/>
            <ac:spMk id="77" creationId="{C4D0E072-EC4C-4466-B625-634252E3C1C2}"/>
          </ac:spMkLst>
        </pc:spChg>
        <pc:spChg chg="mod">
          <ac:chgData name="Yash Ratanpal" userId="5db668b1-93e7-4c08-9786-4ed81315a653" providerId="ADAL" clId="{3F7A7787-00CA-42A0-97CD-637349527123}" dt="2021-07-11T11:44:40.346" v="493" actId="20577"/>
          <ac:spMkLst>
            <pc:docMk/>
            <pc:sldMk cId="920433170" sldId="1704"/>
            <ac:spMk id="78" creationId="{7782035D-BABB-4732-9C5F-B8738E4AF268}"/>
          </ac:spMkLst>
        </pc:spChg>
        <pc:spChg chg="mod">
          <ac:chgData name="Yash Ratanpal" userId="5db668b1-93e7-4c08-9786-4ed81315a653" providerId="ADAL" clId="{3F7A7787-00CA-42A0-97CD-637349527123}" dt="2021-07-11T11:47:46.765" v="663" actId="20577"/>
          <ac:spMkLst>
            <pc:docMk/>
            <pc:sldMk cId="920433170" sldId="1704"/>
            <ac:spMk id="79" creationId="{53B29D47-2DC3-4C71-A5A2-4B206532BDD2}"/>
          </ac:spMkLst>
        </pc:spChg>
        <pc:spChg chg="mod">
          <ac:chgData name="Yash Ratanpal" userId="5db668b1-93e7-4c08-9786-4ed81315a653" providerId="ADAL" clId="{3F7A7787-00CA-42A0-97CD-637349527123}" dt="2021-07-11T11:43:51.071" v="424" actId="1076"/>
          <ac:spMkLst>
            <pc:docMk/>
            <pc:sldMk cId="920433170" sldId="1704"/>
            <ac:spMk id="80" creationId="{42E6E036-27D8-4640-99AA-28F9207411D7}"/>
          </ac:spMkLst>
        </pc:spChg>
        <pc:spChg chg="mod">
          <ac:chgData name="Yash Ratanpal" userId="5db668b1-93e7-4c08-9786-4ed81315a653" providerId="ADAL" clId="{3F7A7787-00CA-42A0-97CD-637349527123}" dt="2021-07-11T11:43:51.071" v="424" actId="1076"/>
          <ac:spMkLst>
            <pc:docMk/>
            <pc:sldMk cId="920433170" sldId="1704"/>
            <ac:spMk id="81" creationId="{02597EDE-379E-4709-9B7F-7DCAC21E1B62}"/>
          </ac:spMkLst>
        </pc:spChg>
        <pc:spChg chg="mod">
          <ac:chgData name="Yash Ratanpal" userId="5db668b1-93e7-4c08-9786-4ed81315a653" providerId="ADAL" clId="{3F7A7787-00CA-42A0-97CD-637349527123}" dt="2021-07-11T11:43:51.071" v="424" actId="1076"/>
          <ac:spMkLst>
            <pc:docMk/>
            <pc:sldMk cId="920433170" sldId="1704"/>
            <ac:spMk id="82" creationId="{A8C8DB1B-0DCC-4C92-B0B7-C99F18237193}"/>
          </ac:spMkLst>
        </pc:spChg>
        <pc:spChg chg="mod">
          <ac:chgData name="Yash Ratanpal" userId="5db668b1-93e7-4c08-9786-4ed81315a653" providerId="ADAL" clId="{3F7A7787-00CA-42A0-97CD-637349527123}" dt="2021-07-11T11:43:51.071" v="424" actId="1076"/>
          <ac:spMkLst>
            <pc:docMk/>
            <pc:sldMk cId="920433170" sldId="1704"/>
            <ac:spMk id="83" creationId="{25F660D3-60A2-417A-A203-9F45701820C4}"/>
          </ac:spMkLst>
        </pc:spChg>
        <pc:spChg chg="mod">
          <ac:chgData name="Yash Ratanpal" userId="5db668b1-93e7-4c08-9786-4ed81315a653" providerId="ADAL" clId="{3F7A7787-00CA-42A0-97CD-637349527123}" dt="2021-07-11T11:43:51.071" v="424" actId="1076"/>
          <ac:spMkLst>
            <pc:docMk/>
            <pc:sldMk cId="920433170" sldId="1704"/>
            <ac:spMk id="84" creationId="{18C5B9E7-4F34-4081-A9E8-4B4FDE8EBD88}"/>
          </ac:spMkLst>
        </pc:spChg>
        <pc:spChg chg="mod">
          <ac:chgData name="Yash Ratanpal" userId="5db668b1-93e7-4c08-9786-4ed81315a653" providerId="ADAL" clId="{3F7A7787-00CA-42A0-97CD-637349527123}" dt="2021-07-11T11:43:51.071" v="424" actId="1076"/>
          <ac:spMkLst>
            <pc:docMk/>
            <pc:sldMk cId="920433170" sldId="1704"/>
            <ac:spMk id="85" creationId="{82D9E4D7-0532-41AF-B03B-FEA5781EA59C}"/>
          </ac:spMkLst>
        </pc:spChg>
        <pc:spChg chg="mod">
          <ac:chgData name="Yash Ratanpal" userId="5db668b1-93e7-4c08-9786-4ed81315a653" providerId="ADAL" clId="{3F7A7787-00CA-42A0-97CD-637349527123}" dt="2021-07-11T11:43:51.071" v="424" actId="1076"/>
          <ac:spMkLst>
            <pc:docMk/>
            <pc:sldMk cId="920433170" sldId="1704"/>
            <ac:spMk id="86" creationId="{3EA4E0F2-AD36-4B9C-9916-3A49C5137D1A}"/>
          </ac:spMkLst>
        </pc:spChg>
        <pc:spChg chg="del">
          <ac:chgData name="Yash Ratanpal" userId="5db668b1-93e7-4c08-9786-4ed81315a653" providerId="ADAL" clId="{3F7A7787-00CA-42A0-97CD-637349527123}" dt="2021-07-11T11:43:42.314" v="420" actId="478"/>
          <ac:spMkLst>
            <pc:docMk/>
            <pc:sldMk cId="920433170" sldId="1704"/>
            <ac:spMk id="87" creationId="{C1A8F2FB-C6EB-465F-B5BC-3F2E45137349}"/>
          </ac:spMkLst>
        </pc:spChg>
        <pc:spChg chg="del">
          <ac:chgData name="Yash Ratanpal" userId="5db668b1-93e7-4c08-9786-4ed81315a653" providerId="ADAL" clId="{3F7A7787-00CA-42A0-97CD-637349527123}" dt="2021-07-11T11:43:42.314" v="420" actId="478"/>
          <ac:spMkLst>
            <pc:docMk/>
            <pc:sldMk cId="920433170" sldId="1704"/>
            <ac:spMk id="88" creationId="{FBB4E47F-1B37-47DD-A844-D520E189D285}"/>
          </ac:spMkLst>
        </pc:spChg>
        <pc:spChg chg="del">
          <ac:chgData name="Yash Ratanpal" userId="5db668b1-93e7-4c08-9786-4ed81315a653" providerId="ADAL" clId="{3F7A7787-00CA-42A0-97CD-637349527123}" dt="2021-07-11T11:43:42.314" v="420" actId="478"/>
          <ac:spMkLst>
            <pc:docMk/>
            <pc:sldMk cId="920433170" sldId="1704"/>
            <ac:spMk id="90" creationId="{0F47427B-A059-436E-9620-59F7D7A3B8C6}"/>
          </ac:spMkLst>
        </pc:spChg>
        <pc:spChg chg="del">
          <ac:chgData name="Yash Ratanpal" userId="5db668b1-93e7-4c08-9786-4ed81315a653" providerId="ADAL" clId="{3F7A7787-00CA-42A0-97CD-637349527123}" dt="2021-07-11T11:43:42.314" v="420" actId="478"/>
          <ac:spMkLst>
            <pc:docMk/>
            <pc:sldMk cId="920433170" sldId="1704"/>
            <ac:spMk id="91" creationId="{3B261B09-3B6D-40F3-A376-08897679B23B}"/>
          </ac:spMkLst>
        </pc:spChg>
        <pc:spChg chg="del">
          <ac:chgData name="Yash Ratanpal" userId="5db668b1-93e7-4c08-9786-4ed81315a653" providerId="ADAL" clId="{3F7A7787-00CA-42A0-97CD-637349527123}" dt="2021-07-11T11:43:42.314" v="420" actId="478"/>
          <ac:spMkLst>
            <pc:docMk/>
            <pc:sldMk cId="920433170" sldId="1704"/>
            <ac:spMk id="92" creationId="{CF99227E-F368-498A-8812-951779A78A15}"/>
          </ac:spMkLst>
        </pc:spChg>
        <pc:spChg chg="del">
          <ac:chgData name="Yash Ratanpal" userId="5db668b1-93e7-4c08-9786-4ed81315a653" providerId="ADAL" clId="{3F7A7787-00CA-42A0-97CD-637349527123}" dt="2021-07-11T11:43:42.314" v="420" actId="478"/>
          <ac:spMkLst>
            <pc:docMk/>
            <pc:sldMk cId="920433170" sldId="1704"/>
            <ac:spMk id="93" creationId="{5A95863E-1DB8-4FA4-92C8-5E99390E7CE1}"/>
          </ac:spMkLst>
        </pc:spChg>
        <pc:spChg chg="del">
          <ac:chgData name="Yash Ratanpal" userId="5db668b1-93e7-4c08-9786-4ed81315a653" providerId="ADAL" clId="{3F7A7787-00CA-42A0-97CD-637349527123}" dt="2021-07-11T11:43:42.314" v="420" actId="478"/>
          <ac:spMkLst>
            <pc:docMk/>
            <pc:sldMk cId="920433170" sldId="1704"/>
            <ac:spMk id="94" creationId="{E215E584-BBA0-4B50-8160-A58B1A1AD996}"/>
          </ac:spMkLst>
        </pc:spChg>
        <pc:spChg chg="del">
          <ac:chgData name="Yash Ratanpal" userId="5db668b1-93e7-4c08-9786-4ed81315a653" providerId="ADAL" clId="{3F7A7787-00CA-42A0-97CD-637349527123}" dt="2021-07-11T11:43:42.314" v="420" actId="478"/>
          <ac:spMkLst>
            <pc:docMk/>
            <pc:sldMk cId="920433170" sldId="1704"/>
            <ac:spMk id="95" creationId="{9A58BE4A-D9A3-459E-A09F-12942BB41667}"/>
          </ac:spMkLst>
        </pc:spChg>
        <pc:spChg chg="del">
          <ac:chgData name="Yash Ratanpal" userId="5db668b1-93e7-4c08-9786-4ed81315a653" providerId="ADAL" clId="{3F7A7787-00CA-42A0-97CD-637349527123}" dt="2021-07-11T11:43:42.314" v="420" actId="478"/>
          <ac:spMkLst>
            <pc:docMk/>
            <pc:sldMk cId="920433170" sldId="1704"/>
            <ac:spMk id="96" creationId="{DA9099CC-BC67-4487-9B01-F5CD8E9BB609}"/>
          </ac:spMkLst>
        </pc:spChg>
        <pc:spChg chg="del">
          <ac:chgData name="Yash Ratanpal" userId="5db668b1-93e7-4c08-9786-4ed81315a653" providerId="ADAL" clId="{3F7A7787-00CA-42A0-97CD-637349527123}" dt="2021-07-11T11:43:42.314" v="420" actId="478"/>
          <ac:spMkLst>
            <pc:docMk/>
            <pc:sldMk cId="920433170" sldId="1704"/>
            <ac:spMk id="97" creationId="{0D91D246-D141-42EB-B54F-0840F6D3D3AC}"/>
          </ac:spMkLst>
        </pc:spChg>
        <pc:spChg chg="del">
          <ac:chgData name="Yash Ratanpal" userId="5db668b1-93e7-4c08-9786-4ed81315a653" providerId="ADAL" clId="{3F7A7787-00CA-42A0-97CD-637349527123}" dt="2021-07-11T11:43:42.314" v="420" actId="478"/>
          <ac:spMkLst>
            <pc:docMk/>
            <pc:sldMk cId="920433170" sldId="1704"/>
            <ac:spMk id="98" creationId="{3F52E695-4B62-4E30-9A89-4C477B68B96F}"/>
          </ac:spMkLst>
        </pc:spChg>
        <pc:spChg chg="del">
          <ac:chgData name="Yash Ratanpal" userId="5db668b1-93e7-4c08-9786-4ed81315a653" providerId="ADAL" clId="{3F7A7787-00CA-42A0-97CD-637349527123}" dt="2021-07-11T11:43:42.314" v="420" actId="478"/>
          <ac:spMkLst>
            <pc:docMk/>
            <pc:sldMk cId="920433170" sldId="1704"/>
            <ac:spMk id="99" creationId="{CD1389DC-2EAB-4292-8F14-6601F531FB2F}"/>
          </ac:spMkLst>
        </pc:spChg>
        <pc:spChg chg="del">
          <ac:chgData name="Yash Ratanpal" userId="5db668b1-93e7-4c08-9786-4ed81315a653" providerId="ADAL" clId="{3F7A7787-00CA-42A0-97CD-637349527123}" dt="2021-07-11T11:43:42.314" v="420" actId="478"/>
          <ac:spMkLst>
            <pc:docMk/>
            <pc:sldMk cId="920433170" sldId="1704"/>
            <ac:spMk id="100" creationId="{504F5F89-2831-4714-B10A-67AFD6B92ECD}"/>
          </ac:spMkLst>
        </pc:spChg>
        <pc:spChg chg="del">
          <ac:chgData name="Yash Ratanpal" userId="5db668b1-93e7-4c08-9786-4ed81315a653" providerId="ADAL" clId="{3F7A7787-00CA-42A0-97CD-637349527123}" dt="2021-07-11T11:43:42.314" v="420" actId="478"/>
          <ac:spMkLst>
            <pc:docMk/>
            <pc:sldMk cId="920433170" sldId="1704"/>
            <ac:spMk id="101" creationId="{BE812A37-9CC1-466E-9562-7BD62E5128DE}"/>
          </ac:spMkLst>
        </pc:spChg>
        <pc:spChg chg="del">
          <ac:chgData name="Yash Ratanpal" userId="5db668b1-93e7-4c08-9786-4ed81315a653" providerId="ADAL" clId="{3F7A7787-00CA-42A0-97CD-637349527123}" dt="2021-07-11T11:43:42.314" v="420" actId="478"/>
          <ac:spMkLst>
            <pc:docMk/>
            <pc:sldMk cId="920433170" sldId="1704"/>
            <ac:spMk id="102" creationId="{7D2E37D4-88E8-4C5C-9B31-82A1194D2E1F}"/>
          </ac:spMkLst>
        </pc:spChg>
        <pc:spChg chg="del">
          <ac:chgData name="Yash Ratanpal" userId="5db668b1-93e7-4c08-9786-4ed81315a653" providerId="ADAL" clId="{3F7A7787-00CA-42A0-97CD-637349527123}" dt="2021-07-11T11:43:42.314" v="420" actId="478"/>
          <ac:spMkLst>
            <pc:docMk/>
            <pc:sldMk cId="920433170" sldId="1704"/>
            <ac:spMk id="103" creationId="{F7685AF2-8A3E-4A3C-90CB-3CA2FDD8ADBE}"/>
          </ac:spMkLst>
        </pc:spChg>
        <pc:spChg chg="del">
          <ac:chgData name="Yash Ratanpal" userId="5db668b1-93e7-4c08-9786-4ed81315a653" providerId="ADAL" clId="{3F7A7787-00CA-42A0-97CD-637349527123}" dt="2021-07-11T11:43:42.314" v="420" actId="478"/>
          <ac:spMkLst>
            <pc:docMk/>
            <pc:sldMk cId="920433170" sldId="1704"/>
            <ac:spMk id="104" creationId="{42F67B06-6379-4819-9FB1-1976E44F1C73}"/>
          </ac:spMkLst>
        </pc:spChg>
        <pc:spChg chg="del">
          <ac:chgData name="Yash Ratanpal" userId="5db668b1-93e7-4c08-9786-4ed81315a653" providerId="ADAL" clId="{3F7A7787-00CA-42A0-97CD-637349527123}" dt="2021-07-11T11:43:42.314" v="420" actId="478"/>
          <ac:spMkLst>
            <pc:docMk/>
            <pc:sldMk cId="920433170" sldId="1704"/>
            <ac:spMk id="105" creationId="{217BA448-11AC-49F0-BFE2-B698660932CB}"/>
          </ac:spMkLst>
        </pc:spChg>
        <pc:spChg chg="del">
          <ac:chgData name="Yash Ratanpal" userId="5db668b1-93e7-4c08-9786-4ed81315a653" providerId="ADAL" clId="{3F7A7787-00CA-42A0-97CD-637349527123}" dt="2021-07-11T11:43:42.314" v="420" actId="478"/>
          <ac:spMkLst>
            <pc:docMk/>
            <pc:sldMk cId="920433170" sldId="1704"/>
            <ac:spMk id="106" creationId="{A6B30FC3-48D1-4160-AB73-32E6617749ED}"/>
          </ac:spMkLst>
        </pc:spChg>
        <pc:spChg chg="del">
          <ac:chgData name="Yash Ratanpal" userId="5db668b1-93e7-4c08-9786-4ed81315a653" providerId="ADAL" clId="{3F7A7787-00CA-42A0-97CD-637349527123}" dt="2021-07-11T11:43:42.314" v="420" actId="478"/>
          <ac:spMkLst>
            <pc:docMk/>
            <pc:sldMk cId="920433170" sldId="1704"/>
            <ac:spMk id="107" creationId="{3B466589-AD65-44C4-BC42-F1AF43865DC5}"/>
          </ac:spMkLst>
        </pc:spChg>
        <pc:spChg chg="del">
          <ac:chgData name="Yash Ratanpal" userId="5db668b1-93e7-4c08-9786-4ed81315a653" providerId="ADAL" clId="{3F7A7787-00CA-42A0-97CD-637349527123}" dt="2021-07-11T11:43:42.314" v="420" actId="478"/>
          <ac:spMkLst>
            <pc:docMk/>
            <pc:sldMk cId="920433170" sldId="1704"/>
            <ac:spMk id="108" creationId="{0560212D-8C40-4302-A037-36104061CFC2}"/>
          </ac:spMkLst>
        </pc:spChg>
        <pc:spChg chg="mod">
          <ac:chgData name="Yash Ratanpal" userId="5db668b1-93e7-4c08-9786-4ed81315a653" providerId="ADAL" clId="{3F7A7787-00CA-42A0-97CD-637349527123}" dt="2021-07-11T11:43:51.071" v="424" actId="1076"/>
          <ac:spMkLst>
            <pc:docMk/>
            <pc:sldMk cId="920433170" sldId="1704"/>
            <ac:spMk id="109" creationId="{101B1C79-2C01-4B46-8E54-31E4635E37C8}"/>
          </ac:spMkLst>
        </pc:spChg>
        <pc:spChg chg="del">
          <ac:chgData name="Yash Ratanpal" userId="5db668b1-93e7-4c08-9786-4ed81315a653" providerId="ADAL" clId="{3F7A7787-00CA-42A0-97CD-637349527123}" dt="2021-07-11T11:43:42.314" v="420" actId="478"/>
          <ac:spMkLst>
            <pc:docMk/>
            <pc:sldMk cId="920433170" sldId="1704"/>
            <ac:spMk id="110" creationId="{4E9D6CC5-EBC0-4719-BA75-F35ED7111AD0}"/>
          </ac:spMkLst>
        </pc:spChg>
        <pc:spChg chg="del">
          <ac:chgData name="Yash Ratanpal" userId="5db668b1-93e7-4c08-9786-4ed81315a653" providerId="ADAL" clId="{3F7A7787-00CA-42A0-97CD-637349527123}" dt="2021-07-11T11:43:42.314" v="420" actId="478"/>
          <ac:spMkLst>
            <pc:docMk/>
            <pc:sldMk cId="920433170" sldId="1704"/>
            <ac:spMk id="111" creationId="{35BFF57F-DF4B-4051-AF28-05DFF484A0E4}"/>
          </ac:spMkLst>
        </pc:spChg>
        <pc:spChg chg="del">
          <ac:chgData name="Yash Ratanpal" userId="5db668b1-93e7-4c08-9786-4ed81315a653" providerId="ADAL" clId="{3F7A7787-00CA-42A0-97CD-637349527123}" dt="2021-07-11T11:43:42.314" v="420" actId="478"/>
          <ac:spMkLst>
            <pc:docMk/>
            <pc:sldMk cId="920433170" sldId="1704"/>
            <ac:spMk id="112" creationId="{B6E2A6A2-FA82-4279-8C71-77E389433938}"/>
          </ac:spMkLst>
        </pc:spChg>
        <pc:spChg chg="del">
          <ac:chgData name="Yash Ratanpal" userId="5db668b1-93e7-4c08-9786-4ed81315a653" providerId="ADAL" clId="{3F7A7787-00CA-42A0-97CD-637349527123}" dt="2021-07-11T11:43:42.314" v="420" actId="478"/>
          <ac:spMkLst>
            <pc:docMk/>
            <pc:sldMk cId="920433170" sldId="1704"/>
            <ac:spMk id="113" creationId="{CD338C18-FEF4-450A-86F2-B0670EFEAB90}"/>
          </ac:spMkLst>
        </pc:spChg>
        <pc:spChg chg="del">
          <ac:chgData name="Yash Ratanpal" userId="5db668b1-93e7-4c08-9786-4ed81315a653" providerId="ADAL" clId="{3F7A7787-00CA-42A0-97CD-637349527123}" dt="2021-07-11T11:43:42.314" v="420" actId="478"/>
          <ac:spMkLst>
            <pc:docMk/>
            <pc:sldMk cId="920433170" sldId="1704"/>
            <ac:spMk id="114" creationId="{53F94D77-C6DC-4B05-85EF-B07AD773E1FB}"/>
          </ac:spMkLst>
        </pc:spChg>
        <pc:spChg chg="del">
          <ac:chgData name="Yash Ratanpal" userId="5db668b1-93e7-4c08-9786-4ed81315a653" providerId="ADAL" clId="{3F7A7787-00CA-42A0-97CD-637349527123}" dt="2021-07-11T11:43:42.314" v="420" actId="478"/>
          <ac:spMkLst>
            <pc:docMk/>
            <pc:sldMk cId="920433170" sldId="1704"/>
            <ac:spMk id="115" creationId="{ABDC57BC-98DD-467B-81E5-E3CD0679444F}"/>
          </ac:spMkLst>
        </pc:spChg>
        <pc:spChg chg="del">
          <ac:chgData name="Yash Ratanpal" userId="5db668b1-93e7-4c08-9786-4ed81315a653" providerId="ADAL" clId="{3F7A7787-00CA-42A0-97CD-637349527123}" dt="2021-07-11T11:43:42.314" v="420" actId="478"/>
          <ac:spMkLst>
            <pc:docMk/>
            <pc:sldMk cId="920433170" sldId="1704"/>
            <ac:spMk id="116" creationId="{8F3FFFE4-E0FB-4A8D-B1F2-C95121490153}"/>
          </ac:spMkLst>
        </pc:spChg>
        <pc:spChg chg="del">
          <ac:chgData name="Yash Ratanpal" userId="5db668b1-93e7-4c08-9786-4ed81315a653" providerId="ADAL" clId="{3F7A7787-00CA-42A0-97CD-637349527123}" dt="2021-07-11T11:43:42.314" v="420" actId="478"/>
          <ac:spMkLst>
            <pc:docMk/>
            <pc:sldMk cId="920433170" sldId="1704"/>
            <ac:spMk id="117" creationId="{A4D7243A-828F-4558-9317-AA13CA2463AC}"/>
          </ac:spMkLst>
        </pc:spChg>
        <pc:spChg chg="del">
          <ac:chgData name="Yash Ratanpal" userId="5db668b1-93e7-4c08-9786-4ed81315a653" providerId="ADAL" clId="{3F7A7787-00CA-42A0-97CD-637349527123}" dt="2021-07-11T11:43:42.314" v="420" actId="478"/>
          <ac:spMkLst>
            <pc:docMk/>
            <pc:sldMk cId="920433170" sldId="1704"/>
            <ac:spMk id="118" creationId="{05FFB165-EF81-4579-97A7-4D3D16B5C3F6}"/>
          </ac:spMkLst>
        </pc:spChg>
        <pc:spChg chg="del">
          <ac:chgData name="Yash Ratanpal" userId="5db668b1-93e7-4c08-9786-4ed81315a653" providerId="ADAL" clId="{3F7A7787-00CA-42A0-97CD-637349527123}" dt="2021-07-11T11:43:42.314" v="420" actId="478"/>
          <ac:spMkLst>
            <pc:docMk/>
            <pc:sldMk cId="920433170" sldId="1704"/>
            <ac:spMk id="119" creationId="{33F274E7-53F1-4DA4-B5C9-14399AD9B0E7}"/>
          </ac:spMkLst>
        </pc:spChg>
        <pc:spChg chg="del">
          <ac:chgData name="Yash Ratanpal" userId="5db668b1-93e7-4c08-9786-4ed81315a653" providerId="ADAL" clId="{3F7A7787-00CA-42A0-97CD-637349527123}" dt="2021-07-11T11:43:42.314" v="420" actId="478"/>
          <ac:spMkLst>
            <pc:docMk/>
            <pc:sldMk cId="920433170" sldId="1704"/>
            <ac:spMk id="120" creationId="{98639536-99AA-459D-BF86-34EB9AF0BF56}"/>
          </ac:spMkLst>
        </pc:spChg>
        <pc:spChg chg="del">
          <ac:chgData name="Yash Ratanpal" userId="5db668b1-93e7-4c08-9786-4ed81315a653" providerId="ADAL" clId="{3F7A7787-00CA-42A0-97CD-637349527123}" dt="2021-07-11T11:43:42.314" v="420" actId="478"/>
          <ac:spMkLst>
            <pc:docMk/>
            <pc:sldMk cId="920433170" sldId="1704"/>
            <ac:spMk id="121" creationId="{DA12F555-EBAB-488A-BA7D-A2093ED7C368}"/>
          </ac:spMkLst>
        </pc:spChg>
        <pc:spChg chg="del">
          <ac:chgData name="Yash Ratanpal" userId="5db668b1-93e7-4c08-9786-4ed81315a653" providerId="ADAL" clId="{3F7A7787-00CA-42A0-97CD-637349527123}" dt="2021-07-11T11:43:42.314" v="420" actId="478"/>
          <ac:spMkLst>
            <pc:docMk/>
            <pc:sldMk cId="920433170" sldId="1704"/>
            <ac:spMk id="122" creationId="{CD2ECBD5-FD7A-4DCC-9D41-9A98B0BBE46A}"/>
          </ac:spMkLst>
        </pc:spChg>
        <pc:spChg chg="del">
          <ac:chgData name="Yash Ratanpal" userId="5db668b1-93e7-4c08-9786-4ed81315a653" providerId="ADAL" clId="{3F7A7787-00CA-42A0-97CD-637349527123}" dt="2021-07-11T11:43:42.314" v="420" actId="478"/>
          <ac:spMkLst>
            <pc:docMk/>
            <pc:sldMk cId="920433170" sldId="1704"/>
            <ac:spMk id="123" creationId="{8B6409E9-6B69-4253-AE73-BE76029A27E8}"/>
          </ac:spMkLst>
        </pc:spChg>
        <pc:spChg chg="del">
          <ac:chgData name="Yash Ratanpal" userId="5db668b1-93e7-4c08-9786-4ed81315a653" providerId="ADAL" clId="{3F7A7787-00CA-42A0-97CD-637349527123}" dt="2021-07-11T11:43:42.314" v="420" actId="478"/>
          <ac:spMkLst>
            <pc:docMk/>
            <pc:sldMk cId="920433170" sldId="1704"/>
            <ac:spMk id="124" creationId="{448D0C69-2886-4567-8C50-0EA91EBDBEAC}"/>
          </ac:spMkLst>
        </pc:spChg>
        <pc:spChg chg="del">
          <ac:chgData name="Yash Ratanpal" userId="5db668b1-93e7-4c08-9786-4ed81315a653" providerId="ADAL" clId="{3F7A7787-00CA-42A0-97CD-637349527123}" dt="2021-07-11T11:43:42.314" v="420" actId="478"/>
          <ac:spMkLst>
            <pc:docMk/>
            <pc:sldMk cId="920433170" sldId="1704"/>
            <ac:spMk id="125" creationId="{92C536D7-A5A8-45AF-8055-0CC6F450090C}"/>
          </ac:spMkLst>
        </pc:spChg>
        <pc:spChg chg="del">
          <ac:chgData name="Yash Ratanpal" userId="5db668b1-93e7-4c08-9786-4ed81315a653" providerId="ADAL" clId="{3F7A7787-00CA-42A0-97CD-637349527123}" dt="2021-07-11T11:43:42.314" v="420" actId="478"/>
          <ac:spMkLst>
            <pc:docMk/>
            <pc:sldMk cId="920433170" sldId="1704"/>
            <ac:spMk id="126" creationId="{A6524B88-C4F7-491A-832A-B3A2B5BFF42D}"/>
          </ac:spMkLst>
        </pc:spChg>
        <pc:spChg chg="del">
          <ac:chgData name="Yash Ratanpal" userId="5db668b1-93e7-4c08-9786-4ed81315a653" providerId="ADAL" clId="{3F7A7787-00CA-42A0-97CD-637349527123}" dt="2021-07-11T11:43:42.314" v="420" actId="478"/>
          <ac:spMkLst>
            <pc:docMk/>
            <pc:sldMk cId="920433170" sldId="1704"/>
            <ac:spMk id="127" creationId="{9A383336-DAF3-4356-BC47-D508D39DE957}"/>
          </ac:spMkLst>
        </pc:spChg>
        <pc:spChg chg="mod">
          <ac:chgData name="Yash Ratanpal" userId="5db668b1-93e7-4c08-9786-4ed81315a653" providerId="ADAL" clId="{3F7A7787-00CA-42A0-97CD-637349527123}" dt="2021-07-11T11:43:51.071" v="424" actId="1076"/>
          <ac:spMkLst>
            <pc:docMk/>
            <pc:sldMk cId="920433170" sldId="1704"/>
            <ac:spMk id="128" creationId="{A31DE522-4726-40D1-9700-C22364B86FBE}"/>
          </ac:spMkLst>
        </pc:spChg>
        <pc:spChg chg="mod">
          <ac:chgData name="Yash Ratanpal" userId="5db668b1-93e7-4c08-9786-4ed81315a653" providerId="ADAL" clId="{3F7A7787-00CA-42A0-97CD-637349527123}" dt="2021-07-11T11:43:51.071" v="424" actId="1076"/>
          <ac:spMkLst>
            <pc:docMk/>
            <pc:sldMk cId="920433170" sldId="1704"/>
            <ac:spMk id="129" creationId="{A0E680B8-480F-4DAA-829E-4F80E4E48D31}"/>
          </ac:spMkLst>
        </pc:spChg>
        <pc:spChg chg="mod">
          <ac:chgData name="Yash Ratanpal" userId="5db668b1-93e7-4c08-9786-4ed81315a653" providerId="ADAL" clId="{3F7A7787-00CA-42A0-97CD-637349527123}" dt="2021-07-11T11:43:51.071" v="424" actId="1076"/>
          <ac:spMkLst>
            <pc:docMk/>
            <pc:sldMk cId="920433170" sldId="1704"/>
            <ac:spMk id="130" creationId="{C5878D2D-679E-44AE-BF68-C5F9E2F5F401}"/>
          </ac:spMkLst>
        </pc:spChg>
        <pc:spChg chg="mod">
          <ac:chgData name="Yash Ratanpal" userId="5db668b1-93e7-4c08-9786-4ed81315a653" providerId="ADAL" clId="{3F7A7787-00CA-42A0-97CD-637349527123}" dt="2021-07-11T11:43:51.071" v="424" actId="1076"/>
          <ac:spMkLst>
            <pc:docMk/>
            <pc:sldMk cId="920433170" sldId="1704"/>
            <ac:spMk id="131" creationId="{86E82E42-1D9E-4325-9E1E-0C67CE5E0C2C}"/>
          </ac:spMkLst>
        </pc:spChg>
        <pc:spChg chg="mod">
          <ac:chgData name="Yash Ratanpal" userId="5db668b1-93e7-4c08-9786-4ed81315a653" providerId="ADAL" clId="{3F7A7787-00CA-42A0-97CD-637349527123}" dt="2021-07-11T11:43:51.071" v="424" actId="1076"/>
          <ac:spMkLst>
            <pc:docMk/>
            <pc:sldMk cId="920433170" sldId="1704"/>
            <ac:spMk id="132" creationId="{FB18E018-D53A-41F1-8891-3D023EBD0B72}"/>
          </ac:spMkLst>
        </pc:spChg>
        <pc:spChg chg="mod">
          <ac:chgData name="Yash Ratanpal" userId="5db668b1-93e7-4c08-9786-4ed81315a653" providerId="ADAL" clId="{3F7A7787-00CA-42A0-97CD-637349527123}" dt="2021-07-11T11:43:51.071" v="424" actId="1076"/>
          <ac:spMkLst>
            <pc:docMk/>
            <pc:sldMk cId="920433170" sldId="1704"/>
            <ac:spMk id="133" creationId="{3E96B0DA-AC42-45B8-88CD-0D13AB98C3D0}"/>
          </ac:spMkLst>
        </pc:spChg>
        <pc:spChg chg="mod">
          <ac:chgData name="Yash Ratanpal" userId="5db668b1-93e7-4c08-9786-4ed81315a653" providerId="ADAL" clId="{3F7A7787-00CA-42A0-97CD-637349527123}" dt="2021-07-11T11:43:51.071" v="424" actId="1076"/>
          <ac:spMkLst>
            <pc:docMk/>
            <pc:sldMk cId="920433170" sldId="1704"/>
            <ac:spMk id="134" creationId="{D1DFC8C7-0A1D-4894-8BD4-A15FA49B9CAA}"/>
          </ac:spMkLst>
        </pc:spChg>
        <pc:spChg chg="mod">
          <ac:chgData name="Yash Ratanpal" userId="5db668b1-93e7-4c08-9786-4ed81315a653" providerId="ADAL" clId="{3F7A7787-00CA-42A0-97CD-637349527123}" dt="2021-07-11T11:43:51.071" v="424" actId="1076"/>
          <ac:spMkLst>
            <pc:docMk/>
            <pc:sldMk cId="920433170" sldId="1704"/>
            <ac:spMk id="136" creationId="{679E726A-28C9-4714-8191-ABFCAD020919}"/>
          </ac:spMkLst>
        </pc:spChg>
        <pc:spChg chg="mod">
          <ac:chgData name="Yash Ratanpal" userId="5db668b1-93e7-4c08-9786-4ed81315a653" providerId="ADAL" clId="{3F7A7787-00CA-42A0-97CD-637349527123}" dt="2021-07-11T11:43:51.071" v="424" actId="1076"/>
          <ac:spMkLst>
            <pc:docMk/>
            <pc:sldMk cId="920433170" sldId="1704"/>
            <ac:spMk id="137" creationId="{6AB4EF12-CAF0-4F9C-81D1-B4DD8B4B2F95}"/>
          </ac:spMkLst>
        </pc:spChg>
        <pc:spChg chg="mod">
          <ac:chgData name="Yash Ratanpal" userId="5db668b1-93e7-4c08-9786-4ed81315a653" providerId="ADAL" clId="{3F7A7787-00CA-42A0-97CD-637349527123}" dt="2021-07-11T11:43:51.071" v="424" actId="1076"/>
          <ac:spMkLst>
            <pc:docMk/>
            <pc:sldMk cId="920433170" sldId="1704"/>
            <ac:spMk id="138" creationId="{4EE97929-7F3D-4D72-A56E-A860C28CE08D}"/>
          </ac:spMkLst>
        </pc:spChg>
        <pc:spChg chg="mod">
          <ac:chgData name="Yash Ratanpal" userId="5db668b1-93e7-4c08-9786-4ed81315a653" providerId="ADAL" clId="{3F7A7787-00CA-42A0-97CD-637349527123}" dt="2021-07-11T11:43:51.071" v="424" actId="1076"/>
          <ac:spMkLst>
            <pc:docMk/>
            <pc:sldMk cId="920433170" sldId="1704"/>
            <ac:spMk id="139" creationId="{00E0C0A2-FB77-48B0-B794-7BC68F0FAB97}"/>
          </ac:spMkLst>
        </pc:spChg>
        <pc:spChg chg="mod">
          <ac:chgData name="Yash Ratanpal" userId="5db668b1-93e7-4c08-9786-4ed81315a653" providerId="ADAL" clId="{3F7A7787-00CA-42A0-97CD-637349527123}" dt="2021-07-11T11:43:51.071" v="424" actId="1076"/>
          <ac:spMkLst>
            <pc:docMk/>
            <pc:sldMk cId="920433170" sldId="1704"/>
            <ac:spMk id="140" creationId="{08FE66B4-F460-4816-8B2A-9FF7E0E0EF9B}"/>
          </ac:spMkLst>
        </pc:spChg>
        <pc:spChg chg="mod topLvl">
          <ac:chgData name="Yash Ratanpal" userId="5db668b1-93e7-4c08-9786-4ed81315a653" providerId="ADAL" clId="{3F7A7787-00CA-42A0-97CD-637349527123}" dt="2021-07-18T15:15:27.918" v="4890" actId="1076"/>
          <ac:spMkLst>
            <pc:docMk/>
            <pc:sldMk cId="920433170" sldId="1704"/>
            <ac:spMk id="146" creationId="{2AAA0471-918C-463B-ACC7-7C18A0F50FA8}"/>
          </ac:spMkLst>
        </pc:spChg>
        <pc:spChg chg="mod topLvl">
          <ac:chgData name="Yash Ratanpal" userId="5db668b1-93e7-4c08-9786-4ed81315a653" providerId="ADAL" clId="{3F7A7787-00CA-42A0-97CD-637349527123}" dt="2021-07-18T15:15:27.918" v="4890" actId="1076"/>
          <ac:spMkLst>
            <pc:docMk/>
            <pc:sldMk cId="920433170" sldId="1704"/>
            <ac:spMk id="147" creationId="{0A6F686D-688F-46D1-8BFB-E535315F6A1E}"/>
          </ac:spMkLst>
        </pc:spChg>
        <pc:spChg chg="mod topLvl">
          <ac:chgData name="Yash Ratanpal" userId="5db668b1-93e7-4c08-9786-4ed81315a653" providerId="ADAL" clId="{3F7A7787-00CA-42A0-97CD-637349527123}" dt="2021-07-18T15:15:27.918" v="4890" actId="1076"/>
          <ac:spMkLst>
            <pc:docMk/>
            <pc:sldMk cId="920433170" sldId="1704"/>
            <ac:spMk id="148" creationId="{9CBBE768-D1A6-4D7F-BD2E-87319A649A75}"/>
          </ac:spMkLst>
        </pc:spChg>
        <pc:spChg chg="mod topLvl">
          <ac:chgData name="Yash Ratanpal" userId="5db668b1-93e7-4c08-9786-4ed81315a653" providerId="ADAL" clId="{3F7A7787-00CA-42A0-97CD-637349527123}" dt="2021-07-18T15:15:27.918" v="4890" actId="1076"/>
          <ac:spMkLst>
            <pc:docMk/>
            <pc:sldMk cId="920433170" sldId="1704"/>
            <ac:spMk id="149" creationId="{5FD53F7B-55ED-49FF-A9FB-D61E896B5046}"/>
          </ac:spMkLst>
        </pc:spChg>
        <pc:spChg chg="mod topLvl">
          <ac:chgData name="Yash Ratanpal" userId="5db668b1-93e7-4c08-9786-4ed81315a653" providerId="ADAL" clId="{3F7A7787-00CA-42A0-97CD-637349527123}" dt="2021-07-18T15:15:27.918" v="4890" actId="1076"/>
          <ac:spMkLst>
            <pc:docMk/>
            <pc:sldMk cId="920433170" sldId="1704"/>
            <ac:spMk id="150" creationId="{98078FBB-476A-4D93-917F-3A678982E8FC}"/>
          </ac:spMkLst>
        </pc:spChg>
        <pc:spChg chg="mod topLvl">
          <ac:chgData name="Yash Ratanpal" userId="5db668b1-93e7-4c08-9786-4ed81315a653" providerId="ADAL" clId="{3F7A7787-00CA-42A0-97CD-637349527123}" dt="2021-07-18T15:15:27.918" v="4890" actId="1076"/>
          <ac:spMkLst>
            <pc:docMk/>
            <pc:sldMk cId="920433170" sldId="1704"/>
            <ac:spMk id="151" creationId="{D52E9C83-0F29-4F7A-82A9-0B4C50C4F001}"/>
          </ac:spMkLst>
        </pc:spChg>
        <pc:spChg chg="mod topLvl">
          <ac:chgData name="Yash Ratanpal" userId="5db668b1-93e7-4c08-9786-4ed81315a653" providerId="ADAL" clId="{3F7A7787-00CA-42A0-97CD-637349527123}" dt="2021-07-18T15:15:27.918" v="4890" actId="1076"/>
          <ac:spMkLst>
            <pc:docMk/>
            <pc:sldMk cId="920433170" sldId="1704"/>
            <ac:spMk id="152" creationId="{4DA50F97-6CF8-4C94-AA4A-78141CA2EF13}"/>
          </ac:spMkLst>
        </pc:spChg>
        <pc:spChg chg="mod topLvl">
          <ac:chgData name="Yash Ratanpal" userId="5db668b1-93e7-4c08-9786-4ed81315a653" providerId="ADAL" clId="{3F7A7787-00CA-42A0-97CD-637349527123}" dt="2021-07-18T15:15:27.918" v="4890" actId="1076"/>
          <ac:spMkLst>
            <pc:docMk/>
            <pc:sldMk cId="920433170" sldId="1704"/>
            <ac:spMk id="153" creationId="{FF53B798-58FF-4312-A53F-C53A12FD3C06}"/>
          </ac:spMkLst>
        </pc:spChg>
        <pc:spChg chg="mod topLvl">
          <ac:chgData name="Yash Ratanpal" userId="5db668b1-93e7-4c08-9786-4ed81315a653" providerId="ADAL" clId="{3F7A7787-00CA-42A0-97CD-637349527123}" dt="2021-07-18T15:15:27.918" v="4890" actId="1076"/>
          <ac:spMkLst>
            <pc:docMk/>
            <pc:sldMk cId="920433170" sldId="1704"/>
            <ac:spMk id="154" creationId="{5BA937D0-C519-423F-AA2E-EC9EE4F791E6}"/>
          </ac:spMkLst>
        </pc:spChg>
        <pc:spChg chg="mod topLvl">
          <ac:chgData name="Yash Ratanpal" userId="5db668b1-93e7-4c08-9786-4ed81315a653" providerId="ADAL" clId="{3F7A7787-00CA-42A0-97CD-637349527123}" dt="2021-07-18T15:15:27.918" v="4890" actId="1076"/>
          <ac:spMkLst>
            <pc:docMk/>
            <pc:sldMk cId="920433170" sldId="1704"/>
            <ac:spMk id="155" creationId="{82BDEAEB-7E5E-42CA-907B-DD4A24367C85}"/>
          </ac:spMkLst>
        </pc:spChg>
        <pc:spChg chg="mod topLvl">
          <ac:chgData name="Yash Ratanpal" userId="5db668b1-93e7-4c08-9786-4ed81315a653" providerId="ADAL" clId="{3F7A7787-00CA-42A0-97CD-637349527123}" dt="2021-07-18T15:15:27.918" v="4890" actId="1076"/>
          <ac:spMkLst>
            <pc:docMk/>
            <pc:sldMk cId="920433170" sldId="1704"/>
            <ac:spMk id="156" creationId="{FD86C9B0-1FDF-47FC-8531-F73135986E1F}"/>
          </ac:spMkLst>
        </pc:spChg>
        <pc:spChg chg="mod topLvl">
          <ac:chgData name="Yash Ratanpal" userId="5db668b1-93e7-4c08-9786-4ed81315a653" providerId="ADAL" clId="{3F7A7787-00CA-42A0-97CD-637349527123}" dt="2021-07-18T15:15:27.918" v="4890" actId="1076"/>
          <ac:spMkLst>
            <pc:docMk/>
            <pc:sldMk cId="920433170" sldId="1704"/>
            <ac:spMk id="158" creationId="{D10F644F-94F4-47C7-A62D-F239256482C4}"/>
          </ac:spMkLst>
        </pc:spChg>
        <pc:spChg chg="mod topLvl">
          <ac:chgData name="Yash Ratanpal" userId="5db668b1-93e7-4c08-9786-4ed81315a653" providerId="ADAL" clId="{3F7A7787-00CA-42A0-97CD-637349527123}" dt="2021-07-18T15:15:27.918" v="4890" actId="1076"/>
          <ac:spMkLst>
            <pc:docMk/>
            <pc:sldMk cId="920433170" sldId="1704"/>
            <ac:spMk id="159" creationId="{1013FDCF-4127-48A1-9FD3-91F6DA85F0F2}"/>
          </ac:spMkLst>
        </pc:spChg>
        <pc:spChg chg="mod">
          <ac:chgData name="Yash Ratanpal" userId="5db668b1-93e7-4c08-9786-4ed81315a653" providerId="ADAL" clId="{3F7A7787-00CA-42A0-97CD-637349527123}" dt="2021-07-18T15:15:27.918" v="4890" actId="1076"/>
          <ac:spMkLst>
            <pc:docMk/>
            <pc:sldMk cId="920433170" sldId="1704"/>
            <ac:spMk id="160" creationId="{A1073411-C1B1-4109-B91D-A97CA467A91A}"/>
          </ac:spMkLst>
        </pc:spChg>
        <pc:spChg chg="mod">
          <ac:chgData name="Yash Ratanpal" userId="5db668b1-93e7-4c08-9786-4ed81315a653" providerId="ADAL" clId="{3F7A7787-00CA-42A0-97CD-637349527123}" dt="2021-07-18T15:15:27.918" v="4890" actId="1076"/>
          <ac:spMkLst>
            <pc:docMk/>
            <pc:sldMk cId="920433170" sldId="1704"/>
            <ac:spMk id="161" creationId="{C48E2455-D6FC-4789-AAA7-9C23EDE825F8}"/>
          </ac:spMkLst>
        </pc:spChg>
        <pc:spChg chg="mod">
          <ac:chgData name="Yash Ratanpal" userId="5db668b1-93e7-4c08-9786-4ed81315a653" providerId="ADAL" clId="{3F7A7787-00CA-42A0-97CD-637349527123}" dt="2021-07-18T15:15:27.918" v="4890" actId="1076"/>
          <ac:spMkLst>
            <pc:docMk/>
            <pc:sldMk cId="920433170" sldId="1704"/>
            <ac:spMk id="162" creationId="{21248CB0-3F68-4F56-AFD2-6BEB95F5EC07}"/>
          </ac:spMkLst>
        </pc:spChg>
        <pc:spChg chg="mod">
          <ac:chgData name="Yash Ratanpal" userId="5db668b1-93e7-4c08-9786-4ed81315a653" providerId="ADAL" clId="{3F7A7787-00CA-42A0-97CD-637349527123}" dt="2021-07-18T15:15:27.918" v="4890" actId="1076"/>
          <ac:spMkLst>
            <pc:docMk/>
            <pc:sldMk cId="920433170" sldId="1704"/>
            <ac:spMk id="163" creationId="{BCDAC941-29C9-4A7A-B4F3-E21EF01B6555}"/>
          </ac:spMkLst>
        </pc:spChg>
        <pc:spChg chg="mod">
          <ac:chgData name="Yash Ratanpal" userId="5db668b1-93e7-4c08-9786-4ed81315a653" providerId="ADAL" clId="{3F7A7787-00CA-42A0-97CD-637349527123}" dt="2021-07-18T15:15:27.918" v="4890" actId="1076"/>
          <ac:spMkLst>
            <pc:docMk/>
            <pc:sldMk cId="920433170" sldId="1704"/>
            <ac:spMk id="164" creationId="{73A4AA55-EDB5-4200-A4FA-A6CA12392BDD}"/>
          </ac:spMkLst>
        </pc:spChg>
        <pc:spChg chg="mod">
          <ac:chgData name="Yash Ratanpal" userId="5db668b1-93e7-4c08-9786-4ed81315a653" providerId="ADAL" clId="{3F7A7787-00CA-42A0-97CD-637349527123}" dt="2021-07-18T15:15:27.918" v="4890" actId="1076"/>
          <ac:spMkLst>
            <pc:docMk/>
            <pc:sldMk cId="920433170" sldId="1704"/>
            <ac:spMk id="165" creationId="{9781A130-DCFE-41E5-AC14-A51AD0E4447E}"/>
          </ac:spMkLst>
        </pc:spChg>
        <pc:spChg chg="mod">
          <ac:chgData name="Yash Ratanpal" userId="5db668b1-93e7-4c08-9786-4ed81315a653" providerId="ADAL" clId="{3F7A7787-00CA-42A0-97CD-637349527123}" dt="2021-07-18T15:15:27.918" v="4890" actId="1076"/>
          <ac:spMkLst>
            <pc:docMk/>
            <pc:sldMk cId="920433170" sldId="1704"/>
            <ac:spMk id="166" creationId="{17761EBB-D5FC-4BE9-846A-6C976F9992EB}"/>
          </ac:spMkLst>
        </pc:spChg>
        <pc:spChg chg="mod">
          <ac:chgData name="Yash Ratanpal" userId="5db668b1-93e7-4c08-9786-4ed81315a653" providerId="ADAL" clId="{3F7A7787-00CA-42A0-97CD-637349527123}" dt="2021-07-18T15:15:27.918" v="4890" actId="1076"/>
          <ac:spMkLst>
            <pc:docMk/>
            <pc:sldMk cId="920433170" sldId="1704"/>
            <ac:spMk id="167" creationId="{25EA8D36-293D-4663-BB5B-82ECC11EF7F8}"/>
          </ac:spMkLst>
        </pc:spChg>
        <pc:spChg chg="mod">
          <ac:chgData name="Yash Ratanpal" userId="5db668b1-93e7-4c08-9786-4ed81315a653" providerId="ADAL" clId="{3F7A7787-00CA-42A0-97CD-637349527123}" dt="2021-07-18T15:15:27.918" v="4890" actId="1076"/>
          <ac:spMkLst>
            <pc:docMk/>
            <pc:sldMk cId="920433170" sldId="1704"/>
            <ac:spMk id="168" creationId="{5EA4B639-708F-4297-ADA0-1B5E46F85AE9}"/>
          </ac:spMkLst>
        </pc:spChg>
        <pc:spChg chg="mod">
          <ac:chgData name="Yash Ratanpal" userId="5db668b1-93e7-4c08-9786-4ed81315a653" providerId="ADAL" clId="{3F7A7787-00CA-42A0-97CD-637349527123}" dt="2021-07-18T15:15:27.918" v="4890" actId="1076"/>
          <ac:spMkLst>
            <pc:docMk/>
            <pc:sldMk cId="920433170" sldId="1704"/>
            <ac:spMk id="169" creationId="{0FFCE5C3-76B9-491D-8749-F28E217AD700}"/>
          </ac:spMkLst>
        </pc:spChg>
        <pc:spChg chg="mod">
          <ac:chgData name="Yash Ratanpal" userId="5db668b1-93e7-4c08-9786-4ed81315a653" providerId="ADAL" clId="{3F7A7787-00CA-42A0-97CD-637349527123}" dt="2021-07-18T15:15:27.918" v="4890" actId="1076"/>
          <ac:spMkLst>
            <pc:docMk/>
            <pc:sldMk cId="920433170" sldId="1704"/>
            <ac:spMk id="170" creationId="{5BF48E65-18FA-4FDB-8B96-6F7DA64AC15E}"/>
          </ac:spMkLst>
        </pc:spChg>
        <pc:spChg chg="mod">
          <ac:chgData name="Yash Ratanpal" userId="5db668b1-93e7-4c08-9786-4ed81315a653" providerId="ADAL" clId="{3F7A7787-00CA-42A0-97CD-637349527123}" dt="2021-07-18T15:15:27.918" v="4890" actId="1076"/>
          <ac:spMkLst>
            <pc:docMk/>
            <pc:sldMk cId="920433170" sldId="1704"/>
            <ac:spMk id="171" creationId="{CB5A2B76-9696-4AE1-BD39-330ADDA934D4}"/>
          </ac:spMkLst>
        </pc:spChg>
        <pc:spChg chg="mod">
          <ac:chgData name="Yash Ratanpal" userId="5db668b1-93e7-4c08-9786-4ed81315a653" providerId="ADAL" clId="{3F7A7787-00CA-42A0-97CD-637349527123}" dt="2021-07-18T15:15:27.918" v="4890" actId="1076"/>
          <ac:spMkLst>
            <pc:docMk/>
            <pc:sldMk cId="920433170" sldId="1704"/>
            <ac:spMk id="172" creationId="{EF8C984E-D395-475C-91CE-910A3B337A0C}"/>
          </ac:spMkLst>
        </pc:spChg>
        <pc:spChg chg="mod">
          <ac:chgData name="Yash Ratanpal" userId="5db668b1-93e7-4c08-9786-4ed81315a653" providerId="ADAL" clId="{3F7A7787-00CA-42A0-97CD-637349527123}" dt="2021-07-18T15:15:27.918" v="4890" actId="1076"/>
          <ac:spMkLst>
            <pc:docMk/>
            <pc:sldMk cId="920433170" sldId="1704"/>
            <ac:spMk id="173" creationId="{1DECB29C-4127-4DBA-98F9-083CC664B586}"/>
          </ac:spMkLst>
        </pc:spChg>
        <pc:spChg chg="mod">
          <ac:chgData name="Yash Ratanpal" userId="5db668b1-93e7-4c08-9786-4ed81315a653" providerId="ADAL" clId="{3F7A7787-00CA-42A0-97CD-637349527123}" dt="2021-07-18T15:15:27.918" v="4890" actId="1076"/>
          <ac:spMkLst>
            <pc:docMk/>
            <pc:sldMk cId="920433170" sldId="1704"/>
            <ac:spMk id="174" creationId="{4A95D35A-4770-4698-A1E5-CA16F790DDFC}"/>
          </ac:spMkLst>
        </pc:spChg>
        <pc:spChg chg="mod">
          <ac:chgData name="Yash Ratanpal" userId="5db668b1-93e7-4c08-9786-4ed81315a653" providerId="ADAL" clId="{3F7A7787-00CA-42A0-97CD-637349527123}" dt="2021-07-18T15:15:27.918" v="4890" actId="1076"/>
          <ac:spMkLst>
            <pc:docMk/>
            <pc:sldMk cId="920433170" sldId="1704"/>
            <ac:spMk id="175" creationId="{606FB281-E223-4D4D-88B3-DC5CDA0A9486}"/>
          </ac:spMkLst>
        </pc:spChg>
        <pc:spChg chg="mod">
          <ac:chgData name="Yash Ratanpal" userId="5db668b1-93e7-4c08-9786-4ed81315a653" providerId="ADAL" clId="{3F7A7787-00CA-42A0-97CD-637349527123}" dt="2021-07-18T15:15:27.918" v="4890" actId="1076"/>
          <ac:spMkLst>
            <pc:docMk/>
            <pc:sldMk cId="920433170" sldId="1704"/>
            <ac:spMk id="176" creationId="{B3782C8F-5DBC-4A01-BC95-E98A5F96BBD2}"/>
          </ac:spMkLst>
        </pc:spChg>
        <pc:spChg chg="mod">
          <ac:chgData name="Yash Ratanpal" userId="5db668b1-93e7-4c08-9786-4ed81315a653" providerId="ADAL" clId="{3F7A7787-00CA-42A0-97CD-637349527123}" dt="2021-07-18T15:15:27.918" v="4890" actId="1076"/>
          <ac:spMkLst>
            <pc:docMk/>
            <pc:sldMk cId="920433170" sldId="1704"/>
            <ac:spMk id="177" creationId="{CA8081AE-9CCB-4FBB-9EF5-700C96FA70BB}"/>
          </ac:spMkLst>
        </pc:spChg>
        <pc:spChg chg="mod">
          <ac:chgData name="Yash Ratanpal" userId="5db668b1-93e7-4c08-9786-4ed81315a653" providerId="ADAL" clId="{3F7A7787-00CA-42A0-97CD-637349527123}" dt="2021-07-18T15:15:27.918" v="4890" actId="1076"/>
          <ac:spMkLst>
            <pc:docMk/>
            <pc:sldMk cId="920433170" sldId="1704"/>
            <ac:spMk id="178" creationId="{A770251E-61AE-4533-8AF8-0858F4E13D08}"/>
          </ac:spMkLst>
        </pc:spChg>
        <pc:spChg chg="mod">
          <ac:chgData name="Yash Ratanpal" userId="5db668b1-93e7-4c08-9786-4ed81315a653" providerId="ADAL" clId="{3F7A7787-00CA-42A0-97CD-637349527123}" dt="2021-07-18T15:15:27.918" v="4890" actId="1076"/>
          <ac:spMkLst>
            <pc:docMk/>
            <pc:sldMk cId="920433170" sldId="1704"/>
            <ac:spMk id="179" creationId="{843C56CC-881E-415C-A719-D1C6299377A5}"/>
          </ac:spMkLst>
        </pc:spChg>
        <pc:spChg chg="mod">
          <ac:chgData name="Yash Ratanpal" userId="5db668b1-93e7-4c08-9786-4ed81315a653" providerId="ADAL" clId="{3F7A7787-00CA-42A0-97CD-637349527123}" dt="2021-07-18T15:15:27.918" v="4890" actId="1076"/>
          <ac:spMkLst>
            <pc:docMk/>
            <pc:sldMk cId="920433170" sldId="1704"/>
            <ac:spMk id="180" creationId="{19B8D744-3FBB-4FCF-808A-39CDC1E74ED4}"/>
          </ac:spMkLst>
        </pc:spChg>
        <pc:spChg chg="mod">
          <ac:chgData name="Yash Ratanpal" userId="5db668b1-93e7-4c08-9786-4ed81315a653" providerId="ADAL" clId="{3F7A7787-00CA-42A0-97CD-637349527123}" dt="2021-07-18T15:15:27.918" v="4890" actId="1076"/>
          <ac:spMkLst>
            <pc:docMk/>
            <pc:sldMk cId="920433170" sldId="1704"/>
            <ac:spMk id="181" creationId="{FC7C5D80-6FEB-4F94-B1B0-412C43BE83EA}"/>
          </ac:spMkLst>
        </pc:spChg>
        <pc:spChg chg="mod">
          <ac:chgData name="Yash Ratanpal" userId="5db668b1-93e7-4c08-9786-4ed81315a653" providerId="ADAL" clId="{3F7A7787-00CA-42A0-97CD-637349527123}" dt="2021-07-18T15:15:27.918" v="4890" actId="1076"/>
          <ac:spMkLst>
            <pc:docMk/>
            <pc:sldMk cId="920433170" sldId="1704"/>
            <ac:spMk id="182" creationId="{ED5E31AD-5F49-467F-9432-FC06665D19DD}"/>
          </ac:spMkLst>
        </pc:spChg>
        <pc:spChg chg="mod">
          <ac:chgData name="Yash Ratanpal" userId="5db668b1-93e7-4c08-9786-4ed81315a653" providerId="ADAL" clId="{3F7A7787-00CA-42A0-97CD-637349527123}" dt="2021-07-18T15:15:27.918" v="4890" actId="1076"/>
          <ac:spMkLst>
            <pc:docMk/>
            <pc:sldMk cId="920433170" sldId="1704"/>
            <ac:spMk id="183" creationId="{69D561E7-BBF9-45EF-A932-AD5FE960AA7D}"/>
          </ac:spMkLst>
        </pc:spChg>
        <pc:spChg chg="mod">
          <ac:chgData name="Yash Ratanpal" userId="5db668b1-93e7-4c08-9786-4ed81315a653" providerId="ADAL" clId="{3F7A7787-00CA-42A0-97CD-637349527123}" dt="2021-07-18T15:15:27.918" v="4890" actId="1076"/>
          <ac:spMkLst>
            <pc:docMk/>
            <pc:sldMk cId="920433170" sldId="1704"/>
            <ac:spMk id="184" creationId="{7DD2FDCD-D26C-46BA-B5DD-EEE5F8E0A35A}"/>
          </ac:spMkLst>
        </pc:spChg>
        <pc:spChg chg="mod">
          <ac:chgData name="Yash Ratanpal" userId="5db668b1-93e7-4c08-9786-4ed81315a653" providerId="ADAL" clId="{3F7A7787-00CA-42A0-97CD-637349527123}" dt="2021-07-18T15:15:27.918" v="4890" actId="1076"/>
          <ac:spMkLst>
            <pc:docMk/>
            <pc:sldMk cId="920433170" sldId="1704"/>
            <ac:spMk id="185" creationId="{1F322BFE-D70B-4573-95A6-93EA68936BBB}"/>
          </ac:spMkLst>
        </pc:spChg>
        <pc:spChg chg="mod">
          <ac:chgData name="Yash Ratanpal" userId="5db668b1-93e7-4c08-9786-4ed81315a653" providerId="ADAL" clId="{3F7A7787-00CA-42A0-97CD-637349527123}" dt="2021-07-18T15:15:27.918" v="4890" actId="1076"/>
          <ac:spMkLst>
            <pc:docMk/>
            <pc:sldMk cId="920433170" sldId="1704"/>
            <ac:spMk id="186" creationId="{6C8962BC-534C-4D22-B983-9C938C1D694C}"/>
          </ac:spMkLst>
        </pc:spChg>
        <pc:spChg chg="mod">
          <ac:chgData name="Yash Ratanpal" userId="5db668b1-93e7-4c08-9786-4ed81315a653" providerId="ADAL" clId="{3F7A7787-00CA-42A0-97CD-637349527123}" dt="2021-07-18T15:15:27.918" v="4890" actId="1076"/>
          <ac:spMkLst>
            <pc:docMk/>
            <pc:sldMk cId="920433170" sldId="1704"/>
            <ac:spMk id="187" creationId="{2B4912EE-BC96-4643-A005-F9F8E6FAB485}"/>
          </ac:spMkLst>
        </pc:spChg>
        <pc:spChg chg="mod">
          <ac:chgData name="Yash Ratanpal" userId="5db668b1-93e7-4c08-9786-4ed81315a653" providerId="ADAL" clId="{3F7A7787-00CA-42A0-97CD-637349527123}" dt="2021-07-18T15:15:27.918" v="4890" actId="1076"/>
          <ac:spMkLst>
            <pc:docMk/>
            <pc:sldMk cId="920433170" sldId="1704"/>
            <ac:spMk id="188" creationId="{4B4C8A14-F0A3-4F88-AC39-0329733EF5A6}"/>
          </ac:spMkLst>
        </pc:spChg>
        <pc:spChg chg="mod">
          <ac:chgData name="Yash Ratanpal" userId="5db668b1-93e7-4c08-9786-4ed81315a653" providerId="ADAL" clId="{3F7A7787-00CA-42A0-97CD-637349527123}" dt="2021-07-18T15:15:27.918" v="4890" actId="1076"/>
          <ac:spMkLst>
            <pc:docMk/>
            <pc:sldMk cId="920433170" sldId="1704"/>
            <ac:spMk id="189" creationId="{05F9F358-F106-44AB-844E-181E366F44DB}"/>
          </ac:spMkLst>
        </pc:spChg>
        <pc:spChg chg="mod">
          <ac:chgData name="Yash Ratanpal" userId="5db668b1-93e7-4c08-9786-4ed81315a653" providerId="ADAL" clId="{3F7A7787-00CA-42A0-97CD-637349527123}" dt="2021-07-18T15:15:27.918" v="4890" actId="1076"/>
          <ac:spMkLst>
            <pc:docMk/>
            <pc:sldMk cId="920433170" sldId="1704"/>
            <ac:spMk id="190" creationId="{36E38D7B-D487-4AA3-81BF-2467CC91EAD2}"/>
          </ac:spMkLst>
        </pc:spChg>
        <pc:spChg chg="mod">
          <ac:chgData name="Yash Ratanpal" userId="5db668b1-93e7-4c08-9786-4ed81315a653" providerId="ADAL" clId="{3F7A7787-00CA-42A0-97CD-637349527123}" dt="2021-07-18T15:15:27.918" v="4890" actId="1076"/>
          <ac:spMkLst>
            <pc:docMk/>
            <pc:sldMk cId="920433170" sldId="1704"/>
            <ac:spMk id="191" creationId="{2E0470BB-F02F-465B-9768-23D9884FA2F8}"/>
          </ac:spMkLst>
        </pc:spChg>
        <pc:spChg chg="mod">
          <ac:chgData name="Yash Ratanpal" userId="5db668b1-93e7-4c08-9786-4ed81315a653" providerId="ADAL" clId="{3F7A7787-00CA-42A0-97CD-637349527123}" dt="2021-07-18T15:15:27.918" v="4890" actId="1076"/>
          <ac:spMkLst>
            <pc:docMk/>
            <pc:sldMk cId="920433170" sldId="1704"/>
            <ac:spMk id="192" creationId="{54813DCC-7295-46BF-8C23-4DD12EFB50CE}"/>
          </ac:spMkLst>
        </pc:spChg>
        <pc:spChg chg="mod">
          <ac:chgData name="Yash Ratanpal" userId="5db668b1-93e7-4c08-9786-4ed81315a653" providerId="ADAL" clId="{3F7A7787-00CA-42A0-97CD-637349527123}" dt="2021-07-18T15:15:27.918" v="4890" actId="1076"/>
          <ac:spMkLst>
            <pc:docMk/>
            <pc:sldMk cId="920433170" sldId="1704"/>
            <ac:spMk id="193" creationId="{329CA9CF-389D-4026-B139-7201058298FD}"/>
          </ac:spMkLst>
        </pc:spChg>
        <pc:spChg chg="mod">
          <ac:chgData name="Yash Ratanpal" userId="5db668b1-93e7-4c08-9786-4ed81315a653" providerId="ADAL" clId="{3F7A7787-00CA-42A0-97CD-637349527123}" dt="2021-07-18T15:15:27.918" v="4890" actId="1076"/>
          <ac:spMkLst>
            <pc:docMk/>
            <pc:sldMk cId="920433170" sldId="1704"/>
            <ac:spMk id="194" creationId="{33AB20DD-0DF1-4128-AF83-EC1E5B44A3E2}"/>
          </ac:spMkLst>
        </pc:spChg>
        <pc:spChg chg="mod">
          <ac:chgData name="Yash Ratanpal" userId="5db668b1-93e7-4c08-9786-4ed81315a653" providerId="ADAL" clId="{3F7A7787-00CA-42A0-97CD-637349527123}" dt="2021-07-18T15:15:27.918" v="4890" actId="1076"/>
          <ac:spMkLst>
            <pc:docMk/>
            <pc:sldMk cId="920433170" sldId="1704"/>
            <ac:spMk id="196" creationId="{2E848D10-5ED5-4C71-81ED-F6EB7353DC40}"/>
          </ac:spMkLst>
        </pc:spChg>
        <pc:spChg chg="mod">
          <ac:chgData name="Yash Ratanpal" userId="5db668b1-93e7-4c08-9786-4ed81315a653" providerId="ADAL" clId="{3F7A7787-00CA-42A0-97CD-637349527123}" dt="2021-07-18T15:15:27.918" v="4890" actId="1076"/>
          <ac:spMkLst>
            <pc:docMk/>
            <pc:sldMk cId="920433170" sldId="1704"/>
            <ac:spMk id="197" creationId="{C6CBF32B-E5E5-46E5-BBE7-44CA659869D8}"/>
          </ac:spMkLst>
        </pc:spChg>
        <pc:spChg chg="mod">
          <ac:chgData name="Yash Ratanpal" userId="5db668b1-93e7-4c08-9786-4ed81315a653" providerId="ADAL" clId="{3F7A7787-00CA-42A0-97CD-637349527123}" dt="2021-07-18T15:15:27.918" v="4890" actId="1076"/>
          <ac:spMkLst>
            <pc:docMk/>
            <pc:sldMk cId="920433170" sldId="1704"/>
            <ac:spMk id="198" creationId="{BCDF6D82-60BD-46BB-9071-CB7DA4F80E39}"/>
          </ac:spMkLst>
        </pc:spChg>
        <pc:spChg chg="mod">
          <ac:chgData name="Yash Ratanpal" userId="5db668b1-93e7-4c08-9786-4ed81315a653" providerId="ADAL" clId="{3F7A7787-00CA-42A0-97CD-637349527123}" dt="2021-07-18T15:15:27.918" v="4890" actId="1076"/>
          <ac:spMkLst>
            <pc:docMk/>
            <pc:sldMk cId="920433170" sldId="1704"/>
            <ac:spMk id="199" creationId="{EF80C2FE-9FC8-4E79-AB17-8C34D0F88FEB}"/>
          </ac:spMkLst>
        </pc:spChg>
        <pc:spChg chg="mod">
          <ac:chgData name="Yash Ratanpal" userId="5db668b1-93e7-4c08-9786-4ed81315a653" providerId="ADAL" clId="{3F7A7787-00CA-42A0-97CD-637349527123}" dt="2021-07-18T15:15:27.918" v="4890" actId="1076"/>
          <ac:spMkLst>
            <pc:docMk/>
            <pc:sldMk cId="920433170" sldId="1704"/>
            <ac:spMk id="200" creationId="{CBCA71AD-B927-481E-9A5B-5677B08E4244}"/>
          </ac:spMkLst>
        </pc:spChg>
        <pc:grpChg chg="add mod">
          <ac:chgData name="Yash Ratanpal" userId="5db668b1-93e7-4c08-9786-4ed81315a653" providerId="ADAL" clId="{3F7A7787-00CA-42A0-97CD-637349527123}" dt="2021-07-18T16:34:52.884" v="7564" actId="2711"/>
          <ac:grpSpMkLst>
            <pc:docMk/>
            <pc:sldMk cId="920433170" sldId="1704"/>
            <ac:grpSpMk id="4" creationId="{EA00DBC6-6C4A-4CEC-88FF-62C5530F1D29}"/>
          </ac:grpSpMkLst>
        </pc:grpChg>
        <pc:grpChg chg="add del mod">
          <ac:chgData name="Yash Ratanpal" userId="5db668b1-93e7-4c08-9786-4ed81315a653" providerId="ADAL" clId="{3F7A7787-00CA-42A0-97CD-637349527123}" dt="2021-07-11T11:49:02.281" v="666" actId="478"/>
          <ac:grpSpMkLst>
            <pc:docMk/>
            <pc:sldMk cId="920433170" sldId="1704"/>
            <ac:grpSpMk id="44" creationId="{39085AB2-E81B-44BA-B7BD-1903A89B407A}"/>
          </ac:grpSpMkLst>
        </pc:grpChg>
        <pc:grpChg chg="mod">
          <ac:chgData name="Yash Ratanpal" userId="5db668b1-93e7-4c08-9786-4ed81315a653" providerId="ADAL" clId="{3F7A7787-00CA-42A0-97CD-637349527123}" dt="2021-07-11T11:43:51.071" v="424" actId="1076"/>
          <ac:grpSpMkLst>
            <pc:docMk/>
            <pc:sldMk cId="920433170" sldId="1704"/>
            <ac:grpSpMk id="45" creationId="{B14776BA-B9C4-47D8-AD46-66C6E04CFFF4}"/>
          </ac:grpSpMkLst>
        </pc:grpChg>
        <pc:grpChg chg="mod">
          <ac:chgData name="Yash Ratanpal" userId="5db668b1-93e7-4c08-9786-4ed81315a653" providerId="ADAL" clId="{3F7A7787-00CA-42A0-97CD-637349527123}" dt="2021-07-11T11:43:51.071" v="424" actId="1076"/>
          <ac:grpSpMkLst>
            <pc:docMk/>
            <pc:sldMk cId="920433170" sldId="1704"/>
            <ac:grpSpMk id="57" creationId="{B7603664-BED7-418D-8122-7FE124C73578}"/>
          </ac:grpSpMkLst>
        </pc:grpChg>
        <pc:grpChg chg="mod">
          <ac:chgData name="Yash Ratanpal" userId="5db668b1-93e7-4c08-9786-4ed81315a653" providerId="ADAL" clId="{3F7A7787-00CA-42A0-97CD-637349527123}" dt="2021-07-11T11:43:51.071" v="424" actId="1076"/>
          <ac:grpSpMkLst>
            <pc:docMk/>
            <pc:sldMk cId="920433170" sldId="1704"/>
            <ac:grpSpMk id="135" creationId="{AB5FE136-F860-4E5B-9862-8834D6B73F2F}"/>
          </ac:grpSpMkLst>
        </pc:grpChg>
        <pc:grpChg chg="add del mod">
          <ac:chgData name="Yash Ratanpal" userId="5db668b1-93e7-4c08-9786-4ed81315a653" providerId="ADAL" clId="{3F7A7787-00CA-42A0-97CD-637349527123}" dt="2021-07-11T11:50:13.117" v="672" actId="165"/>
          <ac:grpSpMkLst>
            <pc:docMk/>
            <pc:sldMk cId="920433170" sldId="1704"/>
            <ac:grpSpMk id="144" creationId="{C23EB672-4D8C-4C20-A7D5-9BECBE553BB6}"/>
          </ac:grpSpMkLst>
        </pc:grpChg>
        <pc:grpChg chg="mod topLvl">
          <ac:chgData name="Yash Ratanpal" userId="5db668b1-93e7-4c08-9786-4ed81315a653" providerId="ADAL" clId="{3F7A7787-00CA-42A0-97CD-637349527123}" dt="2021-07-18T15:15:27.918" v="4890" actId="1076"/>
          <ac:grpSpMkLst>
            <pc:docMk/>
            <pc:sldMk cId="920433170" sldId="1704"/>
            <ac:grpSpMk id="145" creationId="{EE06DCDD-072E-43C4-BBF3-05465B1742E0}"/>
          </ac:grpSpMkLst>
        </pc:grpChg>
        <pc:grpChg chg="mod topLvl">
          <ac:chgData name="Yash Ratanpal" userId="5db668b1-93e7-4c08-9786-4ed81315a653" providerId="ADAL" clId="{3F7A7787-00CA-42A0-97CD-637349527123}" dt="2021-07-18T15:15:27.918" v="4890" actId="1076"/>
          <ac:grpSpMkLst>
            <pc:docMk/>
            <pc:sldMk cId="920433170" sldId="1704"/>
            <ac:grpSpMk id="157" creationId="{EAB87CAC-81B8-4CE4-8570-D2ED22B16E8F}"/>
          </ac:grpSpMkLst>
        </pc:grpChg>
        <pc:grpChg chg="mod">
          <ac:chgData name="Yash Ratanpal" userId="5db668b1-93e7-4c08-9786-4ed81315a653" providerId="ADAL" clId="{3F7A7787-00CA-42A0-97CD-637349527123}" dt="2021-07-18T15:15:27.918" v="4890" actId="1076"/>
          <ac:grpSpMkLst>
            <pc:docMk/>
            <pc:sldMk cId="920433170" sldId="1704"/>
            <ac:grpSpMk id="195" creationId="{3D2CA427-0B9F-483F-88F1-36D723C50022}"/>
          </ac:grpSpMkLst>
        </pc:grpChg>
        <pc:picChg chg="del">
          <ac:chgData name="Yash Ratanpal" userId="5db668b1-93e7-4c08-9786-4ed81315a653" providerId="ADAL" clId="{3F7A7787-00CA-42A0-97CD-637349527123}" dt="2021-07-11T11:43:42.314" v="420" actId="478"/>
          <ac:picMkLst>
            <pc:docMk/>
            <pc:sldMk cId="920433170" sldId="1704"/>
            <ac:picMk id="89" creationId="{3429785C-A1D7-42DE-A966-B7400C173593}"/>
          </ac:picMkLst>
        </pc:picChg>
        <pc:picChg chg="add mod">
          <ac:chgData name="Yash Ratanpal" userId="5db668b1-93e7-4c08-9786-4ed81315a653" providerId="ADAL" clId="{3F7A7787-00CA-42A0-97CD-637349527123}" dt="2021-07-18T15:15:27.918" v="4890" actId="1076"/>
          <ac:picMkLst>
            <pc:docMk/>
            <pc:sldMk cId="920433170" sldId="1704"/>
            <ac:picMk id="141" creationId="{92A0FE55-5271-4EE5-B4FF-AAAFD24CD80A}"/>
          </ac:picMkLst>
        </pc:picChg>
        <pc:picChg chg="add mod">
          <ac:chgData name="Yash Ratanpal" userId="5db668b1-93e7-4c08-9786-4ed81315a653" providerId="ADAL" clId="{3F7A7787-00CA-42A0-97CD-637349527123}" dt="2021-07-18T15:15:27.918" v="4890" actId="1076"/>
          <ac:picMkLst>
            <pc:docMk/>
            <pc:sldMk cId="920433170" sldId="1704"/>
            <ac:picMk id="142" creationId="{CA2A255F-69EC-4504-A574-BF4D4A55682B}"/>
          </ac:picMkLst>
        </pc:picChg>
        <pc:picChg chg="add mod">
          <ac:chgData name="Yash Ratanpal" userId="5db668b1-93e7-4c08-9786-4ed81315a653" providerId="ADAL" clId="{3F7A7787-00CA-42A0-97CD-637349527123}" dt="2021-07-18T15:15:27.918" v="4890" actId="1076"/>
          <ac:picMkLst>
            <pc:docMk/>
            <pc:sldMk cId="920433170" sldId="1704"/>
            <ac:picMk id="143" creationId="{FF39D725-344F-45F2-A1FE-D7106E640D81}"/>
          </ac:picMkLst>
        </pc:picChg>
        <pc:picChg chg="add mod">
          <ac:chgData name="Yash Ratanpal" userId="5db668b1-93e7-4c08-9786-4ed81315a653" providerId="ADAL" clId="{3F7A7787-00CA-42A0-97CD-637349527123}" dt="2021-07-18T15:15:27.918" v="4890" actId="1076"/>
          <ac:picMkLst>
            <pc:docMk/>
            <pc:sldMk cId="920433170" sldId="1704"/>
            <ac:picMk id="201" creationId="{D59D89C0-58D7-47D0-B8BD-890615D55222}"/>
          </ac:picMkLst>
        </pc:picChg>
        <pc:picChg chg="add mod">
          <ac:chgData name="Yash Ratanpal" userId="5db668b1-93e7-4c08-9786-4ed81315a653" providerId="ADAL" clId="{3F7A7787-00CA-42A0-97CD-637349527123}" dt="2021-07-18T15:15:27.918" v="4890" actId="1076"/>
          <ac:picMkLst>
            <pc:docMk/>
            <pc:sldMk cId="920433170" sldId="1704"/>
            <ac:picMk id="202" creationId="{F12722BE-7198-4FD2-A5D3-9FF0AC0D5BC9}"/>
          </ac:picMkLst>
        </pc:picChg>
        <pc:picChg chg="add mod">
          <ac:chgData name="Yash Ratanpal" userId="5db668b1-93e7-4c08-9786-4ed81315a653" providerId="ADAL" clId="{3F7A7787-00CA-42A0-97CD-637349527123}" dt="2021-07-18T15:15:27.918" v="4890" actId="1076"/>
          <ac:picMkLst>
            <pc:docMk/>
            <pc:sldMk cId="920433170" sldId="1704"/>
            <ac:picMk id="203" creationId="{D7C601BB-0A4C-4607-AEF2-47FD7D8E7423}"/>
          </ac:picMkLst>
        </pc:picChg>
      </pc:sldChg>
      <pc:sldChg chg="addSp delSp modSp add del mod modAnim">
        <pc:chgData name="Yash Ratanpal" userId="5db668b1-93e7-4c08-9786-4ed81315a653" providerId="ADAL" clId="{3F7A7787-00CA-42A0-97CD-637349527123}" dt="2021-07-11T13:48:18.134" v="1757" actId="47"/>
        <pc:sldMkLst>
          <pc:docMk/>
          <pc:sldMk cId="3367745605" sldId="1705"/>
        </pc:sldMkLst>
        <pc:spChg chg="mod">
          <ac:chgData name="Yash Ratanpal" userId="5db668b1-93e7-4c08-9786-4ed81315a653" providerId="ADAL" clId="{3F7A7787-00CA-42A0-97CD-637349527123}" dt="2021-07-11T12:03:35.205" v="746" actId="14100"/>
          <ac:spMkLst>
            <pc:docMk/>
            <pc:sldMk cId="3367745605" sldId="1705"/>
            <ac:spMk id="3" creationId="{00000000-0000-0000-0000-000000000000}"/>
          </ac:spMkLst>
        </pc:spChg>
        <pc:spChg chg="add del mod">
          <ac:chgData name="Yash Ratanpal" userId="5db668b1-93e7-4c08-9786-4ed81315a653" providerId="ADAL" clId="{3F7A7787-00CA-42A0-97CD-637349527123}" dt="2021-07-11T11:57:35.277" v="683"/>
          <ac:spMkLst>
            <pc:docMk/>
            <pc:sldMk cId="3367745605" sldId="1705"/>
            <ac:spMk id="67" creationId="{5FC6661C-DEFD-4CBB-85C1-90507660EF95}"/>
          </ac:spMkLst>
        </pc:spChg>
        <pc:spChg chg="mod">
          <ac:chgData name="Yash Ratanpal" userId="5db668b1-93e7-4c08-9786-4ed81315a653" providerId="ADAL" clId="{3F7A7787-00CA-42A0-97CD-637349527123}" dt="2021-07-11T11:57:33.242" v="682"/>
          <ac:spMkLst>
            <pc:docMk/>
            <pc:sldMk cId="3367745605" sldId="1705"/>
            <ac:spMk id="70" creationId="{B7E4E9FA-A03B-45AB-A27E-901E67F62E87}"/>
          </ac:spMkLst>
        </pc:spChg>
        <pc:spChg chg="mod">
          <ac:chgData name="Yash Ratanpal" userId="5db668b1-93e7-4c08-9786-4ed81315a653" providerId="ADAL" clId="{3F7A7787-00CA-42A0-97CD-637349527123}" dt="2021-07-11T11:57:33.242" v="682"/>
          <ac:spMkLst>
            <pc:docMk/>
            <pc:sldMk cId="3367745605" sldId="1705"/>
            <ac:spMk id="71" creationId="{CAA56021-FC3B-4398-B82A-FFBB5EF39879}"/>
          </ac:spMkLst>
        </pc:spChg>
        <pc:spChg chg="mod">
          <ac:chgData name="Yash Ratanpal" userId="5db668b1-93e7-4c08-9786-4ed81315a653" providerId="ADAL" clId="{3F7A7787-00CA-42A0-97CD-637349527123}" dt="2021-07-11T11:57:33.242" v="682"/>
          <ac:spMkLst>
            <pc:docMk/>
            <pc:sldMk cId="3367745605" sldId="1705"/>
            <ac:spMk id="72" creationId="{12BBE740-BECD-47B5-A70D-1661872FE1ED}"/>
          </ac:spMkLst>
        </pc:spChg>
        <pc:spChg chg="mod">
          <ac:chgData name="Yash Ratanpal" userId="5db668b1-93e7-4c08-9786-4ed81315a653" providerId="ADAL" clId="{3F7A7787-00CA-42A0-97CD-637349527123}" dt="2021-07-11T11:57:33.242" v="682"/>
          <ac:spMkLst>
            <pc:docMk/>
            <pc:sldMk cId="3367745605" sldId="1705"/>
            <ac:spMk id="73" creationId="{E2398ABE-F974-4960-81F1-B93BBB014ADE}"/>
          </ac:spMkLst>
        </pc:spChg>
        <pc:spChg chg="mod">
          <ac:chgData name="Yash Ratanpal" userId="5db668b1-93e7-4c08-9786-4ed81315a653" providerId="ADAL" clId="{3F7A7787-00CA-42A0-97CD-637349527123}" dt="2021-07-11T11:57:33.242" v="682"/>
          <ac:spMkLst>
            <pc:docMk/>
            <pc:sldMk cId="3367745605" sldId="1705"/>
            <ac:spMk id="74" creationId="{7D5AB36D-B33C-42EE-B4AF-DEDC00F4592E}"/>
          </ac:spMkLst>
        </pc:spChg>
        <pc:spChg chg="mod">
          <ac:chgData name="Yash Ratanpal" userId="5db668b1-93e7-4c08-9786-4ed81315a653" providerId="ADAL" clId="{3F7A7787-00CA-42A0-97CD-637349527123}" dt="2021-07-11T11:57:33.242" v="682"/>
          <ac:spMkLst>
            <pc:docMk/>
            <pc:sldMk cId="3367745605" sldId="1705"/>
            <ac:spMk id="75" creationId="{6ABD2B01-A2EF-4C95-9861-66245B2DF02F}"/>
          </ac:spMkLst>
        </pc:spChg>
        <pc:spChg chg="mod">
          <ac:chgData name="Yash Ratanpal" userId="5db668b1-93e7-4c08-9786-4ed81315a653" providerId="ADAL" clId="{3F7A7787-00CA-42A0-97CD-637349527123}" dt="2021-07-11T11:57:33.242" v="682"/>
          <ac:spMkLst>
            <pc:docMk/>
            <pc:sldMk cId="3367745605" sldId="1705"/>
            <ac:spMk id="76" creationId="{E25D693C-3DD1-4D35-82FD-DAAB36A512F7}"/>
          </ac:spMkLst>
        </pc:spChg>
        <pc:spChg chg="mod">
          <ac:chgData name="Yash Ratanpal" userId="5db668b1-93e7-4c08-9786-4ed81315a653" providerId="ADAL" clId="{3F7A7787-00CA-42A0-97CD-637349527123}" dt="2021-07-11T11:57:33.242" v="682"/>
          <ac:spMkLst>
            <pc:docMk/>
            <pc:sldMk cId="3367745605" sldId="1705"/>
            <ac:spMk id="77" creationId="{520C24F6-7D76-4B5F-B23C-B1295D6917F7}"/>
          </ac:spMkLst>
        </pc:spChg>
        <pc:spChg chg="mod">
          <ac:chgData name="Yash Ratanpal" userId="5db668b1-93e7-4c08-9786-4ed81315a653" providerId="ADAL" clId="{3F7A7787-00CA-42A0-97CD-637349527123}" dt="2021-07-11T11:57:33.242" v="682"/>
          <ac:spMkLst>
            <pc:docMk/>
            <pc:sldMk cId="3367745605" sldId="1705"/>
            <ac:spMk id="78" creationId="{7C49430D-038A-41A3-8DB6-4F725289AA8D}"/>
          </ac:spMkLst>
        </pc:spChg>
        <pc:spChg chg="mod">
          <ac:chgData name="Yash Ratanpal" userId="5db668b1-93e7-4c08-9786-4ed81315a653" providerId="ADAL" clId="{3F7A7787-00CA-42A0-97CD-637349527123}" dt="2021-07-11T11:57:33.242" v="682"/>
          <ac:spMkLst>
            <pc:docMk/>
            <pc:sldMk cId="3367745605" sldId="1705"/>
            <ac:spMk id="79" creationId="{834179D5-1D87-4F6E-A8D3-5B27E5279DA0}"/>
          </ac:spMkLst>
        </pc:spChg>
        <pc:spChg chg="mod">
          <ac:chgData name="Yash Ratanpal" userId="5db668b1-93e7-4c08-9786-4ed81315a653" providerId="ADAL" clId="{3F7A7787-00CA-42A0-97CD-637349527123}" dt="2021-07-11T11:57:33.242" v="682"/>
          <ac:spMkLst>
            <pc:docMk/>
            <pc:sldMk cId="3367745605" sldId="1705"/>
            <ac:spMk id="80" creationId="{9315DD86-6FEF-4D35-A866-831BE9FF1F7D}"/>
          </ac:spMkLst>
        </pc:spChg>
        <pc:spChg chg="mod">
          <ac:chgData name="Yash Ratanpal" userId="5db668b1-93e7-4c08-9786-4ed81315a653" providerId="ADAL" clId="{3F7A7787-00CA-42A0-97CD-637349527123}" dt="2021-07-11T11:57:33.242" v="682"/>
          <ac:spMkLst>
            <pc:docMk/>
            <pc:sldMk cId="3367745605" sldId="1705"/>
            <ac:spMk id="81" creationId="{C1C056B1-562C-4B39-9B78-82AC6E08D0DA}"/>
          </ac:spMkLst>
        </pc:spChg>
        <pc:spChg chg="mod">
          <ac:chgData name="Yash Ratanpal" userId="5db668b1-93e7-4c08-9786-4ed81315a653" providerId="ADAL" clId="{3F7A7787-00CA-42A0-97CD-637349527123}" dt="2021-07-11T11:57:33.242" v="682"/>
          <ac:spMkLst>
            <pc:docMk/>
            <pc:sldMk cId="3367745605" sldId="1705"/>
            <ac:spMk id="83" creationId="{92DEBF05-6A99-492E-843A-E3E095549569}"/>
          </ac:spMkLst>
        </pc:spChg>
        <pc:spChg chg="mod">
          <ac:chgData name="Yash Ratanpal" userId="5db668b1-93e7-4c08-9786-4ed81315a653" providerId="ADAL" clId="{3F7A7787-00CA-42A0-97CD-637349527123}" dt="2021-07-11T11:57:33.242" v="682"/>
          <ac:spMkLst>
            <pc:docMk/>
            <pc:sldMk cId="3367745605" sldId="1705"/>
            <ac:spMk id="85" creationId="{D152A071-4D8B-401F-AF36-D270EEBED337}"/>
          </ac:spMkLst>
        </pc:spChg>
        <pc:spChg chg="mod">
          <ac:chgData name="Yash Ratanpal" userId="5db668b1-93e7-4c08-9786-4ed81315a653" providerId="ADAL" clId="{3F7A7787-00CA-42A0-97CD-637349527123}" dt="2021-07-11T11:57:33.242" v="682"/>
          <ac:spMkLst>
            <pc:docMk/>
            <pc:sldMk cId="3367745605" sldId="1705"/>
            <ac:spMk id="86" creationId="{81049001-7CF0-4F50-8413-CAAE8339F3AD}"/>
          </ac:spMkLst>
        </pc:spChg>
        <pc:spChg chg="mod">
          <ac:chgData name="Yash Ratanpal" userId="5db668b1-93e7-4c08-9786-4ed81315a653" providerId="ADAL" clId="{3F7A7787-00CA-42A0-97CD-637349527123}" dt="2021-07-11T11:57:33.242" v="682"/>
          <ac:spMkLst>
            <pc:docMk/>
            <pc:sldMk cId="3367745605" sldId="1705"/>
            <ac:spMk id="87" creationId="{BD017DB6-263C-44D6-A3CA-CF860CB7CCCA}"/>
          </ac:spMkLst>
        </pc:spChg>
        <pc:spChg chg="mod">
          <ac:chgData name="Yash Ratanpal" userId="5db668b1-93e7-4c08-9786-4ed81315a653" providerId="ADAL" clId="{3F7A7787-00CA-42A0-97CD-637349527123}" dt="2021-07-11T11:57:33.242" v="682"/>
          <ac:spMkLst>
            <pc:docMk/>
            <pc:sldMk cId="3367745605" sldId="1705"/>
            <ac:spMk id="88" creationId="{1A357095-72D7-41EB-AB4A-F012F964DC21}"/>
          </ac:spMkLst>
        </pc:spChg>
        <pc:spChg chg="mod">
          <ac:chgData name="Yash Ratanpal" userId="5db668b1-93e7-4c08-9786-4ed81315a653" providerId="ADAL" clId="{3F7A7787-00CA-42A0-97CD-637349527123}" dt="2021-07-11T11:57:33.242" v="682"/>
          <ac:spMkLst>
            <pc:docMk/>
            <pc:sldMk cId="3367745605" sldId="1705"/>
            <ac:spMk id="89" creationId="{CEF6AB1F-B25B-4E23-ABB1-EB007E20D54F}"/>
          </ac:spMkLst>
        </pc:spChg>
        <pc:spChg chg="mod">
          <ac:chgData name="Yash Ratanpal" userId="5db668b1-93e7-4c08-9786-4ed81315a653" providerId="ADAL" clId="{3F7A7787-00CA-42A0-97CD-637349527123}" dt="2021-07-11T11:57:33.242" v="682"/>
          <ac:spMkLst>
            <pc:docMk/>
            <pc:sldMk cId="3367745605" sldId="1705"/>
            <ac:spMk id="90" creationId="{1B0BA2A8-9679-49E4-A3A0-34DD51034455}"/>
          </ac:spMkLst>
        </pc:spChg>
        <pc:spChg chg="mod">
          <ac:chgData name="Yash Ratanpal" userId="5db668b1-93e7-4c08-9786-4ed81315a653" providerId="ADAL" clId="{3F7A7787-00CA-42A0-97CD-637349527123}" dt="2021-07-11T11:57:33.242" v="682"/>
          <ac:spMkLst>
            <pc:docMk/>
            <pc:sldMk cId="3367745605" sldId="1705"/>
            <ac:spMk id="91" creationId="{2B43BD6F-356E-441A-9B91-2C11EA56E398}"/>
          </ac:spMkLst>
        </pc:spChg>
        <pc:spChg chg="mod">
          <ac:chgData name="Yash Ratanpal" userId="5db668b1-93e7-4c08-9786-4ed81315a653" providerId="ADAL" clId="{3F7A7787-00CA-42A0-97CD-637349527123}" dt="2021-07-11T11:57:33.242" v="682"/>
          <ac:spMkLst>
            <pc:docMk/>
            <pc:sldMk cId="3367745605" sldId="1705"/>
            <ac:spMk id="92" creationId="{6DE3AC78-2C0E-4CF8-A487-C641D3E76217}"/>
          </ac:spMkLst>
        </pc:spChg>
        <pc:spChg chg="mod">
          <ac:chgData name="Yash Ratanpal" userId="5db668b1-93e7-4c08-9786-4ed81315a653" providerId="ADAL" clId="{3F7A7787-00CA-42A0-97CD-637349527123}" dt="2021-07-11T11:57:33.242" v="682"/>
          <ac:spMkLst>
            <pc:docMk/>
            <pc:sldMk cId="3367745605" sldId="1705"/>
            <ac:spMk id="93" creationId="{E8F95476-78E8-495E-9653-FFF534F6844A}"/>
          </ac:spMkLst>
        </pc:spChg>
        <pc:spChg chg="mod">
          <ac:chgData name="Yash Ratanpal" userId="5db668b1-93e7-4c08-9786-4ed81315a653" providerId="ADAL" clId="{3F7A7787-00CA-42A0-97CD-637349527123}" dt="2021-07-11T11:57:33.242" v="682"/>
          <ac:spMkLst>
            <pc:docMk/>
            <pc:sldMk cId="3367745605" sldId="1705"/>
            <ac:spMk id="94" creationId="{1E4562F4-6823-440E-A922-624994877D58}"/>
          </ac:spMkLst>
        </pc:spChg>
        <pc:spChg chg="mod">
          <ac:chgData name="Yash Ratanpal" userId="5db668b1-93e7-4c08-9786-4ed81315a653" providerId="ADAL" clId="{3F7A7787-00CA-42A0-97CD-637349527123}" dt="2021-07-11T11:57:33.242" v="682"/>
          <ac:spMkLst>
            <pc:docMk/>
            <pc:sldMk cId="3367745605" sldId="1705"/>
            <ac:spMk id="95" creationId="{DB336A08-0AC4-4259-A377-F8AA021FEBBF}"/>
          </ac:spMkLst>
        </pc:spChg>
        <pc:spChg chg="mod">
          <ac:chgData name="Yash Ratanpal" userId="5db668b1-93e7-4c08-9786-4ed81315a653" providerId="ADAL" clId="{3F7A7787-00CA-42A0-97CD-637349527123}" dt="2021-07-11T11:57:33.242" v="682"/>
          <ac:spMkLst>
            <pc:docMk/>
            <pc:sldMk cId="3367745605" sldId="1705"/>
            <ac:spMk id="96" creationId="{EFA041AC-92D8-468D-BE71-701982A9453B}"/>
          </ac:spMkLst>
        </pc:spChg>
        <pc:spChg chg="mod">
          <ac:chgData name="Yash Ratanpal" userId="5db668b1-93e7-4c08-9786-4ed81315a653" providerId="ADAL" clId="{3F7A7787-00CA-42A0-97CD-637349527123}" dt="2021-07-11T11:57:33.242" v="682"/>
          <ac:spMkLst>
            <pc:docMk/>
            <pc:sldMk cId="3367745605" sldId="1705"/>
            <ac:spMk id="97" creationId="{09209B62-0648-4425-88CD-2CCBBEB9CC23}"/>
          </ac:spMkLst>
        </pc:spChg>
        <pc:spChg chg="mod">
          <ac:chgData name="Yash Ratanpal" userId="5db668b1-93e7-4c08-9786-4ed81315a653" providerId="ADAL" clId="{3F7A7787-00CA-42A0-97CD-637349527123}" dt="2021-07-11T11:57:33.242" v="682"/>
          <ac:spMkLst>
            <pc:docMk/>
            <pc:sldMk cId="3367745605" sldId="1705"/>
            <ac:spMk id="98" creationId="{384163BA-2A10-4F28-AF6E-461344109F39}"/>
          </ac:spMkLst>
        </pc:spChg>
        <pc:spChg chg="mod">
          <ac:chgData name="Yash Ratanpal" userId="5db668b1-93e7-4c08-9786-4ed81315a653" providerId="ADAL" clId="{3F7A7787-00CA-42A0-97CD-637349527123}" dt="2021-07-11T11:57:33.242" v="682"/>
          <ac:spMkLst>
            <pc:docMk/>
            <pc:sldMk cId="3367745605" sldId="1705"/>
            <ac:spMk id="99" creationId="{3F6A3AC4-36CE-4B10-A4D9-8D7979E43AC0}"/>
          </ac:spMkLst>
        </pc:spChg>
        <pc:spChg chg="mod">
          <ac:chgData name="Yash Ratanpal" userId="5db668b1-93e7-4c08-9786-4ed81315a653" providerId="ADAL" clId="{3F7A7787-00CA-42A0-97CD-637349527123}" dt="2021-07-11T11:57:33.242" v="682"/>
          <ac:spMkLst>
            <pc:docMk/>
            <pc:sldMk cId="3367745605" sldId="1705"/>
            <ac:spMk id="100" creationId="{64D65C9E-F10A-4194-B923-C849CDCE7B42}"/>
          </ac:spMkLst>
        </pc:spChg>
        <pc:spChg chg="mod">
          <ac:chgData name="Yash Ratanpal" userId="5db668b1-93e7-4c08-9786-4ed81315a653" providerId="ADAL" clId="{3F7A7787-00CA-42A0-97CD-637349527123}" dt="2021-07-11T11:57:33.242" v="682"/>
          <ac:spMkLst>
            <pc:docMk/>
            <pc:sldMk cId="3367745605" sldId="1705"/>
            <ac:spMk id="101" creationId="{978F89FD-68C5-4335-87C0-B2B24C7D8479}"/>
          </ac:spMkLst>
        </pc:spChg>
        <pc:spChg chg="mod">
          <ac:chgData name="Yash Ratanpal" userId="5db668b1-93e7-4c08-9786-4ed81315a653" providerId="ADAL" clId="{3F7A7787-00CA-42A0-97CD-637349527123}" dt="2021-07-11T11:57:33.242" v="682"/>
          <ac:spMkLst>
            <pc:docMk/>
            <pc:sldMk cId="3367745605" sldId="1705"/>
            <ac:spMk id="102" creationId="{9EA2F627-E52D-4D8B-8437-C8BA5314F6FC}"/>
          </ac:spMkLst>
        </pc:spChg>
        <pc:spChg chg="mod">
          <ac:chgData name="Yash Ratanpal" userId="5db668b1-93e7-4c08-9786-4ed81315a653" providerId="ADAL" clId="{3F7A7787-00CA-42A0-97CD-637349527123}" dt="2021-07-11T11:57:33.242" v="682"/>
          <ac:spMkLst>
            <pc:docMk/>
            <pc:sldMk cId="3367745605" sldId="1705"/>
            <ac:spMk id="103" creationId="{A223638E-52F9-4A04-BB11-A9A094AAED15}"/>
          </ac:spMkLst>
        </pc:spChg>
        <pc:spChg chg="mod">
          <ac:chgData name="Yash Ratanpal" userId="5db668b1-93e7-4c08-9786-4ed81315a653" providerId="ADAL" clId="{3F7A7787-00CA-42A0-97CD-637349527123}" dt="2021-07-11T11:57:33.242" v="682"/>
          <ac:spMkLst>
            <pc:docMk/>
            <pc:sldMk cId="3367745605" sldId="1705"/>
            <ac:spMk id="104" creationId="{62D96033-31CB-4EA3-BA8F-219C00AE3770}"/>
          </ac:spMkLst>
        </pc:spChg>
        <pc:spChg chg="add del mod">
          <ac:chgData name="Yash Ratanpal" userId="5db668b1-93e7-4c08-9786-4ed81315a653" providerId="ADAL" clId="{3F7A7787-00CA-42A0-97CD-637349527123}" dt="2021-07-11T11:57:36.820" v="685"/>
          <ac:spMkLst>
            <pc:docMk/>
            <pc:sldMk cId="3367745605" sldId="1705"/>
            <ac:spMk id="105" creationId="{39381649-FE1B-4FBA-B57A-F9D7ABA5B147}"/>
          </ac:spMkLst>
        </pc:spChg>
        <pc:spChg chg="mod">
          <ac:chgData name="Yash Ratanpal" userId="5db668b1-93e7-4c08-9786-4ed81315a653" providerId="ADAL" clId="{3F7A7787-00CA-42A0-97CD-637349527123}" dt="2021-07-11T11:57:35.922" v="684"/>
          <ac:spMkLst>
            <pc:docMk/>
            <pc:sldMk cId="3367745605" sldId="1705"/>
            <ac:spMk id="108" creationId="{21689F42-84DB-4740-9F1F-490D9E570608}"/>
          </ac:spMkLst>
        </pc:spChg>
        <pc:spChg chg="mod">
          <ac:chgData name="Yash Ratanpal" userId="5db668b1-93e7-4c08-9786-4ed81315a653" providerId="ADAL" clId="{3F7A7787-00CA-42A0-97CD-637349527123}" dt="2021-07-11T11:57:35.922" v="684"/>
          <ac:spMkLst>
            <pc:docMk/>
            <pc:sldMk cId="3367745605" sldId="1705"/>
            <ac:spMk id="109" creationId="{0F715202-E345-4C48-9BF7-6784001BCED3}"/>
          </ac:spMkLst>
        </pc:spChg>
        <pc:spChg chg="mod">
          <ac:chgData name="Yash Ratanpal" userId="5db668b1-93e7-4c08-9786-4ed81315a653" providerId="ADAL" clId="{3F7A7787-00CA-42A0-97CD-637349527123}" dt="2021-07-11T11:57:35.922" v="684"/>
          <ac:spMkLst>
            <pc:docMk/>
            <pc:sldMk cId="3367745605" sldId="1705"/>
            <ac:spMk id="110" creationId="{C7F51690-40B7-4AE8-93EF-F3DCD0ED6EFC}"/>
          </ac:spMkLst>
        </pc:spChg>
        <pc:spChg chg="mod">
          <ac:chgData name="Yash Ratanpal" userId="5db668b1-93e7-4c08-9786-4ed81315a653" providerId="ADAL" clId="{3F7A7787-00CA-42A0-97CD-637349527123}" dt="2021-07-11T11:57:35.922" v="684"/>
          <ac:spMkLst>
            <pc:docMk/>
            <pc:sldMk cId="3367745605" sldId="1705"/>
            <ac:spMk id="111" creationId="{A08720AE-0116-4B02-B57B-A1029EF5921D}"/>
          </ac:spMkLst>
        </pc:spChg>
        <pc:spChg chg="mod">
          <ac:chgData name="Yash Ratanpal" userId="5db668b1-93e7-4c08-9786-4ed81315a653" providerId="ADAL" clId="{3F7A7787-00CA-42A0-97CD-637349527123}" dt="2021-07-11T11:57:35.922" v="684"/>
          <ac:spMkLst>
            <pc:docMk/>
            <pc:sldMk cId="3367745605" sldId="1705"/>
            <ac:spMk id="112" creationId="{AD9DF823-2E7B-437E-AD85-A26311F9239C}"/>
          </ac:spMkLst>
        </pc:spChg>
        <pc:spChg chg="mod">
          <ac:chgData name="Yash Ratanpal" userId="5db668b1-93e7-4c08-9786-4ed81315a653" providerId="ADAL" clId="{3F7A7787-00CA-42A0-97CD-637349527123}" dt="2021-07-11T11:57:35.922" v="684"/>
          <ac:spMkLst>
            <pc:docMk/>
            <pc:sldMk cId="3367745605" sldId="1705"/>
            <ac:spMk id="113" creationId="{5B6FDAC7-777C-4430-98D9-2885C1A277A6}"/>
          </ac:spMkLst>
        </pc:spChg>
        <pc:spChg chg="mod">
          <ac:chgData name="Yash Ratanpal" userId="5db668b1-93e7-4c08-9786-4ed81315a653" providerId="ADAL" clId="{3F7A7787-00CA-42A0-97CD-637349527123}" dt="2021-07-11T11:57:35.922" v="684"/>
          <ac:spMkLst>
            <pc:docMk/>
            <pc:sldMk cId="3367745605" sldId="1705"/>
            <ac:spMk id="114" creationId="{2AED093B-1227-49F2-86BB-E4BAD441002F}"/>
          </ac:spMkLst>
        </pc:spChg>
        <pc:spChg chg="mod">
          <ac:chgData name="Yash Ratanpal" userId="5db668b1-93e7-4c08-9786-4ed81315a653" providerId="ADAL" clId="{3F7A7787-00CA-42A0-97CD-637349527123}" dt="2021-07-11T11:57:35.922" v="684"/>
          <ac:spMkLst>
            <pc:docMk/>
            <pc:sldMk cId="3367745605" sldId="1705"/>
            <ac:spMk id="115" creationId="{3B622A8F-1808-4369-BD4C-ABBC819ABD97}"/>
          </ac:spMkLst>
        </pc:spChg>
        <pc:spChg chg="mod">
          <ac:chgData name="Yash Ratanpal" userId="5db668b1-93e7-4c08-9786-4ed81315a653" providerId="ADAL" clId="{3F7A7787-00CA-42A0-97CD-637349527123}" dt="2021-07-11T11:57:35.922" v="684"/>
          <ac:spMkLst>
            <pc:docMk/>
            <pc:sldMk cId="3367745605" sldId="1705"/>
            <ac:spMk id="116" creationId="{4CCBC3EF-27FD-4DC7-B7B0-CC29AD5E0179}"/>
          </ac:spMkLst>
        </pc:spChg>
        <pc:spChg chg="mod">
          <ac:chgData name="Yash Ratanpal" userId="5db668b1-93e7-4c08-9786-4ed81315a653" providerId="ADAL" clId="{3F7A7787-00CA-42A0-97CD-637349527123}" dt="2021-07-11T11:57:35.922" v="684"/>
          <ac:spMkLst>
            <pc:docMk/>
            <pc:sldMk cId="3367745605" sldId="1705"/>
            <ac:spMk id="117" creationId="{6C1CE390-525E-4701-B1E1-2D99DB589D52}"/>
          </ac:spMkLst>
        </pc:spChg>
        <pc:spChg chg="mod">
          <ac:chgData name="Yash Ratanpal" userId="5db668b1-93e7-4c08-9786-4ed81315a653" providerId="ADAL" clId="{3F7A7787-00CA-42A0-97CD-637349527123}" dt="2021-07-11T11:57:35.922" v="684"/>
          <ac:spMkLst>
            <pc:docMk/>
            <pc:sldMk cId="3367745605" sldId="1705"/>
            <ac:spMk id="118" creationId="{C5C57E8E-AB35-4F9F-A014-23AAA2C5F72F}"/>
          </ac:spMkLst>
        </pc:spChg>
        <pc:spChg chg="mod">
          <ac:chgData name="Yash Ratanpal" userId="5db668b1-93e7-4c08-9786-4ed81315a653" providerId="ADAL" clId="{3F7A7787-00CA-42A0-97CD-637349527123}" dt="2021-07-11T11:57:35.922" v="684"/>
          <ac:spMkLst>
            <pc:docMk/>
            <pc:sldMk cId="3367745605" sldId="1705"/>
            <ac:spMk id="119" creationId="{CD33BE2D-5862-42F7-B7C1-CDE5AEF3033C}"/>
          </ac:spMkLst>
        </pc:spChg>
        <pc:spChg chg="mod">
          <ac:chgData name="Yash Ratanpal" userId="5db668b1-93e7-4c08-9786-4ed81315a653" providerId="ADAL" clId="{3F7A7787-00CA-42A0-97CD-637349527123}" dt="2021-07-11T11:57:35.922" v="684"/>
          <ac:spMkLst>
            <pc:docMk/>
            <pc:sldMk cId="3367745605" sldId="1705"/>
            <ac:spMk id="121" creationId="{A8BF64F1-F8D0-40C8-A0DA-873DEE5E32A6}"/>
          </ac:spMkLst>
        </pc:spChg>
        <pc:spChg chg="mod">
          <ac:chgData name="Yash Ratanpal" userId="5db668b1-93e7-4c08-9786-4ed81315a653" providerId="ADAL" clId="{3F7A7787-00CA-42A0-97CD-637349527123}" dt="2021-07-11T11:57:35.922" v="684"/>
          <ac:spMkLst>
            <pc:docMk/>
            <pc:sldMk cId="3367745605" sldId="1705"/>
            <ac:spMk id="123" creationId="{F08CA816-8C59-4546-9345-4667D9ED6ADE}"/>
          </ac:spMkLst>
        </pc:spChg>
        <pc:spChg chg="mod">
          <ac:chgData name="Yash Ratanpal" userId="5db668b1-93e7-4c08-9786-4ed81315a653" providerId="ADAL" clId="{3F7A7787-00CA-42A0-97CD-637349527123}" dt="2021-07-11T11:57:35.922" v="684"/>
          <ac:spMkLst>
            <pc:docMk/>
            <pc:sldMk cId="3367745605" sldId="1705"/>
            <ac:spMk id="124" creationId="{F74C136C-0CED-45FA-A027-0E7C376527A6}"/>
          </ac:spMkLst>
        </pc:spChg>
        <pc:spChg chg="mod">
          <ac:chgData name="Yash Ratanpal" userId="5db668b1-93e7-4c08-9786-4ed81315a653" providerId="ADAL" clId="{3F7A7787-00CA-42A0-97CD-637349527123}" dt="2021-07-11T11:57:35.922" v="684"/>
          <ac:spMkLst>
            <pc:docMk/>
            <pc:sldMk cId="3367745605" sldId="1705"/>
            <ac:spMk id="125" creationId="{C0ED8427-73B9-4A8A-9215-1BDD49A7BE4E}"/>
          </ac:spMkLst>
        </pc:spChg>
        <pc:spChg chg="mod">
          <ac:chgData name="Yash Ratanpal" userId="5db668b1-93e7-4c08-9786-4ed81315a653" providerId="ADAL" clId="{3F7A7787-00CA-42A0-97CD-637349527123}" dt="2021-07-11T11:57:35.922" v="684"/>
          <ac:spMkLst>
            <pc:docMk/>
            <pc:sldMk cId="3367745605" sldId="1705"/>
            <ac:spMk id="126" creationId="{EE7C6FD7-8776-4F8E-BEE6-97819F39AC84}"/>
          </ac:spMkLst>
        </pc:spChg>
        <pc:spChg chg="mod">
          <ac:chgData name="Yash Ratanpal" userId="5db668b1-93e7-4c08-9786-4ed81315a653" providerId="ADAL" clId="{3F7A7787-00CA-42A0-97CD-637349527123}" dt="2021-07-11T11:57:35.922" v="684"/>
          <ac:spMkLst>
            <pc:docMk/>
            <pc:sldMk cId="3367745605" sldId="1705"/>
            <ac:spMk id="127" creationId="{294300D5-88AA-4C7B-B9F6-908AEE50478E}"/>
          </ac:spMkLst>
        </pc:spChg>
        <pc:spChg chg="mod">
          <ac:chgData name="Yash Ratanpal" userId="5db668b1-93e7-4c08-9786-4ed81315a653" providerId="ADAL" clId="{3F7A7787-00CA-42A0-97CD-637349527123}" dt="2021-07-11T11:57:35.922" v="684"/>
          <ac:spMkLst>
            <pc:docMk/>
            <pc:sldMk cId="3367745605" sldId="1705"/>
            <ac:spMk id="128" creationId="{6C3205CB-5573-4B07-8FAC-F0964AEA4B2B}"/>
          </ac:spMkLst>
        </pc:spChg>
        <pc:spChg chg="mod">
          <ac:chgData name="Yash Ratanpal" userId="5db668b1-93e7-4c08-9786-4ed81315a653" providerId="ADAL" clId="{3F7A7787-00CA-42A0-97CD-637349527123}" dt="2021-07-11T11:57:35.922" v="684"/>
          <ac:spMkLst>
            <pc:docMk/>
            <pc:sldMk cId="3367745605" sldId="1705"/>
            <ac:spMk id="129" creationId="{CF94537D-3E57-413A-AD9C-18795A272A29}"/>
          </ac:spMkLst>
        </pc:spChg>
        <pc:spChg chg="mod">
          <ac:chgData name="Yash Ratanpal" userId="5db668b1-93e7-4c08-9786-4ed81315a653" providerId="ADAL" clId="{3F7A7787-00CA-42A0-97CD-637349527123}" dt="2021-07-11T11:57:35.922" v="684"/>
          <ac:spMkLst>
            <pc:docMk/>
            <pc:sldMk cId="3367745605" sldId="1705"/>
            <ac:spMk id="130" creationId="{E1E69658-C583-45FD-978B-60EE3AD0CEBC}"/>
          </ac:spMkLst>
        </pc:spChg>
        <pc:spChg chg="mod">
          <ac:chgData name="Yash Ratanpal" userId="5db668b1-93e7-4c08-9786-4ed81315a653" providerId="ADAL" clId="{3F7A7787-00CA-42A0-97CD-637349527123}" dt="2021-07-11T11:57:35.922" v="684"/>
          <ac:spMkLst>
            <pc:docMk/>
            <pc:sldMk cId="3367745605" sldId="1705"/>
            <ac:spMk id="131" creationId="{E03F5FE7-7A60-42AB-97B6-ADF252A5F1DF}"/>
          </ac:spMkLst>
        </pc:spChg>
        <pc:spChg chg="mod">
          <ac:chgData name="Yash Ratanpal" userId="5db668b1-93e7-4c08-9786-4ed81315a653" providerId="ADAL" clId="{3F7A7787-00CA-42A0-97CD-637349527123}" dt="2021-07-11T11:57:35.922" v="684"/>
          <ac:spMkLst>
            <pc:docMk/>
            <pc:sldMk cId="3367745605" sldId="1705"/>
            <ac:spMk id="132" creationId="{4AFCEE97-4BCE-4320-A274-85275B093AB2}"/>
          </ac:spMkLst>
        </pc:spChg>
        <pc:spChg chg="mod">
          <ac:chgData name="Yash Ratanpal" userId="5db668b1-93e7-4c08-9786-4ed81315a653" providerId="ADAL" clId="{3F7A7787-00CA-42A0-97CD-637349527123}" dt="2021-07-11T11:57:35.922" v="684"/>
          <ac:spMkLst>
            <pc:docMk/>
            <pc:sldMk cId="3367745605" sldId="1705"/>
            <ac:spMk id="133" creationId="{73192639-6CEC-415B-9557-4B102CEC3555}"/>
          </ac:spMkLst>
        </pc:spChg>
        <pc:spChg chg="mod">
          <ac:chgData name="Yash Ratanpal" userId="5db668b1-93e7-4c08-9786-4ed81315a653" providerId="ADAL" clId="{3F7A7787-00CA-42A0-97CD-637349527123}" dt="2021-07-11T11:57:35.922" v="684"/>
          <ac:spMkLst>
            <pc:docMk/>
            <pc:sldMk cId="3367745605" sldId="1705"/>
            <ac:spMk id="134" creationId="{17A334F8-01A6-443E-84EB-8BC5F35EB410}"/>
          </ac:spMkLst>
        </pc:spChg>
        <pc:spChg chg="mod">
          <ac:chgData name="Yash Ratanpal" userId="5db668b1-93e7-4c08-9786-4ed81315a653" providerId="ADAL" clId="{3F7A7787-00CA-42A0-97CD-637349527123}" dt="2021-07-11T11:57:35.922" v="684"/>
          <ac:spMkLst>
            <pc:docMk/>
            <pc:sldMk cId="3367745605" sldId="1705"/>
            <ac:spMk id="135" creationId="{F5A66A28-A504-4473-9BBF-E9CB34682FF5}"/>
          </ac:spMkLst>
        </pc:spChg>
        <pc:spChg chg="mod">
          <ac:chgData name="Yash Ratanpal" userId="5db668b1-93e7-4c08-9786-4ed81315a653" providerId="ADAL" clId="{3F7A7787-00CA-42A0-97CD-637349527123}" dt="2021-07-11T11:57:35.922" v="684"/>
          <ac:spMkLst>
            <pc:docMk/>
            <pc:sldMk cId="3367745605" sldId="1705"/>
            <ac:spMk id="136" creationId="{CA029352-D89B-43FE-92B9-604E538CDA18}"/>
          </ac:spMkLst>
        </pc:spChg>
        <pc:spChg chg="mod">
          <ac:chgData name="Yash Ratanpal" userId="5db668b1-93e7-4c08-9786-4ed81315a653" providerId="ADAL" clId="{3F7A7787-00CA-42A0-97CD-637349527123}" dt="2021-07-11T11:57:35.922" v="684"/>
          <ac:spMkLst>
            <pc:docMk/>
            <pc:sldMk cId="3367745605" sldId="1705"/>
            <ac:spMk id="137" creationId="{EBA5217E-334C-49F5-AC9A-A525D53AD338}"/>
          </ac:spMkLst>
        </pc:spChg>
        <pc:spChg chg="mod">
          <ac:chgData name="Yash Ratanpal" userId="5db668b1-93e7-4c08-9786-4ed81315a653" providerId="ADAL" clId="{3F7A7787-00CA-42A0-97CD-637349527123}" dt="2021-07-11T11:57:35.922" v="684"/>
          <ac:spMkLst>
            <pc:docMk/>
            <pc:sldMk cId="3367745605" sldId="1705"/>
            <ac:spMk id="138" creationId="{446FC024-AFAC-4392-8C20-55E9B246047C}"/>
          </ac:spMkLst>
        </pc:spChg>
        <pc:spChg chg="mod">
          <ac:chgData name="Yash Ratanpal" userId="5db668b1-93e7-4c08-9786-4ed81315a653" providerId="ADAL" clId="{3F7A7787-00CA-42A0-97CD-637349527123}" dt="2021-07-11T11:57:35.922" v="684"/>
          <ac:spMkLst>
            <pc:docMk/>
            <pc:sldMk cId="3367745605" sldId="1705"/>
            <ac:spMk id="139" creationId="{713495D3-7319-4855-800F-A28F27E77F1F}"/>
          </ac:spMkLst>
        </pc:spChg>
        <pc:spChg chg="mod">
          <ac:chgData name="Yash Ratanpal" userId="5db668b1-93e7-4c08-9786-4ed81315a653" providerId="ADAL" clId="{3F7A7787-00CA-42A0-97CD-637349527123}" dt="2021-07-11T11:57:35.922" v="684"/>
          <ac:spMkLst>
            <pc:docMk/>
            <pc:sldMk cId="3367745605" sldId="1705"/>
            <ac:spMk id="140" creationId="{E66A8D6A-F9F9-498B-A725-8AA3700FD639}"/>
          </ac:spMkLst>
        </pc:spChg>
        <pc:spChg chg="mod">
          <ac:chgData name="Yash Ratanpal" userId="5db668b1-93e7-4c08-9786-4ed81315a653" providerId="ADAL" clId="{3F7A7787-00CA-42A0-97CD-637349527123}" dt="2021-07-11T11:57:35.922" v="684"/>
          <ac:spMkLst>
            <pc:docMk/>
            <pc:sldMk cId="3367745605" sldId="1705"/>
            <ac:spMk id="144" creationId="{E4AF20D8-F8D6-4704-8C21-0D5BE0236426}"/>
          </ac:spMkLst>
        </pc:spChg>
        <pc:spChg chg="mod">
          <ac:chgData name="Yash Ratanpal" userId="5db668b1-93e7-4c08-9786-4ed81315a653" providerId="ADAL" clId="{3F7A7787-00CA-42A0-97CD-637349527123}" dt="2021-07-11T11:57:35.922" v="684"/>
          <ac:spMkLst>
            <pc:docMk/>
            <pc:sldMk cId="3367745605" sldId="1705"/>
            <ac:spMk id="204" creationId="{8DD5B06C-E0BE-43C9-AF2A-94CD782B0C78}"/>
          </ac:spMkLst>
        </pc:spChg>
        <pc:spChg chg="add del mod topLvl">
          <ac:chgData name="Yash Ratanpal" userId="5db668b1-93e7-4c08-9786-4ed81315a653" providerId="ADAL" clId="{3F7A7787-00CA-42A0-97CD-637349527123}" dt="2021-07-11T12:16:18.487" v="1277" actId="478"/>
          <ac:spMkLst>
            <pc:docMk/>
            <pc:sldMk cId="3367745605" sldId="1705"/>
            <ac:spMk id="205" creationId="{C7E97DE1-22CE-4C2C-A552-42649AA05CC4}"/>
          </ac:spMkLst>
        </pc:spChg>
        <pc:spChg chg="mod">
          <ac:chgData name="Yash Ratanpal" userId="5db668b1-93e7-4c08-9786-4ed81315a653" providerId="ADAL" clId="{3F7A7787-00CA-42A0-97CD-637349527123}" dt="2021-07-11T12:03:58.148" v="747" actId="165"/>
          <ac:spMkLst>
            <pc:docMk/>
            <pc:sldMk cId="3367745605" sldId="1705"/>
            <ac:spMk id="208" creationId="{CF7511C5-8FB4-419C-B4E4-E2F8364ECE37}"/>
          </ac:spMkLst>
        </pc:spChg>
        <pc:spChg chg="mod">
          <ac:chgData name="Yash Ratanpal" userId="5db668b1-93e7-4c08-9786-4ed81315a653" providerId="ADAL" clId="{3F7A7787-00CA-42A0-97CD-637349527123}" dt="2021-07-11T12:03:58.148" v="747" actId="165"/>
          <ac:spMkLst>
            <pc:docMk/>
            <pc:sldMk cId="3367745605" sldId="1705"/>
            <ac:spMk id="209" creationId="{4E42F6F4-2BCB-463E-B83D-A64612A85FAD}"/>
          </ac:spMkLst>
        </pc:spChg>
        <pc:spChg chg="mod">
          <ac:chgData name="Yash Ratanpal" userId="5db668b1-93e7-4c08-9786-4ed81315a653" providerId="ADAL" clId="{3F7A7787-00CA-42A0-97CD-637349527123}" dt="2021-07-11T12:03:58.148" v="747" actId="165"/>
          <ac:spMkLst>
            <pc:docMk/>
            <pc:sldMk cId="3367745605" sldId="1705"/>
            <ac:spMk id="210" creationId="{5AF37276-0D55-454C-857B-76B68DC2E22F}"/>
          </ac:spMkLst>
        </pc:spChg>
        <pc:spChg chg="mod">
          <ac:chgData name="Yash Ratanpal" userId="5db668b1-93e7-4c08-9786-4ed81315a653" providerId="ADAL" clId="{3F7A7787-00CA-42A0-97CD-637349527123}" dt="2021-07-11T12:03:58.148" v="747" actId="165"/>
          <ac:spMkLst>
            <pc:docMk/>
            <pc:sldMk cId="3367745605" sldId="1705"/>
            <ac:spMk id="211" creationId="{3DCC89E0-82DC-4E04-BAAB-C4AD643175FC}"/>
          </ac:spMkLst>
        </pc:spChg>
        <pc:spChg chg="mod">
          <ac:chgData name="Yash Ratanpal" userId="5db668b1-93e7-4c08-9786-4ed81315a653" providerId="ADAL" clId="{3F7A7787-00CA-42A0-97CD-637349527123}" dt="2021-07-11T12:03:58.148" v="747" actId="165"/>
          <ac:spMkLst>
            <pc:docMk/>
            <pc:sldMk cId="3367745605" sldId="1705"/>
            <ac:spMk id="212" creationId="{7864F33A-8E82-43EB-8DD3-D1E980375B58}"/>
          </ac:spMkLst>
        </pc:spChg>
        <pc:spChg chg="mod">
          <ac:chgData name="Yash Ratanpal" userId="5db668b1-93e7-4c08-9786-4ed81315a653" providerId="ADAL" clId="{3F7A7787-00CA-42A0-97CD-637349527123}" dt="2021-07-11T12:03:58.148" v="747" actId="165"/>
          <ac:spMkLst>
            <pc:docMk/>
            <pc:sldMk cId="3367745605" sldId="1705"/>
            <ac:spMk id="213" creationId="{588E9820-1805-40F6-9E31-0F596B84A9CD}"/>
          </ac:spMkLst>
        </pc:spChg>
        <pc:spChg chg="mod">
          <ac:chgData name="Yash Ratanpal" userId="5db668b1-93e7-4c08-9786-4ed81315a653" providerId="ADAL" clId="{3F7A7787-00CA-42A0-97CD-637349527123}" dt="2021-07-11T12:03:58.148" v="747" actId="165"/>
          <ac:spMkLst>
            <pc:docMk/>
            <pc:sldMk cId="3367745605" sldId="1705"/>
            <ac:spMk id="214" creationId="{C4041A80-8FC5-4A3F-A9B9-9456D223B4D0}"/>
          </ac:spMkLst>
        </pc:spChg>
        <pc:spChg chg="mod">
          <ac:chgData name="Yash Ratanpal" userId="5db668b1-93e7-4c08-9786-4ed81315a653" providerId="ADAL" clId="{3F7A7787-00CA-42A0-97CD-637349527123}" dt="2021-07-11T12:03:58.148" v="747" actId="165"/>
          <ac:spMkLst>
            <pc:docMk/>
            <pc:sldMk cId="3367745605" sldId="1705"/>
            <ac:spMk id="215" creationId="{9FEF96CE-E4C9-435E-A728-A546729A618E}"/>
          </ac:spMkLst>
        </pc:spChg>
        <pc:spChg chg="mod">
          <ac:chgData name="Yash Ratanpal" userId="5db668b1-93e7-4c08-9786-4ed81315a653" providerId="ADAL" clId="{3F7A7787-00CA-42A0-97CD-637349527123}" dt="2021-07-11T12:03:58.148" v="747" actId="165"/>
          <ac:spMkLst>
            <pc:docMk/>
            <pc:sldMk cId="3367745605" sldId="1705"/>
            <ac:spMk id="216" creationId="{0C156ECA-3EA8-405A-91DA-82645D30C899}"/>
          </ac:spMkLst>
        </pc:spChg>
        <pc:spChg chg="mod">
          <ac:chgData name="Yash Ratanpal" userId="5db668b1-93e7-4c08-9786-4ed81315a653" providerId="ADAL" clId="{3F7A7787-00CA-42A0-97CD-637349527123}" dt="2021-07-11T12:03:58.148" v="747" actId="165"/>
          <ac:spMkLst>
            <pc:docMk/>
            <pc:sldMk cId="3367745605" sldId="1705"/>
            <ac:spMk id="217" creationId="{0F662AB7-2B82-4006-BE50-D84F24BC5574}"/>
          </ac:spMkLst>
        </pc:spChg>
        <pc:spChg chg="mod">
          <ac:chgData name="Yash Ratanpal" userId="5db668b1-93e7-4c08-9786-4ed81315a653" providerId="ADAL" clId="{3F7A7787-00CA-42A0-97CD-637349527123}" dt="2021-07-11T12:03:58.148" v="747" actId="165"/>
          <ac:spMkLst>
            <pc:docMk/>
            <pc:sldMk cId="3367745605" sldId="1705"/>
            <ac:spMk id="218" creationId="{739784ED-1F57-4D6C-9252-2D97982AAFDF}"/>
          </ac:spMkLst>
        </pc:spChg>
        <pc:spChg chg="mod">
          <ac:chgData name="Yash Ratanpal" userId="5db668b1-93e7-4c08-9786-4ed81315a653" providerId="ADAL" clId="{3F7A7787-00CA-42A0-97CD-637349527123}" dt="2021-07-11T12:03:58.148" v="747" actId="165"/>
          <ac:spMkLst>
            <pc:docMk/>
            <pc:sldMk cId="3367745605" sldId="1705"/>
            <ac:spMk id="219" creationId="{C6D005CB-561C-4998-B3D2-84791654D51F}"/>
          </ac:spMkLst>
        </pc:spChg>
        <pc:spChg chg="del mod topLvl">
          <ac:chgData name="Yash Ratanpal" userId="5db668b1-93e7-4c08-9786-4ed81315a653" providerId="ADAL" clId="{3F7A7787-00CA-42A0-97CD-637349527123}" dt="2021-07-11T13:47:14.469" v="1751" actId="478"/>
          <ac:spMkLst>
            <pc:docMk/>
            <pc:sldMk cId="3367745605" sldId="1705"/>
            <ac:spMk id="221" creationId="{FBCD1A60-AD5E-4033-97A6-4773E54FF0A7}"/>
          </ac:spMkLst>
        </pc:spChg>
        <pc:spChg chg="del mod topLvl">
          <ac:chgData name="Yash Ratanpal" userId="5db668b1-93e7-4c08-9786-4ed81315a653" providerId="ADAL" clId="{3F7A7787-00CA-42A0-97CD-637349527123}" dt="2021-07-11T13:47:14.469" v="1751" actId="478"/>
          <ac:spMkLst>
            <pc:docMk/>
            <pc:sldMk cId="3367745605" sldId="1705"/>
            <ac:spMk id="223" creationId="{BED5D70B-3DFD-433A-BDA0-15320FEA9836}"/>
          </ac:spMkLst>
        </pc:spChg>
        <pc:spChg chg="del mod topLvl">
          <ac:chgData name="Yash Ratanpal" userId="5db668b1-93e7-4c08-9786-4ed81315a653" providerId="ADAL" clId="{3F7A7787-00CA-42A0-97CD-637349527123}" dt="2021-07-11T12:06:48.647" v="802" actId="478"/>
          <ac:spMkLst>
            <pc:docMk/>
            <pc:sldMk cId="3367745605" sldId="1705"/>
            <ac:spMk id="224" creationId="{9110765A-3918-4547-BF76-3E25FD9DC8DB}"/>
          </ac:spMkLst>
        </pc:spChg>
        <pc:spChg chg="del mod topLvl">
          <ac:chgData name="Yash Ratanpal" userId="5db668b1-93e7-4c08-9786-4ed81315a653" providerId="ADAL" clId="{3F7A7787-00CA-42A0-97CD-637349527123}" dt="2021-07-11T13:47:14.469" v="1751" actId="478"/>
          <ac:spMkLst>
            <pc:docMk/>
            <pc:sldMk cId="3367745605" sldId="1705"/>
            <ac:spMk id="225" creationId="{042503C7-5E4F-4012-9699-4BBA86FBBE5D}"/>
          </ac:spMkLst>
        </pc:spChg>
        <pc:spChg chg="del mod topLvl">
          <ac:chgData name="Yash Ratanpal" userId="5db668b1-93e7-4c08-9786-4ed81315a653" providerId="ADAL" clId="{3F7A7787-00CA-42A0-97CD-637349527123}" dt="2021-07-11T12:06:48.647" v="802" actId="478"/>
          <ac:spMkLst>
            <pc:docMk/>
            <pc:sldMk cId="3367745605" sldId="1705"/>
            <ac:spMk id="226" creationId="{59F8E069-DFA7-42F1-A2BC-2B40F877AB60}"/>
          </ac:spMkLst>
        </pc:spChg>
        <pc:spChg chg="del mod topLvl">
          <ac:chgData name="Yash Ratanpal" userId="5db668b1-93e7-4c08-9786-4ed81315a653" providerId="ADAL" clId="{3F7A7787-00CA-42A0-97CD-637349527123}" dt="2021-07-11T13:47:14.469" v="1751" actId="478"/>
          <ac:spMkLst>
            <pc:docMk/>
            <pc:sldMk cId="3367745605" sldId="1705"/>
            <ac:spMk id="227" creationId="{AB3A0934-37AE-4BB8-95BB-4843626AB0B5}"/>
          </ac:spMkLst>
        </pc:spChg>
        <pc:spChg chg="del mod topLvl">
          <ac:chgData name="Yash Ratanpal" userId="5db668b1-93e7-4c08-9786-4ed81315a653" providerId="ADAL" clId="{3F7A7787-00CA-42A0-97CD-637349527123}" dt="2021-07-11T12:06:26.094" v="790" actId="478"/>
          <ac:spMkLst>
            <pc:docMk/>
            <pc:sldMk cId="3367745605" sldId="1705"/>
            <ac:spMk id="228" creationId="{93759A28-CD1C-4EAF-BC02-B4972459A112}"/>
          </ac:spMkLst>
        </pc:spChg>
        <pc:spChg chg="del mod topLvl">
          <ac:chgData name="Yash Ratanpal" userId="5db668b1-93e7-4c08-9786-4ed81315a653" providerId="ADAL" clId="{3F7A7787-00CA-42A0-97CD-637349527123}" dt="2021-07-11T13:47:14.469" v="1751" actId="478"/>
          <ac:spMkLst>
            <pc:docMk/>
            <pc:sldMk cId="3367745605" sldId="1705"/>
            <ac:spMk id="229" creationId="{D92E2476-AD06-46B7-BCE8-AADA1A5E5C83}"/>
          </ac:spMkLst>
        </pc:spChg>
        <pc:spChg chg="del mod topLvl">
          <ac:chgData name="Yash Ratanpal" userId="5db668b1-93e7-4c08-9786-4ed81315a653" providerId="ADAL" clId="{3F7A7787-00CA-42A0-97CD-637349527123}" dt="2021-07-11T12:06:49.802" v="803" actId="478"/>
          <ac:spMkLst>
            <pc:docMk/>
            <pc:sldMk cId="3367745605" sldId="1705"/>
            <ac:spMk id="230" creationId="{D08F2793-791B-4087-914F-ED5F7473FB4C}"/>
          </ac:spMkLst>
        </pc:spChg>
        <pc:spChg chg="del mod topLvl">
          <ac:chgData name="Yash Ratanpal" userId="5db668b1-93e7-4c08-9786-4ed81315a653" providerId="ADAL" clId="{3F7A7787-00CA-42A0-97CD-637349527123}" dt="2021-07-11T13:47:14.469" v="1751" actId="478"/>
          <ac:spMkLst>
            <pc:docMk/>
            <pc:sldMk cId="3367745605" sldId="1705"/>
            <ac:spMk id="231" creationId="{5A248138-26FC-4AF9-8E80-B7D8F6C4977A}"/>
          </ac:spMkLst>
        </pc:spChg>
        <pc:spChg chg="del mod topLvl">
          <ac:chgData name="Yash Ratanpal" userId="5db668b1-93e7-4c08-9786-4ed81315a653" providerId="ADAL" clId="{3F7A7787-00CA-42A0-97CD-637349527123}" dt="2021-07-11T12:06:50.662" v="804" actId="478"/>
          <ac:spMkLst>
            <pc:docMk/>
            <pc:sldMk cId="3367745605" sldId="1705"/>
            <ac:spMk id="232" creationId="{834F75E9-1450-435D-BFEC-734003756555}"/>
          </ac:spMkLst>
        </pc:spChg>
        <pc:spChg chg="del mod topLvl">
          <ac:chgData name="Yash Ratanpal" userId="5db668b1-93e7-4c08-9786-4ed81315a653" providerId="ADAL" clId="{3F7A7787-00CA-42A0-97CD-637349527123}" dt="2021-07-11T12:06:24.640" v="789" actId="478"/>
          <ac:spMkLst>
            <pc:docMk/>
            <pc:sldMk cId="3367745605" sldId="1705"/>
            <ac:spMk id="233" creationId="{3D7B272A-2816-4717-9FFD-390231356648}"/>
          </ac:spMkLst>
        </pc:spChg>
        <pc:spChg chg="del mod topLvl">
          <ac:chgData name="Yash Ratanpal" userId="5db668b1-93e7-4c08-9786-4ed81315a653" providerId="ADAL" clId="{3F7A7787-00CA-42A0-97CD-637349527123}" dt="2021-07-11T13:47:14.469" v="1751" actId="478"/>
          <ac:spMkLst>
            <pc:docMk/>
            <pc:sldMk cId="3367745605" sldId="1705"/>
            <ac:spMk id="234" creationId="{0E312E52-E930-4F79-9D6A-70A450690276}"/>
          </ac:spMkLst>
        </pc:spChg>
        <pc:spChg chg="del mod topLvl">
          <ac:chgData name="Yash Ratanpal" userId="5db668b1-93e7-4c08-9786-4ed81315a653" providerId="ADAL" clId="{3F7A7787-00CA-42A0-97CD-637349527123}" dt="2021-07-11T13:47:14.469" v="1751" actId="478"/>
          <ac:spMkLst>
            <pc:docMk/>
            <pc:sldMk cId="3367745605" sldId="1705"/>
            <ac:spMk id="235" creationId="{81D9AB47-A575-4785-94EC-708C5278F498}"/>
          </ac:spMkLst>
        </pc:spChg>
        <pc:spChg chg="del mod topLvl">
          <ac:chgData name="Yash Ratanpal" userId="5db668b1-93e7-4c08-9786-4ed81315a653" providerId="ADAL" clId="{3F7A7787-00CA-42A0-97CD-637349527123}" dt="2021-07-11T12:06:48.647" v="802" actId="478"/>
          <ac:spMkLst>
            <pc:docMk/>
            <pc:sldMk cId="3367745605" sldId="1705"/>
            <ac:spMk id="236" creationId="{797A9668-5F18-4F2E-80E4-3E83FE0E9C7C}"/>
          </ac:spMkLst>
        </pc:spChg>
        <pc:spChg chg="del mod topLvl">
          <ac:chgData name="Yash Ratanpal" userId="5db668b1-93e7-4c08-9786-4ed81315a653" providerId="ADAL" clId="{3F7A7787-00CA-42A0-97CD-637349527123}" dt="2021-07-11T13:47:14.469" v="1751" actId="478"/>
          <ac:spMkLst>
            <pc:docMk/>
            <pc:sldMk cId="3367745605" sldId="1705"/>
            <ac:spMk id="237" creationId="{31F62EC2-E91D-4F68-B8CF-8502B52AD7D0}"/>
          </ac:spMkLst>
        </pc:spChg>
        <pc:spChg chg="del mod topLvl">
          <ac:chgData name="Yash Ratanpal" userId="5db668b1-93e7-4c08-9786-4ed81315a653" providerId="ADAL" clId="{3F7A7787-00CA-42A0-97CD-637349527123}" dt="2021-07-11T12:06:48.647" v="802" actId="478"/>
          <ac:spMkLst>
            <pc:docMk/>
            <pc:sldMk cId="3367745605" sldId="1705"/>
            <ac:spMk id="238" creationId="{254204E1-AD27-465E-9632-EDA27A18FF84}"/>
          </ac:spMkLst>
        </pc:spChg>
        <pc:spChg chg="del mod topLvl">
          <ac:chgData name="Yash Ratanpal" userId="5db668b1-93e7-4c08-9786-4ed81315a653" providerId="ADAL" clId="{3F7A7787-00CA-42A0-97CD-637349527123}" dt="2021-07-11T13:47:14.469" v="1751" actId="478"/>
          <ac:spMkLst>
            <pc:docMk/>
            <pc:sldMk cId="3367745605" sldId="1705"/>
            <ac:spMk id="239" creationId="{B46F3EA5-B875-4997-87A5-5A898D7C9C5C}"/>
          </ac:spMkLst>
        </pc:spChg>
        <pc:spChg chg="del mod topLvl">
          <ac:chgData name="Yash Ratanpal" userId="5db668b1-93e7-4c08-9786-4ed81315a653" providerId="ADAL" clId="{3F7A7787-00CA-42A0-97CD-637349527123}" dt="2021-07-11T12:06:23.671" v="788" actId="478"/>
          <ac:spMkLst>
            <pc:docMk/>
            <pc:sldMk cId="3367745605" sldId="1705"/>
            <ac:spMk id="240" creationId="{A07A65F2-9316-4DFE-95E9-A9718D40831F}"/>
          </ac:spMkLst>
        </pc:spChg>
        <pc:spChg chg="add del mod topLvl">
          <ac:chgData name="Yash Ratanpal" userId="5db668b1-93e7-4c08-9786-4ed81315a653" providerId="ADAL" clId="{3F7A7787-00CA-42A0-97CD-637349527123}" dt="2021-07-11T13:47:14.469" v="1751" actId="478"/>
          <ac:spMkLst>
            <pc:docMk/>
            <pc:sldMk cId="3367745605" sldId="1705"/>
            <ac:spMk id="241" creationId="{BBC7C0AC-15E8-48AD-983D-62E6FABE7096}"/>
          </ac:spMkLst>
        </pc:spChg>
        <pc:spChg chg="del mod topLvl">
          <ac:chgData name="Yash Ratanpal" userId="5db668b1-93e7-4c08-9786-4ed81315a653" providerId="ADAL" clId="{3F7A7787-00CA-42A0-97CD-637349527123}" dt="2021-07-11T13:47:14.469" v="1751" actId="478"/>
          <ac:spMkLst>
            <pc:docMk/>
            <pc:sldMk cId="3367745605" sldId="1705"/>
            <ac:spMk id="242" creationId="{E36A178D-2DAA-496B-B6BA-65E0E5C791FF}"/>
          </ac:spMkLst>
        </pc:spChg>
        <pc:spChg chg="add del mod">
          <ac:chgData name="Yash Ratanpal" userId="5db668b1-93e7-4c08-9786-4ed81315a653" providerId="ADAL" clId="{3F7A7787-00CA-42A0-97CD-637349527123}" dt="2021-07-11T12:12:34.345" v="939"/>
          <ac:spMkLst>
            <pc:docMk/>
            <pc:sldMk cId="3367745605" sldId="1705"/>
            <ac:spMk id="243" creationId="{313F36BA-6AB6-437A-AE6B-C1D0856E0AB7}"/>
          </ac:spMkLst>
        </pc:spChg>
        <pc:spChg chg="add del mod">
          <ac:chgData name="Yash Ratanpal" userId="5db668b1-93e7-4c08-9786-4ed81315a653" providerId="ADAL" clId="{3F7A7787-00CA-42A0-97CD-637349527123}" dt="2021-07-11T12:12:34.345" v="939"/>
          <ac:spMkLst>
            <pc:docMk/>
            <pc:sldMk cId="3367745605" sldId="1705"/>
            <ac:spMk id="244" creationId="{452B416D-1983-4371-A52D-C4D90D05B22E}"/>
          </ac:spMkLst>
        </pc:spChg>
        <pc:spChg chg="add del mod">
          <ac:chgData name="Yash Ratanpal" userId="5db668b1-93e7-4c08-9786-4ed81315a653" providerId="ADAL" clId="{3F7A7787-00CA-42A0-97CD-637349527123}" dt="2021-07-11T12:12:34.345" v="939"/>
          <ac:spMkLst>
            <pc:docMk/>
            <pc:sldMk cId="3367745605" sldId="1705"/>
            <ac:spMk id="245" creationId="{E881F7A2-A1B7-454C-B706-BE4FEA1E2AD2}"/>
          </ac:spMkLst>
        </pc:spChg>
        <pc:spChg chg="add del mod">
          <ac:chgData name="Yash Ratanpal" userId="5db668b1-93e7-4c08-9786-4ed81315a653" providerId="ADAL" clId="{3F7A7787-00CA-42A0-97CD-637349527123}" dt="2021-07-11T13:47:14.469" v="1751" actId="478"/>
          <ac:spMkLst>
            <pc:docMk/>
            <pc:sldMk cId="3367745605" sldId="1705"/>
            <ac:spMk id="246" creationId="{B9C3C09B-61C7-4AD7-BD43-481D7BC40DAA}"/>
          </ac:spMkLst>
        </pc:spChg>
        <pc:spChg chg="add del mod">
          <ac:chgData name="Yash Ratanpal" userId="5db668b1-93e7-4c08-9786-4ed81315a653" providerId="ADAL" clId="{3F7A7787-00CA-42A0-97CD-637349527123}" dt="2021-07-11T13:47:14.469" v="1751" actId="478"/>
          <ac:spMkLst>
            <pc:docMk/>
            <pc:sldMk cId="3367745605" sldId="1705"/>
            <ac:spMk id="247" creationId="{72402EBD-5F2D-488C-A0D5-941F04B94A49}"/>
          </ac:spMkLst>
        </pc:spChg>
        <pc:spChg chg="add del mod">
          <ac:chgData name="Yash Ratanpal" userId="5db668b1-93e7-4c08-9786-4ed81315a653" providerId="ADAL" clId="{3F7A7787-00CA-42A0-97CD-637349527123}" dt="2021-07-11T13:47:14.469" v="1751" actId="478"/>
          <ac:spMkLst>
            <pc:docMk/>
            <pc:sldMk cId="3367745605" sldId="1705"/>
            <ac:spMk id="248" creationId="{342D459F-C094-4843-9F7F-5A2060ABE3A2}"/>
          </ac:spMkLst>
        </pc:spChg>
        <pc:spChg chg="add del mod">
          <ac:chgData name="Yash Ratanpal" userId="5db668b1-93e7-4c08-9786-4ed81315a653" providerId="ADAL" clId="{3F7A7787-00CA-42A0-97CD-637349527123}" dt="2021-07-11T12:16:41.470" v="1285" actId="478"/>
          <ac:spMkLst>
            <pc:docMk/>
            <pc:sldMk cId="3367745605" sldId="1705"/>
            <ac:spMk id="249" creationId="{51CD9B11-BDDA-4D1A-B972-4C8296F89585}"/>
          </ac:spMkLst>
        </pc:spChg>
        <pc:spChg chg="add del mod">
          <ac:chgData name="Yash Ratanpal" userId="5db668b1-93e7-4c08-9786-4ed81315a653" providerId="ADAL" clId="{3F7A7787-00CA-42A0-97CD-637349527123}" dt="2021-07-11T13:47:14.469" v="1751" actId="478"/>
          <ac:spMkLst>
            <pc:docMk/>
            <pc:sldMk cId="3367745605" sldId="1705"/>
            <ac:spMk id="250" creationId="{AC277D32-4FB2-4CCC-ACA8-33C0934258E8}"/>
          </ac:spMkLst>
        </pc:spChg>
        <pc:spChg chg="add del mod">
          <ac:chgData name="Yash Ratanpal" userId="5db668b1-93e7-4c08-9786-4ed81315a653" providerId="ADAL" clId="{3F7A7787-00CA-42A0-97CD-637349527123}" dt="2021-07-11T13:47:14.469" v="1751" actId="478"/>
          <ac:spMkLst>
            <pc:docMk/>
            <pc:sldMk cId="3367745605" sldId="1705"/>
            <ac:spMk id="251" creationId="{E71516A5-0136-4344-BFE0-5FA11889575F}"/>
          </ac:spMkLst>
        </pc:spChg>
        <pc:spChg chg="add del mod topLvl">
          <ac:chgData name="Yash Ratanpal" userId="5db668b1-93e7-4c08-9786-4ed81315a653" providerId="ADAL" clId="{3F7A7787-00CA-42A0-97CD-637349527123}" dt="2021-07-11T13:47:14.469" v="1751" actId="478"/>
          <ac:spMkLst>
            <pc:docMk/>
            <pc:sldMk cId="3367745605" sldId="1705"/>
            <ac:spMk id="252" creationId="{B34D0285-9F0E-4776-96A8-1052810F7B24}"/>
          </ac:spMkLst>
        </pc:spChg>
        <pc:spChg chg="add del mod topLvl">
          <ac:chgData name="Yash Ratanpal" userId="5db668b1-93e7-4c08-9786-4ed81315a653" providerId="ADAL" clId="{3F7A7787-00CA-42A0-97CD-637349527123}" dt="2021-07-11T13:47:14.469" v="1751" actId="478"/>
          <ac:spMkLst>
            <pc:docMk/>
            <pc:sldMk cId="3367745605" sldId="1705"/>
            <ac:spMk id="253" creationId="{DABBC4D4-8C2C-49DF-B764-0103AAE0D551}"/>
          </ac:spMkLst>
        </pc:spChg>
        <pc:spChg chg="add del mod topLvl">
          <ac:chgData name="Yash Ratanpal" userId="5db668b1-93e7-4c08-9786-4ed81315a653" providerId="ADAL" clId="{3F7A7787-00CA-42A0-97CD-637349527123}" dt="2021-07-11T13:47:14.469" v="1751" actId="478"/>
          <ac:spMkLst>
            <pc:docMk/>
            <pc:sldMk cId="3367745605" sldId="1705"/>
            <ac:spMk id="254" creationId="{348F0F32-BDC7-48B1-B65A-BCA8863475CD}"/>
          </ac:spMkLst>
        </pc:spChg>
        <pc:spChg chg="add del mod topLvl">
          <ac:chgData name="Yash Ratanpal" userId="5db668b1-93e7-4c08-9786-4ed81315a653" providerId="ADAL" clId="{3F7A7787-00CA-42A0-97CD-637349527123}" dt="2021-07-11T13:47:14.469" v="1751" actId="478"/>
          <ac:spMkLst>
            <pc:docMk/>
            <pc:sldMk cId="3367745605" sldId="1705"/>
            <ac:spMk id="255" creationId="{2BD29940-7CFF-458B-AEA4-754D7AC3D343}"/>
          </ac:spMkLst>
        </pc:spChg>
        <pc:spChg chg="add del mod topLvl">
          <ac:chgData name="Yash Ratanpal" userId="5db668b1-93e7-4c08-9786-4ed81315a653" providerId="ADAL" clId="{3F7A7787-00CA-42A0-97CD-637349527123}" dt="2021-07-11T13:47:14.469" v="1751" actId="478"/>
          <ac:spMkLst>
            <pc:docMk/>
            <pc:sldMk cId="3367745605" sldId="1705"/>
            <ac:spMk id="256" creationId="{AC6A2E7D-FC03-4EDE-B941-C5690A83A28B}"/>
          </ac:spMkLst>
        </pc:spChg>
        <pc:spChg chg="add mod">
          <ac:chgData name="Yash Ratanpal" userId="5db668b1-93e7-4c08-9786-4ed81315a653" providerId="ADAL" clId="{3F7A7787-00CA-42A0-97CD-637349527123}" dt="2021-07-11T13:47:23.796" v="1753" actId="1076"/>
          <ac:spMkLst>
            <pc:docMk/>
            <pc:sldMk cId="3367745605" sldId="1705"/>
            <ac:spMk id="257" creationId="{D4C482C8-39A2-4474-B222-A311A33834AB}"/>
          </ac:spMkLst>
        </pc:spChg>
        <pc:spChg chg="add mod">
          <ac:chgData name="Yash Ratanpal" userId="5db668b1-93e7-4c08-9786-4ed81315a653" providerId="ADAL" clId="{3F7A7787-00CA-42A0-97CD-637349527123}" dt="2021-07-11T13:47:23.796" v="1753" actId="1076"/>
          <ac:spMkLst>
            <pc:docMk/>
            <pc:sldMk cId="3367745605" sldId="1705"/>
            <ac:spMk id="258" creationId="{A0D18BE2-0924-4019-B2F8-26DCDBED8174}"/>
          </ac:spMkLst>
        </pc:spChg>
        <pc:spChg chg="add mod">
          <ac:chgData name="Yash Ratanpal" userId="5db668b1-93e7-4c08-9786-4ed81315a653" providerId="ADAL" clId="{3F7A7787-00CA-42A0-97CD-637349527123}" dt="2021-07-11T13:47:23.796" v="1753" actId="1076"/>
          <ac:spMkLst>
            <pc:docMk/>
            <pc:sldMk cId="3367745605" sldId="1705"/>
            <ac:spMk id="259" creationId="{DE923BAF-A6F8-42F1-9A08-4188F57B9634}"/>
          </ac:spMkLst>
        </pc:spChg>
        <pc:spChg chg="add mod">
          <ac:chgData name="Yash Ratanpal" userId="5db668b1-93e7-4c08-9786-4ed81315a653" providerId="ADAL" clId="{3F7A7787-00CA-42A0-97CD-637349527123}" dt="2021-07-11T13:47:23.796" v="1753" actId="1076"/>
          <ac:spMkLst>
            <pc:docMk/>
            <pc:sldMk cId="3367745605" sldId="1705"/>
            <ac:spMk id="260" creationId="{ECB4CBBE-ADC3-4A86-A27F-AD74A1E8813A}"/>
          </ac:spMkLst>
        </pc:spChg>
        <pc:spChg chg="add mod">
          <ac:chgData name="Yash Ratanpal" userId="5db668b1-93e7-4c08-9786-4ed81315a653" providerId="ADAL" clId="{3F7A7787-00CA-42A0-97CD-637349527123}" dt="2021-07-11T13:47:23.796" v="1753" actId="1076"/>
          <ac:spMkLst>
            <pc:docMk/>
            <pc:sldMk cId="3367745605" sldId="1705"/>
            <ac:spMk id="261" creationId="{4051487A-8DEB-4BE8-B77F-3A84B7441377}"/>
          </ac:spMkLst>
        </pc:spChg>
        <pc:spChg chg="add mod">
          <ac:chgData name="Yash Ratanpal" userId="5db668b1-93e7-4c08-9786-4ed81315a653" providerId="ADAL" clId="{3F7A7787-00CA-42A0-97CD-637349527123}" dt="2021-07-11T13:47:23.796" v="1753" actId="1076"/>
          <ac:spMkLst>
            <pc:docMk/>
            <pc:sldMk cId="3367745605" sldId="1705"/>
            <ac:spMk id="262" creationId="{32EFAACA-F05B-477A-893E-AC0DEF764D8E}"/>
          </ac:spMkLst>
        </pc:spChg>
        <pc:spChg chg="add mod">
          <ac:chgData name="Yash Ratanpal" userId="5db668b1-93e7-4c08-9786-4ed81315a653" providerId="ADAL" clId="{3F7A7787-00CA-42A0-97CD-637349527123}" dt="2021-07-11T13:47:23.796" v="1753" actId="1076"/>
          <ac:spMkLst>
            <pc:docMk/>
            <pc:sldMk cId="3367745605" sldId="1705"/>
            <ac:spMk id="263" creationId="{7C823A67-6C0B-417E-8F66-5F4AFF65531A}"/>
          </ac:spMkLst>
        </pc:spChg>
        <pc:spChg chg="add mod">
          <ac:chgData name="Yash Ratanpal" userId="5db668b1-93e7-4c08-9786-4ed81315a653" providerId="ADAL" clId="{3F7A7787-00CA-42A0-97CD-637349527123}" dt="2021-07-11T13:47:23.796" v="1753" actId="1076"/>
          <ac:spMkLst>
            <pc:docMk/>
            <pc:sldMk cId="3367745605" sldId="1705"/>
            <ac:spMk id="264" creationId="{472EDC0C-BE03-42D9-9835-86A1F4481018}"/>
          </ac:spMkLst>
        </pc:spChg>
        <pc:spChg chg="add mod">
          <ac:chgData name="Yash Ratanpal" userId="5db668b1-93e7-4c08-9786-4ed81315a653" providerId="ADAL" clId="{3F7A7787-00CA-42A0-97CD-637349527123}" dt="2021-07-11T13:47:23.796" v="1753" actId="1076"/>
          <ac:spMkLst>
            <pc:docMk/>
            <pc:sldMk cId="3367745605" sldId="1705"/>
            <ac:spMk id="265" creationId="{0810FAE3-46F1-4826-A91F-738A90EEDD92}"/>
          </ac:spMkLst>
        </pc:spChg>
        <pc:spChg chg="add mod">
          <ac:chgData name="Yash Ratanpal" userId="5db668b1-93e7-4c08-9786-4ed81315a653" providerId="ADAL" clId="{3F7A7787-00CA-42A0-97CD-637349527123}" dt="2021-07-11T13:47:23.796" v="1753" actId="1076"/>
          <ac:spMkLst>
            <pc:docMk/>
            <pc:sldMk cId="3367745605" sldId="1705"/>
            <ac:spMk id="266" creationId="{794D857E-7E5E-4E8E-9AC2-C4E75E925B81}"/>
          </ac:spMkLst>
        </pc:spChg>
        <pc:grpChg chg="del">
          <ac:chgData name="Yash Ratanpal" userId="5db668b1-93e7-4c08-9786-4ed81315a653" providerId="ADAL" clId="{3F7A7787-00CA-42A0-97CD-637349527123}" dt="2021-07-11T11:57:27.982" v="681" actId="478"/>
          <ac:grpSpMkLst>
            <pc:docMk/>
            <pc:sldMk cId="3367745605" sldId="1705"/>
            <ac:grpSpMk id="4" creationId="{EA00DBC6-6C4A-4CEC-88FF-62C5530F1D29}"/>
          </ac:grpSpMkLst>
        </pc:grpChg>
        <pc:grpChg chg="add del mod">
          <ac:chgData name="Yash Ratanpal" userId="5db668b1-93e7-4c08-9786-4ed81315a653" providerId="ADAL" clId="{3F7A7787-00CA-42A0-97CD-637349527123}" dt="2021-07-11T12:03:58.148" v="747" actId="165"/>
          <ac:grpSpMkLst>
            <pc:docMk/>
            <pc:sldMk cId="3367745605" sldId="1705"/>
            <ac:grpSpMk id="5" creationId="{A1D899CB-F74E-42CF-BAA5-F8E9BDEA5828}"/>
          </ac:grpSpMkLst>
        </pc:grpChg>
        <pc:grpChg chg="add del mod">
          <ac:chgData name="Yash Ratanpal" userId="5db668b1-93e7-4c08-9786-4ed81315a653" providerId="ADAL" clId="{3F7A7787-00CA-42A0-97CD-637349527123}" dt="2021-07-11T12:20:52.392" v="1522" actId="165"/>
          <ac:grpSpMkLst>
            <pc:docMk/>
            <pc:sldMk cId="3367745605" sldId="1705"/>
            <ac:grpSpMk id="6" creationId="{B897F92A-06C4-44E7-87AA-6CAE3009FB6E}"/>
          </ac:grpSpMkLst>
        </pc:grpChg>
        <pc:grpChg chg="add del mod">
          <ac:chgData name="Yash Ratanpal" userId="5db668b1-93e7-4c08-9786-4ed81315a653" providerId="ADAL" clId="{3F7A7787-00CA-42A0-97CD-637349527123}" dt="2021-07-11T12:22:44.788" v="1538" actId="165"/>
          <ac:grpSpMkLst>
            <pc:docMk/>
            <pc:sldMk cId="3367745605" sldId="1705"/>
            <ac:grpSpMk id="7" creationId="{B2AB662F-EF11-4CE8-B9F1-6539D68D9028}"/>
          </ac:grpSpMkLst>
        </pc:grpChg>
        <pc:grpChg chg="add del mod">
          <ac:chgData name="Yash Ratanpal" userId="5db668b1-93e7-4c08-9786-4ed81315a653" providerId="ADAL" clId="{3F7A7787-00CA-42A0-97CD-637349527123}" dt="2021-07-11T13:44:26.682" v="1742" actId="165"/>
          <ac:grpSpMkLst>
            <pc:docMk/>
            <pc:sldMk cId="3367745605" sldId="1705"/>
            <ac:grpSpMk id="8" creationId="{0767961A-8A1D-4742-859A-BCA222437476}"/>
          </ac:grpSpMkLst>
        </pc:grpChg>
        <pc:grpChg chg="add del mod">
          <ac:chgData name="Yash Ratanpal" userId="5db668b1-93e7-4c08-9786-4ed81315a653" providerId="ADAL" clId="{3F7A7787-00CA-42A0-97CD-637349527123}" dt="2021-07-11T11:57:35.277" v="683"/>
          <ac:grpSpMkLst>
            <pc:docMk/>
            <pc:sldMk cId="3367745605" sldId="1705"/>
            <ac:grpSpMk id="68" creationId="{47F84692-F7DA-4FFF-8E1B-E2CCF916413A}"/>
          </ac:grpSpMkLst>
        </pc:grpChg>
        <pc:grpChg chg="add del mod">
          <ac:chgData name="Yash Ratanpal" userId="5db668b1-93e7-4c08-9786-4ed81315a653" providerId="ADAL" clId="{3F7A7787-00CA-42A0-97CD-637349527123}" dt="2021-07-11T11:57:35.277" v="683"/>
          <ac:grpSpMkLst>
            <pc:docMk/>
            <pc:sldMk cId="3367745605" sldId="1705"/>
            <ac:grpSpMk id="82" creationId="{DF881537-1CB6-4EBC-9126-D32B08AB1058}"/>
          </ac:grpSpMkLst>
        </pc:grpChg>
        <pc:grpChg chg="add del mod">
          <ac:chgData name="Yash Ratanpal" userId="5db668b1-93e7-4c08-9786-4ed81315a653" providerId="ADAL" clId="{3F7A7787-00CA-42A0-97CD-637349527123}" dt="2021-07-11T11:57:36.820" v="685"/>
          <ac:grpSpMkLst>
            <pc:docMk/>
            <pc:sldMk cId="3367745605" sldId="1705"/>
            <ac:grpSpMk id="106" creationId="{8213F3B6-16DF-47E7-8402-B01957282A16}"/>
          </ac:grpSpMkLst>
        </pc:grpChg>
        <pc:grpChg chg="add del mod">
          <ac:chgData name="Yash Ratanpal" userId="5db668b1-93e7-4c08-9786-4ed81315a653" providerId="ADAL" clId="{3F7A7787-00CA-42A0-97CD-637349527123}" dt="2021-07-11T11:57:36.820" v="685"/>
          <ac:grpSpMkLst>
            <pc:docMk/>
            <pc:sldMk cId="3367745605" sldId="1705"/>
            <ac:grpSpMk id="120" creationId="{6F239750-107A-4641-9C7A-76D1FC86D088}"/>
          </ac:grpSpMkLst>
        </pc:grpChg>
        <pc:grpChg chg="add del mod topLvl">
          <ac:chgData name="Yash Ratanpal" userId="5db668b1-93e7-4c08-9786-4ed81315a653" providerId="ADAL" clId="{3F7A7787-00CA-42A0-97CD-637349527123}" dt="2021-07-11T12:04:00.657" v="748" actId="478"/>
          <ac:grpSpMkLst>
            <pc:docMk/>
            <pc:sldMk cId="3367745605" sldId="1705"/>
            <ac:grpSpMk id="206" creationId="{3B609748-DBFD-46CA-BBC8-A3D63B8CA477}"/>
          </ac:grpSpMkLst>
        </pc:grpChg>
        <pc:grpChg chg="add del mod topLvl">
          <ac:chgData name="Yash Ratanpal" userId="5db668b1-93e7-4c08-9786-4ed81315a653" providerId="ADAL" clId="{3F7A7787-00CA-42A0-97CD-637349527123}" dt="2021-07-11T12:04:57.263" v="753" actId="165"/>
          <ac:grpSpMkLst>
            <pc:docMk/>
            <pc:sldMk cId="3367745605" sldId="1705"/>
            <ac:grpSpMk id="220" creationId="{8056ECD9-2315-4A54-AF89-60647E45EF6E}"/>
          </ac:grpSpMkLst>
        </pc:grpChg>
        <pc:cxnChg chg="mod">
          <ac:chgData name="Yash Ratanpal" userId="5db668b1-93e7-4c08-9786-4ed81315a653" providerId="ADAL" clId="{3F7A7787-00CA-42A0-97CD-637349527123}" dt="2021-07-11T11:57:33.242" v="682"/>
          <ac:cxnSpMkLst>
            <pc:docMk/>
            <pc:sldMk cId="3367745605" sldId="1705"/>
            <ac:cxnSpMk id="69" creationId="{A30AE1B2-9A1F-4210-B0A5-B906C7D5ECCA}"/>
          </ac:cxnSpMkLst>
        </pc:cxnChg>
        <pc:cxnChg chg="mod">
          <ac:chgData name="Yash Ratanpal" userId="5db668b1-93e7-4c08-9786-4ed81315a653" providerId="ADAL" clId="{3F7A7787-00CA-42A0-97CD-637349527123}" dt="2021-07-11T11:57:33.242" v="682"/>
          <ac:cxnSpMkLst>
            <pc:docMk/>
            <pc:sldMk cId="3367745605" sldId="1705"/>
            <ac:cxnSpMk id="84" creationId="{4D7746FC-3379-49AB-8B33-9CA6270206D9}"/>
          </ac:cxnSpMkLst>
        </pc:cxnChg>
        <pc:cxnChg chg="mod">
          <ac:chgData name="Yash Ratanpal" userId="5db668b1-93e7-4c08-9786-4ed81315a653" providerId="ADAL" clId="{3F7A7787-00CA-42A0-97CD-637349527123}" dt="2021-07-11T11:57:35.922" v="684"/>
          <ac:cxnSpMkLst>
            <pc:docMk/>
            <pc:sldMk cId="3367745605" sldId="1705"/>
            <ac:cxnSpMk id="107" creationId="{337E9FE9-7BB1-4061-9EE6-770A56847C87}"/>
          </ac:cxnSpMkLst>
        </pc:cxnChg>
        <pc:cxnChg chg="mod">
          <ac:chgData name="Yash Ratanpal" userId="5db668b1-93e7-4c08-9786-4ed81315a653" providerId="ADAL" clId="{3F7A7787-00CA-42A0-97CD-637349527123}" dt="2021-07-11T11:57:35.922" v="684"/>
          <ac:cxnSpMkLst>
            <pc:docMk/>
            <pc:sldMk cId="3367745605" sldId="1705"/>
            <ac:cxnSpMk id="122" creationId="{94248941-9DF2-4D4B-971C-DFB0A316655E}"/>
          </ac:cxnSpMkLst>
        </pc:cxnChg>
        <pc:cxnChg chg="mod">
          <ac:chgData name="Yash Ratanpal" userId="5db668b1-93e7-4c08-9786-4ed81315a653" providerId="ADAL" clId="{3F7A7787-00CA-42A0-97CD-637349527123}" dt="2021-07-11T12:03:58.148" v="747" actId="165"/>
          <ac:cxnSpMkLst>
            <pc:docMk/>
            <pc:sldMk cId="3367745605" sldId="1705"/>
            <ac:cxnSpMk id="207" creationId="{D53E2E09-2714-4C6D-A940-13F2BD505967}"/>
          </ac:cxnSpMkLst>
        </pc:cxnChg>
        <pc:cxnChg chg="del mod topLvl">
          <ac:chgData name="Yash Ratanpal" userId="5db668b1-93e7-4c08-9786-4ed81315a653" providerId="ADAL" clId="{3F7A7787-00CA-42A0-97CD-637349527123}" dt="2021-07-11T13:47:14.469" v="1751" actId="478"/>
          <ac:cxnSpMkLst>
            <pc:docMk/>
            <pc:sldMk cId="3367745605" sldId="1705"/>
            <ac:cxnSpMk id="222" creationId="{B548109A-E7DD-4665-8408-9261BBEE067A}"/>
          </ac:cxnSpMkLst>
        </pc:cxnChg>
      </pc:sldChg>
      <pc:sldChg chg="addSp delSp modSp add mod">
        <pc:chgData name="Yash Ratanpal" userId="5db668b1-93e7-4c08-9786-4ed81315a653" providerId="ADAL" clId="{3F7A7787-00CA-42A0-97CD-637349527123}" dt="2021-07-18T17:00:11.492" v="8319" actId="6549"/>
        <pc:sldMkLst>
          <pc:docMk/>
          <pc:sldMk cId="2749337049" sldId="1706"/>
        </pc:sldMkLst>
        <pc:spChg chg="mod">
          <ac:chgData name="Yash Ratanpal" userId="5db668b1-93e7-4c08-9786-4ed81315a653" providerId="ADAL" clId="{3F7A7787-00CA-42A0-97CD-637349527123}" dt="2021-07-18T16:55:22.244" v="8260" actId="20577"/>
          <ac:spMkLst>
            <pc:docMk/>
            <pc:sldMk cId="2749337049" sldId="1706"/>
            <ac:spMk id="3" creationId="{00000000-0000-0000-0000-000000000000}"/>
          </ac:spMkLst>
        </pc:spChg>
        <pc:spChg chg="add del mod topLvl">
          <ac:chgData name="Yash Ratanpal" userId="5db668b1-93e7-4c08-9786-4ed81315a653" providerId="ADAL" clId="{3F7A7787-00CA-42A0-97CD-637349527123}" dt="2021-07-18T16:57:16.021" v="8302" actId="208"/>
          <ac:spMkLst>
            <pc:docMk/>
            <pc:sldMk cId="2749337049" sldId="1706"/>
            <ac:spMk id="27" creationId="{AF1A6C06-FEC7-4915-B639-CF93AA9A6A92}"/>
          </ac:spMkLst>
        </pc:spChg>
        <pc:spChg chg="add del mod topLvl">
          <ac:chgData name="Yash Ratanpal" userId="5db668b1-93e7-4c08-9786-4ed81315a653" providerId="ADAL" clId="{3F7A7787-00CA-42A0-97CD-637349527123}" dt="2021-07-18T16:57:17.821" v="8303" actId="208"/>
          <ac:spMkLst>
            <pc:docMk/>
            <pc:sldMk cId="2749337049" sldId="1706"/>
            <ac:spMk id="28" creationId="{E04ECF15-1F25-4C05-97E3-0686EF782997}"/>
          </ac:spMkLst>
        </pc:spChg>
        <pc:spChg chg="add del mod topLvl">
          <ac:chgData name="Yash Ratanpal" userId="5db668b1-93e7-4c08-9786-4ed81315a653" providerId="ADAL" clId="{3F7A7787-00CA-42A0-97CD-637349527123}" dt="2021-07-18T16:57:03.292" v="8299" actId="165"/>
          <ac:spMkLst>
            <pc:docMk/>
            <pc:sldMk cId="2749337049" sldId="1706"/>
            <ac:spMk id="29" creationId="{C370C591-5E1D-48AE-8FC2-6FD7C21531A2}"/>
          </ac:spMkLst>
        </pc:spChg>
        <pc:spChg chg="add del mod topLvl">
          <ac:chgData name="Yash Ratanpal" userId="5db668b1-93e7-4c08-9786-4ed81315a653" providerId="ADAL" clId="{3F7A7787-00CA-42A0-97CD-637349527123}" dt="2021-07-18T16:57:03.292" v="8299" actId="165"/>
          <ac:spMkLst>
            <pc:docMk/>
            <pc:sldMk cId="2749337049" sldId="1706"/>
            <ac:spMk id="30" creationId="{7D0B1533-97C7-41BF-BAAB-28404BDB666F}"/>
          </ac:spMkLst>
        </pc:spChg>
        <pc:spChg chg="add del mod topLvl">
          <ac:chgData name="Yash Ratanpal" userId="5db668b1-93e7-4c08-9786-4ed81315a653" providerId="ADAL" clId="{3F7A7787-00CA-42A0-97CD-637349527123}" dt="2021-07-18T16:57:03.292" v="8299" actId="165"/>
          <ac:spMkLst>
            <pc:docMk/>
            <pc:sldMk cId="2749337049" sldId="1706"/>
            <ac:spMk id="31" creationId="{C24D561D-8156-4C9A-9DBE-F0FA24D403A8}"/>
          </ac:spMkLst>
        </pc:spChg>
        <pc:spChg chg="add del mod topLvl">
          <ac:chgData name="Yash Ratanpal" userId="5db668b1-93e7-4c08-9786-4ed81315a653" providerId="ADAL" clId="{3F7A7787-00CA-42A0-97CD-637349527123}" dt="2021-07-18T16:57:03.292" v="8299" actId="165"/>
          <ac:spMkLst>
            <pc:docMk/>
            <pc:sldMk cId="2749337049" sldId="1706"/>
            <ac:spMk id="32" creationId="{785B5585-04FD-44C2-8E09-CBDBAF962558}"/>
          </ac:spMkLst>
        </pc:spChg>
        <pc:spChg chg="add del mod topLvl">
          <ac:chgData name="Yash Ratanpal" userId="5db668b1-93e7-4c08-9786-4ed81315a653" providerId="ADAL" clId="{3F7A7787-00CA-42A0-97CD-637349527123}" dt="2021-07-18T16:57:03.292" v="8299" actId="165"/>
          <ac:spMkLst>
            <pc:docMk/>
            <pc:sldMk cId="2749337049" sldId="1706"/>
            <ac:spMk id="33" creationId="{E564FDAE-7381-49B0-8F34-85644595CD0B}"/>
          </ac:spMkLst>
        </pc:spChg>
        <pc:spChg chg="add del mod topLvl">
          <ac:chgData name="Yash Ratanpal" userId="5db668b1-93e7-4c08-9786-4ed81315a653" providerId="ADAL" clId="{3F7A7787-00CA-42A0-97CD-637349527123}" dt="2021-07-18T16:57:03.292" v="8299" actId="165"/>
          <ac:spMkLst>
            <pc:docMk/>
            <pc:sldMk cId="2749337049" sldId="1706"/>
            <ac:spMk id="34" creationId="{37C9F6DD-257E-4771-98A1-969F7D390B34}"/>
          </ac:spMkLst>
        </pc:spChg>
        <pc:spChg chg="add del mod topLvl">
          <ac:chgData name="Yash Ratanpal" userId="5db668b1-93e7-4c08-9786-4ed81315a653" providerId="ADAL" clId="{3F7A7787-00CA-42A0-97CD-637349527123}" dt="2021-07-18T16:57:03.292" v="8299" actId="165"/>
          <ac:spMkLst>
            <pc:docMk/>
            <pc:sldMk cId="2749337049" sldId="1706"/>
            <ac:spMk id="35" creationId="{6C8C22F4-D808-4750-BFA6-52380676CA32}"/>
          </ac:spMkLst>
        </pc:spChg>
        <pc:spChg chg="add del mod topLvl">
          <ac:chgData name="Yash Ratanpal" userId="5db668b1-93e7-4c08-9786-4ed81315a653" providerId="ADAL" clId="{3F7A7787-00CA-42A0-97CD-637349527123}" dt="2021-07-18T16:57:03.292" v="8299" actId="165"/>
          <ac:spMkLst>
            <pc:docMk/>
            <pc:sldMk cId="2749337049" sldId="1706"/>
            <ac:spMk id="36" creationId="{3CE92C4E-96E9-45FC-B8A0-BCA888A48260}"/>
          </ac:spMkLst>
        </pc:spChg>
        <pc:spChg chg="add del mod topLvl">
          <ac:chgData name="Yash Ratanpal" userId="5db668b1-93e7-4c08-9786-4ed81315a653" providerId="ADAL" clId="{3F7A7787-00CA-42A0-97CD-637349527123}" dt="2021-07-18T16:57:03.292" v="8299" actId="165"/>
          <ac:spMkLst>
            <pc:docMk/>
            <pc:sldMk cId="2749337049" sldId="1706"/>
            <ac:spMk id="37" creationId="{9C5618A1-CBF1-4F19-AA5E-4B897615F9A2}"/>
          </ac:spMkLst>
        </pc:spChg>
        <pc:spChg chg="add del mod topLvl">
          <ac:chgData name="Yash Ratanpal" userId="5db668b1-93e7-4c08-9786-4ed81315a653" providerId="ADAL" clId="{3F7A7787-00CA-42A0-97CD-637349527123}" dt="2021-07-18T16:57:03.292" v="8299" actId="165"/>
          <ac:spMkLst>
            <pc:docMk/>
            <pc:sldMk cId="2749337049" sldId="1706"/>
            <ac:spMk id="38" creationId="{D941BB84-550F-4C6D-8967-37C392F4EA0B}"/>
          </ac:spMkLst>
        </pc:spChg>
        <pc:spChg chg="add del mod topLvl">
          <ac:chgData name="Yash Ratanpal" userId="5db668b1-93e7-4c08-9786-4ed81315a653" providerId="ADAL" clId="{3F7A7787-00CA-42A0-97CD-637349527123}" dt="2021-07-18T16:57:03.292" v="8299" actId="165"/>
          <ac:spMkLst>
            <pc:docMk/>
            <pc:sldMk cId="2749337049" sldId="1706"/>
            <ac:spMk id="39" creationId="{05903D31-812F-424F-BB7E-C4D349F4BF02}"/>
          </ac:spMkLst>
        </pc:spChg>
        <pc:spChg chg="add del mod topLvl">
          <ac:chgData name="Yash Ratanpal" userId="5db668b1-93e7-4c08-9786-4ed81315a653" providerId="ADAL" clId="{3F7A7787-00CA-42A0-97CD-637349527123}" dt="2021-07-18T16:57:03.292" v="8299" actId="165"/>
          <ac:spMkLst>
            <pc:docMk/>
            <pc:sldMk cId="2749337049" sldId="1706"/>
            <ac:spMk id="40" creationId="{C09B462C-D4DC-4720-8E16-BE1D36738E99}"/>
          </ac:spMkLst>
        </pc:spChg>
        <pc:spChg chg="add del mod topLvl">
          <ac:chgData name="Yash Ratanpal" userId="5db668b1-93e7-4c08-9786-4ed81315a653" providerId="ADAL" clId="{3F7A7787-00CA-42A0-97CD-637349527123}" dt="2021-07-18T16:57:03.292" v="8299" actId="165"/>
          <ac:spMkLst>
            <pc:docMk/>
            <pc:sldMk cId="2749337049" sldId="1706"/>
            <ac:spMk id="41" creationId="{AF7DE2F2-0E49-45AE-A663-7D6541F1447B}"/>
          </ac:spMkLst>
        </pc:spChg>
        <pc:spChg chg="add del mod topLvl">
          <ac:chgData name="Yash Ratanpal" userId="5db668b1-93e7-4c08-9786-4ed81315a653" providerId="ADAL" clId="{3F7A7787-00CA-42A0-97CD-637349527123}" dt="2021-07-18T16:57:03.292" v="8299" actId="165"/>
          <ac:spMkLst>
            <pc:docMk/>
            <pc:sldMk cId="2749337049" sldId="1706"/>
            <ac:spMk id="42" creationId="{C4C52B3B-B82B-4DCC-AA7C-D75B8F7F7BC3}"/>
          </ac:spMkLst>
        </pc:spChg>
        <pc:spChg chg="add del mod topLvl">
          <ac:chgData name="Yash Ratanpal" userId="5db668b1-93e7-4c08-9786-4ed81315a653" providerId="ADAL" clId="{3F7A7787-00CA-42A0-97CD-637349527123}" dt="2021-07-18T16:57:03.292" v="8299" actId="165"/>
          <ac:spMkLst>
            <pc:docMk/>
            <pc:sldMk cId="2749337049" sldId="1706"/>
            <ac:spMk id="43" creationId="{AF11A804-C198-47B8-96CA-EDE010EE5444}"/>
          </ac:spMkLst>
        </pc:spChg>
        <pc:spChg chg="add del mod topLvl">
          <ac:chgData name="Yash Ratanpal" userId="5db668b1-93e7-4c08-9786-4ed81315a653" providerId="ADAL" clId="{3F7A7787-00CA-42A0-97CD-637349527123}" dt="2021-07-18T16:57:03.292" v="8299" actId="165"/>
          <ac:spMkLst>
            <pc:docMk/>
            <pc:sldMk cId="2749337049" sldId="1706"/>
            <ac:spMk id="44" creationId="{2A9F6315-1257-4A17-8373-E516705A9A45}"/>
          </ac:spMkLst>
        </pc:spChg>
        <pc:spChg chg="add del mod topLvl">
          <ac:chgData name="Yash Ratanpal" userId="5db668b1-93e7-4c08-9786-4ed81315a653" providerId="ADAL" clId="{3F7A7787-00CA-42A0-97CD-637349527123}" dt="2021-07-18T16:57:03.292" v="8299" actId="165"/>
          <ac:spMkLst>
            <pc:docMk/>
            <pc:sldMk cId="2749337049" sldId="1706"/>
            <ac:spMk id="45" creationId="{A2E56934-D816-4F30-9BCE-22CA3D6533C4}"/>
          </ac:spMkLst>
        </pc:spChg>
        <pc:spChg chg="add del mod topLvl">
          <ac:chgData name="Yash Ratanpal" userId="5db668b1-93e7-4c08-9786-4ed81315a653" providerId="ADAL" clId="{3F7A7787-00CA-42A0-97CD-637349527123}" dt="2021-07-18T16:57:03.292" v="8299" actId="165"/>
          <ac:spMkLst>
            <pc:docMk/>
            <pc:sldMk cId="2749337049" sldId="1706"/>
            <ac:spMk id="46" creationId="{4E9FEFAB-82A6-41C4-A14F-812D4E779BA9}"/>
          </ac:spMkLst>
        </pc:spChg>
        <pc:spChg chg="add del mod topLvl">
          <ac:chgData name="Yash Ratanpal" userId="5db668b1-93e7-4c08-9786-4ed81315a653" providerId="ADAL" clId="{3F7A7787-00CA-42A0-97CD-637349527123}" dt="2021-07-18T16:57:03.292" v="8299" actId="165"/>
          <ac:spMkLst>
            <pc:docMk/>
            <pc:sldMk cId="2749337049" sldId="1706"/>
            <ac:spMk id="47" creationId="{CEA80238-1A24-47C0-8D31-10161CE26099}"/>
          </ac:spMkLst>
        </pc:spChg>
        <pc:spChg chg="add del mod topLvl">
          <ac:chgData name="Yash Ratanpal" userId="5db668b1-93e7-4c08-9786-4ed81315a653" providerId="ADAL" clId="{3F7A7787-00CA-42A0-97CD-637349527123}" dt="2021-07-18T16:57:03.292" v="8299" actId="165"/>
          <ac:spMkLst>
            <pc:docMk/>
            <pc:sldMk cId="2749337049" sldId="1706"/>
            <ac:spMk id="48" creationId="{49934D2E-B5C4-407E-BAD9-CE18483F8F7A}"/>
          </ac:spMkLst>
        </pc:spChg>
        <pc:spChg chg="add del mod topLvl">
          <ac:chgData name="Yash Ratanpal" userId="5db668b1-93e7-4c08-9786-4ed81315a653" providerId="ADAL" clId="{3F7A7787-00CA-42A0-97CD-637349527123}" dt="2021-07-18T16:57:03.292" v="8299" actId="165"/>
          <ac:spMkLst>
            <pc:docMk/>
            <pc:sldMk cId="2749337049" sldId="1706"/>
            <ac:spMk id="49" creationId="{52ED1E5B-0BEC-4543-902F-D98B1862D758}"/>
          </ac:spMkLst>
        </pc:spChg>
        <pc:spChg chg="add del mod topLvl">
          <ac:chgData name="Yash Ratanpal" userId="5db668b1-93e7-4c08-9786-4ed81315a653" providerId="ADAL" clId="{3F7A7787-00CA-42A0-97CD-637349527123}" dt="2021-07-18T16:57:03.292" v="8299" actId="165"/>
          <ac:spMkLst>
            <pc:docMk/>
            <pc:sldMk cId="2749337049" sldId="1706"/>
            <ac:spMk id="50" creationId="{C2CE3415-D697-4221-B0EC-B0735F2B6FB5}"/>
          </ac:spMkLst>
        </pc:spChg>
        <pc:spChg chg="add del mod topLvl">
          <ac:chgData name="Yash Ratanpal" userId="5db668b1-93e7-4c08-9786-4ed81315a653" providerId="ADAL" clId="{3F7A7787-00CA-42A0-97CD-637349527123}" dt="2021-07-18T16:57:03.292" v="8299" actId="165"/>
          <ac:spMkLst>
            <pc:docMk/>
            <pc:sldMk cId="2749337049" sldId="1706"/>
            <ac:spMk id="51" creationId="{CCB76BF9-0CEB-4FE6-BB88-3C3FD4CFB2B3}"/>
          </ac:spMkLst>
        </pc:spChg>
        <pc:spChg chg="add del mod topLvl">
          <ac:chgData name="Yash Ratanpal" userId="5db668b1-93e7-4c08-9786-4ed81315a653" providerId="ADAL" clId="{3F7A7787-00CA-42A0-97CD-637349527123}" dt="2021-07-18T16:57:03.292" v="8299" actId="165"/>
          <ac:spMkLst>
            <pc:docMk/>
            <pc:sldMk cId="2749337049" sldId="1706"/>
            <ac:spMk id="52" creationId="{5378E4B8-994E-47AC-B7FD-27A006AF3354}"/>
          </ac:spMkLst>
        </pc:spChg>
        <pc:spChg chg="add del mod topLvl">
          <ac:chgData name="Yash Ratanpal" userId="5db668b1-93e7-4c08-9786-4ed81315a653" providerId="ADAL" clId="{3F7A7787-00CA-42A0-97CD-637349527123}" dt="2021-07-18T17:00:11.492" v="8319" actId="6549"/>
          <ac:spMkLst>
            <pc:docMk/>
            <pc:sldMk cId="2749337049" sldId="1706"/>
            <ac:spMk id="53" creationId="{AE4534D6-4938-461A-B000-7C0AEA7F8C90}"/>
          </ac:spMkLst>
        </pc:spChg>
        <pc:spChg chg="add del mod topLvl">
          <ac:chgData name="Yash Ratanpal" userId="5db668b1-93e7-4c08-9786-4ed81315a653" providerId="ADAL" clId="{3F7A7787-00CA-42A0-97CD-637349527123}" dt="2021-07-18T16:57:03.292" v="8299" actId="165"/>
          <ac:spMkLst>
            <pc:docMk/>
            <pc:sldMk cId="2749337049" sldId="1706"/>
            <ac:spMk id="54" creationId="{0A35EAA0-0743-440D-B4F4-E601D22279A6}"/>
          </ac:spMkLst>
        </pc:spChg>
        <pc:spChg chg="add del mod topLvl">
          <ac:chgData name="Yash Ratanpal" userId="5db668b1-93e7-4c08-9786-4ed81315a653" providerId="ADAL" clId="{3F7A7787-00CA-42A0-97CD-637349527123}" dt="2021-07-18T16:57:03.292" v="8299" actId="165"/>
          <ac:spMkLst>
            <pc:docMk/>
            <pc:sldMk cId="2749337049" sldId="1706"/>
            <ac:spMk id="55" creationId="{D6FC3068-FD75-4FEC-BB33-6CC78B8F0DBD}"/>
          </ac:spMkLst>
        </pc:spChg>
        <pc:spChg chg="add del mod topLvl">
          <ac:chgData name="Yash Ratanpal" userId="5db668b1-93e7-4c08-9786-4ed81315a653" providerId="ADAL" clId="{3F7A7787-00CA-42A0-97CD-637349527123}" dt="2021-07-18T16:57:03.292" v="8299" actId="165"/>
          <ac:spMkLst>
            <pc:docMk/>
            <pc:sldMk cId="2749337049" sldId="1706"/>
            <ac:spMk id="56" creationId="{A331E935-166A-4923-B3E1-093BD66E3E8F}"/>
          </ac:spMkLst>
        </pc:spChg>
        <pc:spChg chg="add del mod topLvl">
          <ac:chgData name="Yash Ratanpal" userId="5db668b1-93e7-4c08-9786-4ed81315a653" providerId="ADAL" clId="{3F7A7787-00CA-42A0-97CD-637349527123}" dt="2021-07-18T16:57:03.292" v="8299" actId="165"/>
          <ac:spMkLst>
            <pc:docMk/>
            <pc:sldMk cId="2749337049" sldId="1706"/>
            <ac:spMk id="57" creationId="{71B2D321-ABFB-4887-962C-AEB386CD525B}"/>
          </ac:spMkLst>
        </pc:spChg>
        <pc:spChg chg="add del mod topLvl">
          <ac:chgData name="Yash Ratanpal" userId="5db668b1-93e7-4c08-9786-4ed81315a653" providerId="ADAL" clId="{3F7A7787-00CA-42A0-97CD-637349527123}" dt="2021-07-18T16:57:03.292" v="8299" actId="165"/>
          <ac:spMkLst>
            <pc:docMk/>
            <pc:sldMk cId="2749337049" sldId="1706"/>
            <ac:spMk id="58" creationId="{D80D4171-4F84-4DDA-A0AC-CCF8DCF245AA}"/>
          </ac:spMkLst>
        </pc:spChg>
        <pc:spChg chg="add del mod topLvl">
          <ac:chgData name="Yash Ratanpal" userId="5db668b1-93e7-4c08-9786-4ed81315a653" providerId="ADAL" clId="{3F7A7787-00CA-42A0-97CD-637349527123}" dt="2021-07-18T16:57:03.292" v="8299" actId="165"/>
          <ac:spMkLst>
            <pc:docMk/>
            <pc:sldMk cId="2749337049" sldId="1706"/>
            <ac:spMk id="59" creationId="{BB62081D-2E23-4163-B86F-76BBA3604D9E}"/>
          </ac:spMkLst>
        </pc:spChg>
        <pc:spChg chg="del">
          <ac:chgData name="Yash Ratanpal" userId="5db668b1-93e7-4c08-9786-4ed81315a653" providerId="ADAL" clId="{3F7A7787-00CA-42A0-97CD-637349527123}" dt="2021-07-11T13:47:28.269" v="1754" actId="478"/>
          <ac:spMkLst>
            <pc:docMk/>
            <pc:sldMk cId="2749337049" sldId="1706"/>
            <ac:spMk id="221" creationId="{FBCD1A60-AD5E-4033-97A6-4773E54FF0A7}"/>
          </ac:spMkLst>
        </pc:spChg>
        <pc:spChg chg="del">
          <ac:chgData name="Yash Ratanpal" userId="5db668b1-93e7-4c08-9786-4ed81315a653" providerId="ADAL" clId="{3F7A7787-00CA-42A0-97CD-637349527123}" dt="2021-07-11T13:47:28.269" v="1754" actId="478"/>
          <ac:spMkLst>
            <pc:docMk/>
            <pc:sldMk cId="2749337049" sldId="1706"/>
            <ac:spMk id="223" creationId="{BED5D70B-3DFD-433A-BDA0-15320FEA9836}"/>
          </ac:spMkLst>
        </pc:spChg>
        <pc:spChg chg="del">
          <ac:chgData name="Yash Ratanpal" userId="5db668b1-93e7-4c08-9786-4ed81315a653" providerId="ADAL" clId="{3F7A7787-00CA-42A0-97CD-637349527123}" dt="2021-07-11T13:47:28.269" v="1754" actId="478"/>
          <ac:spMkLst>
            <pc:docMk/>
            <pc:sldMk cId="2749337049" sldId="1706"/>
            <ac:spMk id="225" creationId="{042503C7-5E4F-4012-9699-4BBA86FBBE5D}"/>
          </ac:spMkLst>
        </pc:spChg>
        <pc:spChg chg="del">
          <ac:chgData name="Yash Ratanpal" userId="5db668b1-93e7-4c08-9786-4ed81315a653" providerId="ADAL" clId="{3F7A7787-00CA-42A0-97CD-637349527123}" dt="2021-07-11T13:47:28.269" v="1754" actId="478"/>
          <ac:spMkLst>
            <pc:docMk/>
            <pc:sldMk cId="2749337049" sldId="1706"/>
            <ac:spMk id="227" creationId="{AB3A0934-37AE-4BB8-95BB-4843626AB0B5}"/>
          </ac:spMkLst>
        </pc:spChg>
        <pc:spChg chg="del">
          <ac:chgData name="Yash Ratanpal" userId="5db668b1-93e7-4c08-9786-4ed81315a653" providerId="ADAL" clId="{3F7A7787-00CA-42A0-97CD-637349527123}" dt="2021-07-11T13:47:28.269" v="1754" actId="478"/>
          <ac:spMkLst>
            <pc:docMk/>
            <pc:sldMk cId="2749337049" sldId="1706"/>
            <ac:spMk id="229" creationId="{D92E2476-AD06-46B7-BCE8-AADA1A5E5C83}"/>
          </ac:spMkLst>
        </pc:spChg>
        <pc:spChg chg="del">
          <ac:chgData name="Yash Ratanpal" userId="5db668b1-93e7-4c08-9786-4ed81315a653" providerId="ADAL" clId="{3F7A7787-00CA-42A0-97CD-637349527123}" dt="2021-07-11T13:47:28.269" v="1754" actId="478"/>
          <ac:spMkLst>
            <pc:docMk/>
            <pc:sldMk cId="2749337049" sldId="1706"/>
            <ac:spMk id="231" creationId="{5A248138-26FC-4AF9-8E80-B7D8F6C4977A}"/>
          </ac:spMkLst>
        </pc:spChg>
        <pc:spChg chg="del">
          <ac:chgData name="Yash Ratanpal" userId="5db668b1-93e7-4c08-9786-4ed81315a653" providerId="ADAL" clId="{3F7A7787-00CA-42A0-97CD-637349527123}" dt="2021-07-11T13:47:28.269" v="1754" actId="478"/>
          <ac:spMkLst>
            <pc:docMk/>
            <pc:sldMk cId="2749337049" sldId="1706"/>
            <ac:spMk id="234" creationId="{0E312E52-E930-4F79-9D6A-70A450690276}"/>
          </ac:spMkLst>
        </pc:spChg>
        <pc:spChg chg="del">
          <ac:chgData name="Yash Ratanpal" userId="5db668b1-93e7-4c08-9786-4ed81315a653" providerId="ADAL" clId="{3F7A7787-00CA-42A0-97CD-637349527123}" dt="2021-07-11T13:47:28.269" v="1754" actId="478"/>
          <ac:spMkLst>
            <pc:docMk/>
            <pc:sldMk cId="2749337049" sldId="1706"/>
            <ac:spMk id="235" creationId="{81D9AB47-A575-4785-94EC-708C5278F498}"/>
          </ac:spMkLst>
        </pc:spChg>
        <pc:spChg chg="del">
          <ac:chgData name="Yash Ratanpal" userId="5db668b1-93e7-4c08-9786-4ed81315a653" providerId="ADAL" clId="{3F7A7787-00CA-42A0-97CD-637349527123}" dt="2021-07-11T13:47:28.269" v="1754" actId="478"/>
          <ac:spMkLst>
            <pc:docMk/>
            <pc:sldMk cId="2749337049" sldId="1706"/>
            <ac:spMk id="237" creationId="{31F62EC2-E91D-4F68-B8CF-8502B52AD7D0}"/>
          </ac:spMkLst>
        </pc:spChg>
        <pc:spChg chg="del">
          <ac:chgData name="Yash Ratanpal" userId="5db668b1-93e7-4c08-9786-4ed81315a653" providerId="ADAL" clId="{3F7A7787-00CA-42A0-97CD-637349527123}" dt="2021-07-11T13:47:28.269" v="1754" actId="478"/>
          <ac:spMkLst>
            <pc:docMk/>
            <pc:sldMk cId="2749337049" sldId="1706"/>
            <ac:spMk id="239" creationId="{B46F3EA5-B875-4997-87A5-5A898D7C9C5C}"/>
          </ac:spMkLst>
        </pc:spChg>
        <pc:spChg chg="del">
          <ac:chgData name="Yash Ratanpal" userId="5db668b1-93e7-4c08-9786-4ed81315a653" providerId="ADAL" clId="{3F7A7787-00CA-42A0-97CD-637349527123}" dt="2021-07-11T13:47:28.269" v="1754" actId="478"/>
          <ac:spMkLst>
            <pc:docMk/>
            <pc:sldMk cId="2749337049" sldId="1706"/>
            <ac:spMk id="241" creationId="{BBC7C0AC-15E8-48AD-983D-62E6FABE7096}"/>
          </ac:spMkLst>
        </pc:spChg>
        <pc:spChg chg="del">
          <ac:chgData name="Yash Ratanpal" userId="5db668b1-93e7-4c08-9786-4ed81315a653" providerId="ADAL" clId="{3F7A7787-00CA-42A0-97CD-637349527123}" dt="2021-07-11T13:47:28.269" v="1754" actId="478"/>
          <ac:spMkLst>
            <pc:docMk/>
            <pc:sldMk cId="2749337049" sldId="1706"/>
            <ac:spMk id="242" creationId="{E36A178D-2DAA-496B-B6BA-65E0E5C791FF}"/>
          </ac:spMkLst>
        </pc:spChg>
        <pc:spChg chg="del">
          <ac:chgData name="Yash Ratanpal" userId="5db668b1-93e7-4c08-9786-4ed81315a653" providerId="ADAL" clId="{3F7A7787-00CA-42A0-97CD-637349527123}" dt="2021-07-11T13:47:28.269" v="1754" actId="478"/>
          <ac:spMkLst>
            <pc:docMk/>
            <pc:sldMk cId="2749337049" sldId="1706"/>
            <ac:spMk id="246" creationId="{B9C3C09B-61C7-4AD7-BD43-481D7BC40DAA}"/>
          </ac:spMkLst>
        </pc:spChg>
        <pc:spChg chg="del">
          <ac:chgData name="Yash Ratanpal" userId="5db668b1-93e7-4c08-9786-4ed81315a653" providerId="ADAL" clId="{3F7A7787-00CA-42A0-97CD-637349527123}" dt="2021-07-11T13:47:28.269" v="1754" actId="478"/>
          <ac:spMkLst>
            <pc:docMk/>
            <pc:sldMk cId="2749337049" sldId="1706"/>
            <ac:spMk id="247" creationId="{72402EBD-5F2D-488C-A0D5-941F04B94A49}"/>
          </ac:spMkLst>
        </pc:spChg>
        <pc:spChg chg="del">
          <ac:chgData name="Yash Ratanpal" userId="5db668b1-93e7-4c08-9786-4ed81315a653" providerId="ADAL" clId="{3F7A7787-00CA-42A0-97CD-637349527123}" dt="2021-07-11T13:47:28.269" v="1754" actId="478"/>
          <ac:spMkLst>
            <pc:docMk/>
            <pc:sldMk cId="2749337049" sldId="1706"/>
            <ac:spMk id="248" creationId="{342D459F-C094-4843-9F7F-5A2060ABE3A2}"/>
          </ac:spMkLst>
        </pc:spChg>
        <pc:spChg chg="del">
          <ac:chgData name="Yash Ratanpal" userId="5db668b1-93e7-4c08-9786-4ed81315a653" providerId="ADAL" clId="{3F7A7787-00CA-42A0-97CD-637349527123}" dt="2021-07-11T13:47:28.269" v="1754" actId="478"/>
          <ac:spMkLst>
            <pc:docMk/>
            <pc:sldMk cId="2749337049" sldId="1706"/>
            <ac:spMk id="250" creationId="{AC277D32-4FB2-4CCC-ACA8-33C0934258E8}"/>
          </ac:spMkLst>
        </pc:spChg>
        <pc:spChg chg="del">
          <ac:chgData name="Yash Ratanpal" userId="5db668b1-93e7-4c08-9786-4ed81315a653" providerId="ADAL" clId="{3F7A7787-00CA-42A0-97CD-637349527123}" dt="2021-07-11T13:47:28.269" v="1754" actId="478"/>
          <ac:spMkLst>
            <pc:docMk/>
            <pc:sldMk cId="2749337049" sldId="1706"/>
            <ac:spMk id="251" creationId="{E71516A5-0136-4344-BFE0-5FA11889575F}"/>
          </ac:spMkLst>
        </pc:spChg>
        <pc:spChg chg="del">
          <ac:chgData name="Yash Ratanpal" userId="5db668b1-93e7-4c08-9786-4ed81315a653" providerId="ADAL" clId="{3F7A7787-00CA-42A0-97CD-637349527123}" dt="2021-07-11T13:47:28.269" v="1754" actId="478"/>
          <ac:spMkLst>
            <pc:docMk/>
            <pc:sldMk cId="2749337049" sldId="1706"/>
            <ac:spMk id="252" creationId="{B34D0285-9F0E-4776-96A8-1052810F7B24}"/>
          </ac:spMkLst>
        </pc:spChg>
        <pc:spChg chg="del">
          <ac:chgData name="Yash Ratanpal" userId="5db668b1-93e7-4c08-9786-4ed81315a653" providerId="ADAL" clId="{3F7A7787-00CA-42A0-97CD-637349527123}" dt="2021-07-11T13:47:28.269" v="1754" actId="478"/>
          <ac:spMkLst>
            <pc:docMk/>
            <pc:sldMk cId="2749337049" sldId="1706"/>
            <ac:spMk id="253" creationId="{DABBC4D4-8C2C-49DF-B764-0103AAE0D551}"/>
          </ac:spMkLst>
        </pc:spChg>
        <pc:spChg chg="del">
          <ac:chgData name="Yash Ratanpal" userId="5db668b1-93e7-4c08-9786-4ed81315a653" providerId="ADAL" clId="{3F7A7787-00CA-42A0-97CD-637349527123}" dt="2021-07-11T13:47:28.269" v="1754" actId="478"/>
          <ac:spMkLst>
            <pc:docMk/>
            <pc:sldMk cId="2749337049" sldId="1706"/>
            <ac:spMk id="254" creationId="{348F0F32-BDC7-48B1-B65A-BCA8863475CD}"/>
          </ac:spMkLst>
        </pc:spChg>
        <pc:spChg chg="del">
          <ac:chgData name="Yash Ratanpal" userId="5db668b1-93e7-4c08-9786-4ed81315a653" providerId="ADAL" clId="{3F7A7787-00CA-42A0-97CD-637349527123}" dt="2021-07-11T13:47:28.269" v="1754" actId="478"/>
          <ac:spMkLst>
            <pc:docMk/>
            <pc:sldMk cId="2749337049" sldId="1706"/>
            <ac:spMk id="255" creationId="{2BD29940-7CFF-458B-AEA4-754D7AC3D343}"/>
          </ac:spMkLst>
        </pc:spChg>
        <pc:spChg chg="del">
          <ac:chgData name="Yash Ratanpal" userId="5db668b1-93e7-4c08-9786-4ed81315a653" providerId="ADAL" clId="{3F7A7787-00CA-42A0-97CD-637349527123}" dt="2021-07-11T13:47:28.269" v="1754" actId="478"/>
          <ac:spMkLst>
            <pc:docMk/>
            <pc:sldMk cId="2749337049" sldId="1706"/>
            <ac:spMk id="256" creationId="{AC6A2E7D-FC03-4EDE-B941-C5690A83A28B}"/>
          </ac:spMkLst>
        </pc:spChg>
        <pc:grpChg chg="add del mod">
          <ac:chgData name="Yash Ratanpal" userId="5db668b1-93e7-4c08-9786-4ed81315a653" providerId="ADAL" clId="{3F7A7787-00CA-42A0-97CD-637349527123}" dt="2021-07-18T16:57:03.292" v="8299" actId="165"/>
          <ac:grpSpMkLst>
            <pc:docMk/>
            <pc:sldMk cId="2749337049" sldId="1706"/>
            <ac:grpSpMk id="4" creationId="{B9AECF71-38B6-474F-9119-827089C8BAF8}"/>
          </ac:grpSpMkLst>
        </pc:grpChg>
        <pc:cxnChg chg="del">
          <ac:chgData name="Yash Ratanpal" userId="5db668b1-93e7-4c08-9786-4ed81315a653" providerId="ADAL" clId="{3F7A7787-00CA-42A0-97CD-637349527123}" dt="2021-07-11T13:47:28.269" v="1754" actId="478"/>
          <ac:cxnSpMkLst>
            <pc:docMk/>
            <pc:sldMk cId="2749337049" sldId="1706"/>
            <ac:cxnSpMk id="222" creationId="{B548109A-E7DD-4665-8408-9261BBEE067A}"/>
          </ac:cxnSpMkLst>
        </pc:cxnChg>
      </pc:sldChg>
      <pc:sldChg chg="addSp delSp modSp add del mod">
        <pc:chgData name="Yash Ratanpal" userId="5db668b1-93e7-4c08-9786-4ed81315a653" providerId="ADAL" clId="{3F7A7787-00CA-42A0-97CD-637349527123}" dt="2021-07-11T13:54:15.597" v="1876" actId="2890"/>
        <pc:sldMkLst>
          <pc:docMk/>
          <pc:sldMk cId="634986751" sldId="1707"/>
        </pc:sldMkLst>
        <pc:spChg chg="mod">
          <ac:chgData name="Yash Ratanpal" userId="5db668b1-93e7-4c08-9786-4ed81315a653" providerId="ADAL" clId="{3F7A7787-00CA-42A0-97CD-637349527123}" dt="2021-07-11T13:54:10.068" v="1865" actId="20577"/>
          <ac:spMkLst>
            <pc:docMk/>
            <pc:sldMk cId="634986751" sldId="1707"/>
            <ac:spMk id="3" creationId="{00000000-0000-0000-0000-000000000000}"/>
          </ac:spMkLst>
        </pc:spChg>
        <pc:spChg chg="add del">
          <ac:chgData name="Yash Ratanpal" userId="5db668b1-93e7-4c08-9786-4ed81315a653" providerId="ADAL" clId="{3F7A7787-00CA-42A0-97CD-637349527123}" dt="2021-07-11T13:54:14.959" v="1875" actId="478"/>
          <ac:spMkLst>
            <pc:docMk/>
            <pc:sldMk cId="634986751" sldId="1707"/>
            <ac:spMk id="27" creationId="{AF1A6C06-FEC7-4915-B639-CF93AA9A6A92}"/>
          </ac:spMkLst>
        </pc:spChg>
        <pc:spChg chg="add del">
          <ac:chgData name="Yash Ratanpal" userId="5db668b1-93e7-4c08-9786-4ed81315a653" providerId="ADAL" clId="{3F7A7787-00CA-42A0-97CD-637349527123}" dt="2021-07-11T13:54:14.959" v="1875" actId="478"/>
          <ac:spMkLst>
            <pc:docMk/>
            <pc:sldMk cId="634986751" sldId="1707"/>
            <ac:spMk id="28" creationId="{E04ECF15-1F25-4C05-97E3-0686EF782997}"/>
          </ac:spMkLst>
        </pc:spChg>
        <pc:spChg chg="add del">
          <ac:chgData name="Yash Ratanpal" userId="5db668b1-93e7-4c08-9786-4ed81315a653" providerId="ADAL" clId="{3F7A7787-00CA-42A0-97CD-637349527123}" dt="2021-07-11T13:54:14.959" v="1875" actId="478"/>
          <ac:spMkLst>
            <pc:docMk/>
            <pc:sldMk cId="634986751" sldId="1707"/>
            <ac:spMk id="29" creationId="{C370C591-5E1D-48AE-8FC2-6FD7C21531A2}"/>
          </ac:spMkLst>
        </pc:spChg>
        <pc:spChg chg="add del">
          <ac:chgData name="Yash Ratanpal" userId="5db668b1-93e7-4c08-9786-4ed81315a653" providerId="ADAL" clId="{3F7A7787-00CA-42A0-97CD-637349527123}" dt="2021-07-11T13:54:14.959" v="1875" actId="478"/>
          <ac:spMkLst>
            <pc:docMk/>
            <pc:sldMk cId="634986751" sldId="1707"/>
            <ac:spMk id="30" creationId="{7D0B1533-97C7-41BF-BAAB-28404BDB666F}"/>
          </ac:spMkLst>
        </pc:spChg>
        <pc:spChg chg="add del">
          <ac:chgData name="Yash Ratanpal" userId="5db668b1-93e7-4c08-9786-4ed81315a653" providerId="ADAL" clId="{3F7A7787-00CA-42A0-97CD-637349527123}" dt="2021-07-11T13:54:14.959" v="1875" actId="478"/>
          <ac:spMkLst>
            <pc:docMk/>
            <pc:sldMk cId="634986751" sldId="1707"/>
            <ac:spMk id="31" creationId="{C24D561D-8156-4C9A-9DBE-F0FA24D403A8}"/>
          </ac:spMkLst>
        </pc:spChg>
        <pc:spChg chg="add del">
          <ac:chgData name="Yash Ratanpal" userId="5db668b1-93e7-4c08-9786-4ed81315a653" providerId="ADAL" clId="{3F7A7787-00CA-42A0-97CD-637349527123}" dt="2021-07-11T13:54:14.959" v="1875" actId="478"/>
          <ac:spMkLst>
            <pc:docMk/>
            <pc:sldMk cId="634986751" sldId="1707"/>
            <ac:spMk id="32" creationId="{785B5585-04FD-44C2-8E09-CBDBAF962558}"/>
          </ac:spMkLst>
        </pc:spChg>
        <pc:spChg chg="add del">
          <ac:chgData name="Yash Ratanpal" userId="5db668b1-93e7-4c08-9786-4ed81315a653" providerId="ADAL" clId="{3F7A7787-00CA-42A0-97CD-637349527123}" dt="2021-07-11T13:54:14.959" v="1875" actId="478"/>
          <ac:spMkLst>
            <pc:docMk/>
            <pc:sldMk cId="634986751" sldId="1707"/>
            <ac:spMk id="33" creationId="{E564FDAE-7381-49B0-8F34-85644595CD0B}"/>
          </ac:spMkLst>
        </pc:spChg>
        <pc:spChg chg="add del">
          <ac:chgData name="Yash Ratanpal" userId="5db668b1-93e7-4c08-9786-4ed81315a653" providerId="ADAL" clId="{3F7A7787-00CA-42A0-97CD-637349527123}" dt="2021-07-11T13:54:14.959" v="1875" actId="478"/>
          <ac:spMkLst>
            <pc:docMk/>
            <pc:sldMk cId="634986751" sldId="1707"/>
            <ac:spMk id="34" creationId="{37C9F6DD-257E-4771-98A1-969F7D390B34}"/>
          </ac:spMkLst>
        </pc:spChg>
        <pc:spChg chg="add del">
          <ac:chgData name="Yash Ratanpal" userId="5db668b1-93e7-4c08-9786-4ed81315a653" providerId="ADAL" clId="{3F7A7787-00CA-42A0-97CD-637349527123}" dt="2021-07-11T13:54:14.959" v="1875" actId="478"/>
          <ac:spMkLst>
            <pc:docMk/>
            <pc:sldMk cId="634986751" sldId="1707"/>
            <ac:spMk id="35" creationId="{6C8C22F4-D808-4750-BFA6-52380676CA32}"/>
          </ac:spMkLst>
        </pc:spChg>
        <pc:spChg chg="add del">
          <ac:chgData name="Yash Ratanpal" userId="5db668b1-93e7-4c08-9786-4ed81315a653" providerId="ADAL" clId="{3F7A7787-00CA-42A0-97CD-637349527123}" dt="2021-07-11T13:54:14.959" v="1875" actId="478"/>
          <ac:spMkLst>
            <pc:docMk/>
            <pc:sldMk cId="634986751" sldId="1707"/>
            <ac:spMk id="36" creationId="{3CE92C4E-96E9-45FC-B8A0-BCA888A48260}"/>
          </ac:spMkLst>
        </pc:spChg>
        <pc:spChg chg="add del">
          <ac:chgData name="Yash Ratanpal" userId="5db668b1-93e7-4c08-9786-4ed81315a653" providerId="ADAL" clId="{3F7A7787-00CA-42A0-97CD-637349527123}" dt="2021-07-11T13:54:14.959" v="1875" actId="478"/>
          <ac:spMkLst>
            <pc:docMk/>
            <pc:sldMk cId="634986751" sldId="1707"/>
            <ac:spMk id="37" creationId="{9C5618A1-CBF1-4F19-AA5E-4B897615F9A2}"/>
          </ac:spMkLst>
        </pc:spChg>
        <pc:spChg chg="add del">
          <ac:chgData name="Yash Ratanpal" userId="5db668b1-93e7-4c08-9786-4ed81315a653" providerId="ADAL" clId="{3F7A7787-00CA-42A0-97CD-637349527123}" dt="2021-07-11T13:54:14.959" v="1875" actId="478"/>
          <ac:spMkLst>
            <pc:docMk/>
            <pc:sldMk cId="634986751" sldId="1707"/>
            <ac:spMk id="38" creationId="{D941BB84-550F-4C6D-8967-37C392F4EA0B}"/>
          </ac:spMkLst>
        </pc:spChg>
        <pc:spChg chg="add del">
          <ac:chgData name="Yash Ratanpal" userId="5db668b1-93e7-4c08-9786-4ed81315a653" providerId="ADAL" clId="{3F7A7787-00CA-42A0-97CD-637349527123}" dt="2021-07-11T13:54:14.959" v="1875" actId="478"/>
          <ac:spMkLst>
            <pc:docMk/>
            <pc:sldMk cId="634986751" sldId="1707"/>
            <ac:spMk id="39" creationId="{05903D31-812F-424F-BB7E-C4D349F4BF02}"/>
          </ac:spMkLst>
        </pc:spChg>
        <pc:spChg chg="add del">
          <ac:chgData name="Yash Ratanpal" userId="5db668b1-93e7-4c08-9786-4ed81315a653" providerId="ADAL" clId="{3F7A7787-00CA-42A0-97CD-637349527123}" dt="2021-07-11T13:54:14.959" v="1875" actId="478"/>
          <ac:spMkLst>
            <pc:docMk/>
            <pc:sldMk cId="634986751" sldId="1707"/>
            <ac:spMk id="40" creationId="{C09B462C-D4DC-4720-8E16-BE1D36738E99}"/>
          </ac:spMkLst>
        </pc:spChg>
        <pc:spChg chg="add del">
          <ac:chgData name="Yash Ratanpal" userId="5db668b1-93e7-4c08-9786-4ed81315a653" providerId="ADAL" clId="{3F7A7787-00CA-42A0-97CD-637349527123}" dt="2021-07-11T13:54:14.959" v="1875" actId="478"/>
          <ac:spMkLst>
            <pc:docMk/>
            <pc:sldMk cId="634986751" sldId="1707"/>
            <ac:spMk id="41" creationId="{AF7DE2F2-0E49-45AE-A663-7D6541F1447B}"/>
          </ac:spMkLst>
        </pc:spChg>
        <pc:spChg chg="add del">
          <ac:chgData name="Yash Ratanpal" userId="5db668b1-93e7-4c08-9786-4ed81315a653" providerId="ADAL" clId="{3F7A7787-00CA-42A0-97CD-637349527123}" dt="2021-07-11T13:54:14.959" v="1875" actId="478"/>
          <ac:spMkLst>
            <pc:docMk/>
            <pc:sldMk cId="634986751" sldId="1707"/>
            <ac:spMk id="42" creationId="{C4C52B3B-B82B-4DCC-AA7C-D75B8F7F7BC3}"/>
          </ac:spMkLst>
        </pc:spChg>
        <pc:spChg chg="add del">
          <ac:chgData name="Yash Ratanpal" userId="5db668b1-93e7-4c08-9786-4ed81315a653" providerId="ADAL" clId="{3F7A7787-00CA-42A0-97CD-637349527123}" dt="2021-07-11T13:54:14.959" v="1875" actId="478"/>
          <ac:spMkLst>
            <pc:docMk/>
            <pc:sldMk cId="634986751" sldId="1707"/>
            <ac:spMk id="43" creationId="{AF11A804-C198-47B8-96CA-EDE010EE5444}"/>
          </ac:spMkLst>
        </pc:spChg>
        <pc:spChg chg="add del">
          <ac:chgData name="Yash Ratanpal" userId="5db668b1-93e7-4c08-9786-4ed81315a653" providerId="ADAL" clId="{3F7A7787-00CA-42A0-97CD-637349527123}" dt="2021-07-11T13:54:14.959" v="1875" actId="478"/>
          <ac:spMkLst>
            <pc:docMk/>
            <pc:sldMk cId="634986751" sldId="1707"/>
            <ac:spMk id="44" creationId="{2A9F6315-1257-4A17-8373-E516705A9A45}"/>
          </ac:spMkLst>
        </pc:spChg>
        <pc:spChg chg="add del">
          <ac:chgData name="Yash Ratanpal" userId="5db668b1-93e7-4c08-9786-4ed81315a653" providerId="ADAL" clId="{3F7A7787-00CA-42A0-97CD-637349527123}" dt="2021-07-11T13:54:14.959" v="1875" actId="478"/>
          <ac:spMkLst>
            <pc:docMk/>
            <pc:sldMk cId="634986751" sldId="1707"/>
            <ac:spMk id="45" creationId="{A2E56934-D816-4F30-9BCE-22CA3D6533C4}"/>
          </ac:spMkLst>
        </pc:spChg>
        <pc:spChg chg="add del">
          <ac:chgData name="Yash Ratanpal" userId="5db668b1-93e7-4c08-9786-4ed81315a653" providerId="ADAL" clId="{3F7A7787-00CA-42A0-97CD-637349527123}" dt="2021-07-11T13:54:14.959" v="1875" actId="478"/>
          <ac:spMkLst>
            <pc:docMk/>
            <pc:sldMk cId="634986751" sldId="1707"/>
            <ac:spMk id="46" creationId="{4E9FEFAB-82A6-41C4-A14F-812D4E779BA9}"/>
          </ac:spMkLst>
        </pc:spChg>
        <pc:spChg chg="add del">
          <ac:chgData name="Yash Ratanpal" userId="5db668b1-93e7-4c08-9786-4ed81315a653" providerId="ADAL" clId="{3F7A7787-00CA-42A0-97CD-637349527123}" dt="2021-07-11T13:54:14.959" v="1875" actId="478"/>
          <ac:spMkLst>
            <pc:docMk/>
            <pc:sldMk cId="634986751" sldId="1707"/>
            <ac:spMk id="47" creationId="{CEA80238-1A24-47C0-8D31-10161CE26099}"/>
          </ac:spMkLst>
        </pc:spChg>
        <pc:spChg chg="add del">
          <ac:chgData name="Yash Ratanpal" userId="5db668b1-93e7-4c08-9786-4ed81315a653" providerId="ADAL" clId="{3F7A7787-00CA-42A0-97CD-637349527123}" dt="2021-07-11T13:54:14.959" v="1875" actId="478"/>
          <ac:spMkLst>
            <pc:docMk/>
            <pc:sldMk cId="634986751" sldId="1707"/>
            <ac:spMk id="48" creationId="{49934D2E-B5C4-407E-BAD9-CE18483F8F7A}"/>
          </ac:spMkLst>
        </pc:spChg>
        <pc:spChg chg="add del">
          <ac:chgData name="Yash Ratanpal" userId="5db668b1-93e7-4c08-9786-4ed81315a653" providerId="ADAL" clId="{3F7A7787-00CA-42A0-97CD-637349527123}" dt="2021-07-11T13:54:14.959" v="1875" actId="478"/>
          <ac:spMkLst>
            <pc:docMk/>
            <pc:sldMk cId="634986751" sldId="1707"/>
            <ac:spMk id="49" creationId="{52ED1E5B-0BEC-4543-902F-D98B1862D758}"/>
          </ac:spMkLst>
        </pc:spChg>
        <pc:spChg chg="add del">
          <ac:chgData name="Yash Ratanpal" userId="5db668b1-93e7-4c08-9786-4ed81315a653" providerId="ADAL" clId="{3F7A7787-00CA-42A0-97CD-637349527123}" dt="2021-07-11T13:54:14.959" v="1875" actId="478"/>
          <ac:spMkLst>
            <pc:docMk/>
            <pc:sldMk cId="634986751" sldId="1707"/>
            <ac:spMk id="50" creationId="{C2CE3415-D697-4221-B0EC-B0735F2B6FB5}"/>
          </ac:spMkLst>
        </pc:spChg>
        <pc:spChg chg="add del">
          <ac:chgData name="Yash Ratanpal" userId="5db668b1-93e7-4c08-9786-4ed81315a653" providerId="ADAL" clId="{3F7A7787-00CA-42A0-97CD-637349527123}" dt="2021-07-11T13:54:14.959" v="1875" actId="478"/>
          <ac:spMkLst>
            <pc:docMk/>
            <pc:sldMk cId="634986751" sldId="1707"/>
            <ac:spMk id="51" creationId="{CCB76BF9-0CEB-4FE6-BB88-3C3FD4CFB2B3}"/>
          </ac:spMkLst>
        </pc:spChg>
        <pc:spChg chg="add del">
          <ac:chgData name="Yash Ratanpal" userId="5db668b1-93e7-4c08-9786-4ed81315a653" providerId="ADAL" clId="{3F7A7787-00CA-42A0-97CD-637349527123}" dt="2021-07-11T13:54:14.959" v="1875" actId="478"/>
          <ac:spMkLst>
            <pc:docMk/>
            <pc:sldMk cId="634986751" sldId="1707"/>
            <ac:spMk id="52" creationId="{5378E4B8-994E-47AC-B7FD-27A006AF3354}"/>
          </ac:spMkLst>
        </pc:spChg>
        <pc:spChg chg="add del">
          <ac:chgData name="Yash Ratanpal" userId="5db668b1-93e7-4c08-9786-4ed81315a653" providerId="ADAL" clId="{3F7A7787-00CA-42A0-97CD-637349527123}" dt="2021-07-11T13:54:14.959" v="1875" actId="478"/>
          <ac:spMkLst>
            <pc:docMk/>
            <pc:sldMk cId="634986751" sldId="1707"/>
            <ac:spMk id="53" creationId="{AE4534D6-4938-461A-B000-7C0AEA7F8C90}"/>
          </ac:spMkLst>
        </pc:spChg>
        <pc:spChg chg="add del">
          <ac:chgData name="Yash Ratanpal" userId="5db668b1-93e7-4c08-9786-4ed81315a653" providerId="ADAL" clId="{3F7A7787-00CA-42A0-97CD-637349527123}" dt="2021-07-11T13:54:14.959" v="1875" actId="478"/>
          <ac:spMkLst>
            <pc:docMk/>
            <pc:sldMk cId="634986751" sldId="1707"/>
            <ac:spMk id="54" creationId="{0A35EAA0-0743-440D-B4F4-E601D22279A6}"/>
          </ac:spMkLst>
        </pc:spChg>
        <pc:spChg chg="add del">
          <ac:chgData name="Yash Ratanpal" userId="5db668b1-93e7-4c08-9786-4ed81315a653" providerId="ADAL" clId="{3F7A7787-00CA-42A0-97CD-637349527123}" dt="2021-07-11T13:54:14.959" v="1875" actId="478"/>
          <ac:spMkLst>
            <pc:docMk/>
            <pc:sldMk cId="634986751" sldId="1707"/>
            <ac:spMk id="55" creationId="{D6FC3068-FD75-4FEC-BB33-6CC78B8F0DBD}"/>
          </ac:spMkLst>
        </pc:spChg>
        <pc:spChg chg="add del">
          <ac:chgData name="Yash Ratanpal" userId="5db668b1-93e7-4c08-9786-4ed81315a653" providerId="ADAL" clId="{3F7A7787-00CA-42A0-97CD-637349527123}" dt="2021-07-11T13:54:14.959" v="1875" actId="478"/>
          <ac:spMkLst>
            <pc:docMk/>
            <pc:sldMk cId="634986751" sldId="1707"/>
            <ac:spMk id="56" creationId="{A331E935-166A-4923-B3E1-093BD66E3E8F}"/>
          </ac:spMkLst>
        </pc:spChg>
        <pc:spChg chg="add del">
          <ac:chgData name="Yash Ratanpal" userId="5db668b1-93e7-4c08-9786-4ed81315a653" providerId="ADAL" clId="{3F7A7787-00CA-42A0-97CD-637349527123}" dt="2021-07-11T13:54:14.959" v="1875" actId="478"/>
          <ac:spMkLst>
            <pc:docMk/>
            <pc:sldMk cId="634986751" sldId="1707"/>
            <ac:spMk id="57" creationId="{71B2D321-ABFB-4887-962C-AEB386CD525B}"/>
          </ac:spMkLst>
        </pc:spChg>
        <pc:spChg chg="add del">
          <ac:chgData name="Yash Ratanpal" userId="5db668b1-93e7-4c08-9786-4ed81315a653" providerId="ADAL" clId="{3F7A7787-00CA-42A0-97CD-637349527123}" dt="2021-07-11T13:54:14.959" v="1875" actId="478"/>
          <ac:spMkLst>
            <pc:docMk/>
            <pc:sldMk cId="634986751" sldId="1707"/>
            <ac:spMk id="58" creationId="{D80D4171-4F84-4DDA-A0AC-CCF8DCF245AA}"/>
          </ac:spMkLst>
        </pc:spChg>
        <pc:spChg chg="add del">
          <ac:chgData name="Yash Ratanpal" userId="5db668b1-93e7-4c08-9786-4ed81315a653" providerId="ADAL" clId="{3F7A7787-00CA-42A0-97CD-637349527123}" dt="2021-07-11T13:54:14.959" v="1875" actId="478"/>
          <ac:spMkLst>
            <pc:docMk/>
            <pc:sldMk cId="634986751" sldId="1707"/>
            <ac:spMk id="59" creationId="{BB62081D-2E23-4163-B86F-76BBA3604D9E}"/>
          </ac:spMkLst>
        </pc:spChg>
        <pc:spChg chg="add del mod">
          <ac:chgData name="Yash Ratanpal" userId="5db668b1-93e7-4c08-9786-4ed81315a653" providerId="ADAL" clId="{3F7A7787-00CA-42A0-97CD-637349527123}" dt="2021-07-11T13:54:14.239" v="1874"/>
          <ac:spMkLst>
            <pc:docMk/>
            <pc:sldMk cId="634986751" sldId="1707"/>
            <ac:spMk id="60" creationId="{3E19CB21-3B34-48A7-95AC-D0B6865886F1}"/>
          </ac:spMkLst>
        </pc:spChg>
        <pc:spChg chg="add del mod">
          <ac:chgData name="Yash Ratanpal" userId="5db668b1-93e7-4c08-9786-4ed81315a653" providerId="ADAL" clId="{3F7A7787-00CA-42A0-97CD-637349527123}" dt="2021-07-11T13:54:14.239" v="1874"/>
          <ac:spMkLst>
            <pc:docMk/>
            <pc:sldMk cId="634986751" sldId="1707"/>
            <ac:spMk id="61" creationId="{7B3BFD96-3D51-490B-9254-8E34E8041F1F}"/>
          </ac:spMkLst>
        </pc:spChg>
        <pc:spChg chg="add del mod">
          <ac:chgData name="Yash Ratanpal" userId="5db668b1-93e7-4c08-9786-4ed81315a653" providerId="ADAL" clId="{3F7A7787-00CA-42A0-97CD-637349527123}" dt="2021-07-11T13:54:14.239" v="1874"/>
          <ac:spMkLst>
            <pc:docMk/>
            <pc:sldMk cId="634986751" sldId="1707"/>
            <ac:spMk id="62" creationId="{C61D8F0E-F8F4-4FD8-844F-19B9FC4FCF09}"/>
          </ac:spMkLst>
        </pc:spChg>
        <pc:spChg chg="add del mod">
          <ac:chgData name="Yash Ratanpal" userId="5db668b1-93e7-4c08-9786-4ed81315a653" providerId="ADAL" clId="{3F7A7787-00CA-42A0-97CD-637349527123}" dt="2021-07-11T13:54:14.239" v="1874"/>
          <ac:spMkLst>
            <pc:docMk/>
            <pc:sldMk cId="634986751" sldId="1707"/>
            <ac:spMk id="63" creationId="{71E86FE1-35AC-4EC6-B342-173C95B4294D}"/>
          </ac:spMkLst>
        </pc:spChg>
        <pc:spChg chg="add del mod">
          <ac:chgData name="Yash Ratanpal" userId="5db668b1-93e7-4c08-9786-4ed81315a653" providerId="ADAL" clId="{3F7A7787-00CA-42A0-97CD-637349527123}" dt="2021-07-11T13:54:14.239" v="1874"/>
          <ac:spMkLst>
            <pc:docMk/>
            <pc:sldMk cId="634986751" sldId="1707"/>
            <ac:spMk id="64" creationId="{0DCF1596-4011-4EC3-AF09-FC76229A1038}"/>
          </ac:spMkLst>
        </pc:spChg>
        <pc:spChg chg="add del mod">
          <ac:chgData name="Yash Ratanpal" userId="5db668b1-93e7-4c08-9786-4ed81315a653" providerId="ADAL" clId="{3F7A7787-00CA-42A0-97CD-637349527123}" dt="2021-07-11T13:54:14.239" v="1874"/>
          <ac:spMkLst>
            <pc:docMk/>
            <pc:sldMk cId="634986751" sldId="1707"/>
            <ac:spMk id="65" creationId="{BFC42BA0-61E8-4B21-BC89-868CA51CF6B0}"/>
          </ac:spMkLst>
        </pc:spChg>
        <pc:spChg chg="mod">
          <ac:chgData name="Yash Ratanpal" userId="5db668b1-93e7-4c08-9786-4ed81315a653" providerId="ADAL" clId="{3F7A7787-00CA-42A0-97CD-637349527123}" dt="2021-07-11T13:49:52.277" v="1811"/>
          <ac:spMkLst>
            <pc:docMk/>
            <pc:sldMk cId="634986751" sldId="1707"/>
            <ac:spMk id="67" creationId="{6928F5FF-0AA1-4A75-8A0C-AF3231B47D20}"/>
          </ac:spMkLst>
        </pc:spChg>
        <pc:spChg chg="mod">
          <ac:chgData name="Yash Ratanpal" userId="5db668b1-93e7-4c08-9786-4ed81315a653" providerId="ADAL" clId="{3F7A7787-00CA-42A0-97CD-637349527123}" dt="2021-07-11T13:49:52.277" v="1811"/>
          <ac:spMkLst>
            <pc:docMk/>
            <pc:sldMk cId="634986751" sldId="1707"/>
            <ac:spMk id="68" creationId="{B68859AB-99CD-4A63-8771-B26A6F43E9EA}"/>
          </ac:spMkLst>
        </pc:spChg>
        <pc:spChg chg="mod">
          <ac:chgData name="Yash Ratanpal" userId="5db668b1-93e7-4c08-9786-4ed81315a653" providerId="ADAL" clId="{3F7A7787-00CA-42A0-97CD-637349527123}" dt="2021-07-11T13:49:52.277" v="1811"/>
          <ac:spMkLst>
            <pc:docMk/>
            <pc:sldMk cId="634986751" sldId="1707"/>
            <ac:spMk id="69" creationId="{E2B5EC7A-45DB-4031-BD00-AC914131D641}"/>
          </ac:spMkLst>
        </pc:spChg>
        <pc:spChg chg="mod">
          <ac:chgData name="Yash Ratanpal" userId="5db668b1-93e7-4c08-9786-4ed81315a653" providerId="ADAL" clId="{3F7A7787-00CA-42A0-97CD-637349527123}" dt="2021-07-11T13:49:52.277" v="1811"/>
          <ac:spMkLst>
            <pc:docMk/>
            <pc:sldMk cId="634986751" sldId="1707"/>
            <ac:spMk id="72" creationId="{A3DD102C-E256-41D4-84C8-214DD2D0BF44}"/>
          </ac:spMkLst>
        </pc:spChg>
        <pc:spChg chg="mod">
          <ac:chgData name="Yash Ratanpal" userId="5db668b1-93e7-4c08-9786-4ed81315a653" providerId="ADAL" clId="{3F7A7787-00CA-42A0-97CD-637349527123}" dt="2021-07-11T13:49:52.277" v="1811"/>
          <ac:spMkLst>
            <pc:docMk/>
            <pc:sldMk cId="634986751" sldId="1707"/>
            <ac:spMk id="73" creationId="{DE7815F7-9858-458D-B030-CF2CE1FFBB62}"/>
          </ac:spMkLst>
        </pc:spChg>
        <pc:spChg chg="mod">
          <ac:chgData name="Yash Ratanpal" userId="5db668b1-93e7-4c08-9786-4ed81315a653" providerId="ADAL" clId="{3F7A7787-00CA-42A0-97CD-637349527123}" dt="2021-07-11T13:49:52.277" v="1811"/>
          <ac:spMkLst>
            <pc:docMk/>
            <pc:sldMk cId="634986751" sldId="1707"/>
            <ac:spMk id="76" creationId="{AAE05383-E869-4B5A-9651-46BA690B5389}"/>
          </ac:spMkLst>
        </pc:spChg>
        <pc:spChg chg="mod">
          <ac:chgData name="Yash Ratanpal" userId="5db668b1-93e7-4c08-9786-4ed81315a653" providerId="ADAL" clId="{3F7A7787-00CA-42A0-97CD-637349527123}" dt="2021-07-11T13:49:52.277" v="1811"/>
          <ac:spMkLst>
            <pc:docMk/>
            <pc:sldMk cId="634986751" sldId="1707"/>
            <ac:spMk id="77" creationId="{ACAC0104-C48A-4077-B93A-A757AD458619}"/>
          </ac:spMkLst>
        </pc:spChg>
        <pc:spChg chg="mod">
          <ac:chgData name="Yash Ratanpal" userId="5db668b1-93e7-4c08-9786-4ed81315a653" providerId="ADAL" clId="{3F7A7787-00CA-42A0-97CD-637349527123}" dt="2021-07-11T13:49:52.277" v="1811"/>
          <ac:spMkLst>
            <pc:docMk/>
            <pc:sldMk cId="634986751" sldId="1707"/>
            <ac:spMk id="78" creationId="{908CEA5E-1DBC-4B27-A266-1EB711537355}"/>
          </ac:spMkLst>
        </pc:spChg>
        <pc:spChg chg="mod">
          <ac:chgData name="Yash Ratanpal" userId="5db668b1-93e7-4c08-9786-4ed81315a653" providerId="ADAL" clId="{3F7A7787-00CA-42A0-97CD-637349527123}" dt="2021-07-11T13:49:52.277" v="1811"/>
          <ac:spMkLst>
            <pc:docMk/>
            <pc:sldMk cId="634986751" sldId="1707"/>
            <ac:spMk id="80" creationId="{C9979B59-3C8A-445D-BF26-374B7A0E60B0}"/>
          </ac:spMkLst>
        </pc:spChg>
        <pc:spChg chg="mod">
          <ac:chgData name="Yash Ratanpal" userId="5db668b1-93e7-4c08-9786-4ed81315a653" providerId="ADAL" clId="{3F7A7787-00CA-42A0-97CD-637349527123}" dt="2021-07-11T13:49:52.277" v="1811"/>
          <ac:spMkLst>
            <pc:docMk/>
            <pc:sldMk cId="634986751" sldId="1707"/>
            <ac:spMk id="81" creationId="{9082E2A1-9E4E-4AA4-9233-4EF012BAAC65}"/>
          </ac:spMkLst>
        </pc:spChg>
        <pc:spChg chg="mod">
          <ac:chgData name="Yash Ratanpal" userId="5db668b1-93e7-4c08-9786-4ed81315a653" providerId="ADAL" clId="{3F7A7787-00CA-42A0-97CD-637349527123}" dt="2021-07-11T13:49:52.277" v="1811"/>
          <ac:spMkLst>
            <pc:docMk/>
            <pc:sldMk cId="634986751" sldId="1707"/>
            <ac:spMk id="84" creationId="{D2565296-39E9-43EE-AE17-09FC8AD659B5}"/>
          </ac:spMkLst>
        </pc:spChg>
        <pc:spChg chg="mod">
          <ac:chgData name="Yash Ratanpal" userId="5db668b1-93e7-4c08-9786-4ed81315a653" providerId="ADAL" clId="{3F7A7787-00CA-42A0-97CD-637349527123}" dt="2021-07-11T13:49:52.277" v="1811"/>
          <ac:spMkLst>
            <pc:docMk/>
            <pc:sldMk cId="634986751" sldId="1707"/>
            <ac:spMk id="85" creationId="{17E93489-AADE-47A6-BD9F-FC406D5A8BC6}"/>
          </ac:spMkLst>
        </pc:spChg>
        <pc:spChg chg="mod">
          <ac:chgData name="Yash Ratanpal" userId="5db668b1-93e7-4c08-9786-4ed81315a653" providerId="ADAL" clId="{3F7A7787-00CA-42A0-97CD-637349527123}" dt="2021-07-11T13:49:52.277" v="1811"/>
          <ac:spMkLst>
            <pc:docMk/>
            <pc:sldMk cId="634986751" sldId="1707"/>
            <ac:spMk id="86" creationId="{109EAB74-5EE9-414E-9ECC-5A874F05345C}"/>
          </ac:spMkLst>
        </pc:spChg>
        <pc:spChg chg="mod">
          <ac:chgData name="Yash Ratanpal" userId="5db668b1-93e7-4c08-9786-4ed81315a653" providerId="ADAL" clId="{3F7A7787-00CA-42A0-97CD-637349527123}" dt="2021-07-11T13:49:52.277" v="1811"/>
          <ac:spMkLst>
            <pc:docMk/>
            <pc:sldMk cId="634986751" sldId="1707"/>
            <ac:spMk id="88" creationId="{395E3472-BBF9-41C5-A963-E43C762DFFBD}"/>
          </ac:spMkLst>
        </pc:spChg>
        <pc:spChg chg="mod">
          <ac:chgData name="Yash Ratanpal" userId="5db668b1-93e7-4c08-9786-4ed81315a653" providerId="ADAL" clId="{3F7A7787-00CA-42A0-97CD-637349527123}" dt="2021-07-11T13:49:52.277" v="1811"/>
          <ac:spMkLst>
            <pc:docMk/>
            <pc:sldMk cId="634986751" sldId="1707"/>
            <ac:spMk id="89" creationId="{673F1120-E29C-46A1-B607-CE929A6C389A}"/>
          </ac:spMkLst>
        </pc:spChg>
        <pc:spChg chg="mod">
          <ac:chgData name="Yash Ratanpal" userId="5db668b1-93e7-4c08-9786-4ed81315a653" providerId="ADAL" clId="{3F7A7787-00CA-42A0-97CD-637349527123}" dt="2021-07-11T13:49:52.277" v="1811"/>
          <ac:spMkLst>
            <pc:docMk/>
            <pc:sldMk cId="634986751" sldId="1707"/>
            <ac:spMk id="94" creationId="{A6E38BE8-FC6A-4695-956C-8599BB1197AD}"/>
          </ac:spMkLst>
        </pc:spChg>
        <pc:spChg chg="mod">
          <ac:chgData name="Yash Ratanpal" userId="5db668b1-93e7-4c08-9786-4ed81315a653" providerId="ADAL" clId="{3F7A7787-00CA-42A0-97CD-637349527123}" dt="2021-07-11T13:49:52.277" v="1811"/>
          <ac:spMkLst>
            <pc:docMk/>
            <pc:sldMk cId="634986751" sldId="1707"/>
            <ac:spMk id="95" creationId="{078E802F-A00C-40C8-9556-A5071B26F126}"/>
          </ac:spMkLst>
        </pc:spChg>
        <pc:spChg chg="mod">
          <ac:chgData name="Yash Ratanpal" userId="5db668b1-93e7-4c08-9786-4ed81315a653" providerId="ADAL" clId="{3F7A7787-00CA-42A0-97CD-637349527123}" dt="2021-07-11T13:49:52.277" v="1811"/>
          <ac:spMkLst>
            <pc:docMk/>
            <pc:sldMk cId="634986751" sldId="1707"/>
            <ac:spMk id="96" creationId="{B789B99A-6563-43B7-975E-C95FF93818BC}"/>
          </ac:spMkLst>
        </pc:spChg>
        <pc:spChg chg="mod">
          <ac:chgData name="Yash Ratanpal" userId="5db668b1-93e7-4c08-9786-4ed81315a653" providerId="ADAL" clId="{3F7A7787-00CA-42A0-97CD-637349527123}" dt="2021-07-11T13:49:52.277" v="1811"/>
          <ac:spMkLst>
            <pc:docMk/>
            <pc:sldMk cId="634986751" sldId="1707"/>
            <ac:spMk id="97" creationId="{8FA13500-7FF8-4515-8737-4340FD4024FD}"/>
          </ac:spMkLst>
        </pc:spChg>
        <pc:spChg chg="mod">
          <ac:chgData name="Yash Ratanpal" userId="5db668b1-93e7-4c08-9786-4ed81315a653" providerId="ADAL" clId="{3F7A7787-00CA-42A0-97CD-637349527123}" dt="2021-07-11T13:49:52.277" v="1811"/>
          <ac:spMkLst>
            <pc:docMk/>
            <pc:sldMk cId="634986751" sldId="1707"/>
            <ac:spMk id="98" creationId="{07375A1E-60B0-4D34-87F7-9181E7CB68AA}"/>
          </ac:spMkLst>
        </pc:spChg>
        <pc:spChg chg="mod">
          <ac:chgData name="Yash Ratanpal" userId="5db668b1-93e7-4c08-9786-4ed81315a653" providerId="ADAL" clId="{3F7A7787-00CA-42A0-97CD-637349527123}" dt="2021-07-11T13:49:52.277" v="1811"/>
          <ac:spMkLst>
            <pc:docMk/>
            <pc:sldMk cId="634986751" sldId="1707"/>
            <ac:spMk id="99" creationId="{5CBCEBBB-9D33-43D3-9F98-2AFDE10A0DDF}"/>
          </ac:spMkLst>
        </pc:spChg>
        <pc:spChg chg="mod">
          <ac:chgData name="Yash Ratanpal" userId="5db668b1-93e7-4c08-9786-4ed81315a653" providerId="ADAL" clId="{3F7A7787-00CA-42A0-97CD-637349527123}" dt="2021-07-11T13:49:52.277" v="1811"/>
          <ac:spMkLst>
            <pc:docMk/>
            <pc:sldMk cId="634986751" sldId="1707"/>
            <ac:spMk id="100" creationId="{6C537A94-A8C1-47A9-9B86-30677A195D0B}"/>
          </ac:spMkLst>
        </pc:spChg>
        <pc:spChg chg="mod">
          <ac:chgData name="Yash Ratanpal" userId="5db668b1-93e7-4c08-9786-4ed81315a653" providerId="ADAL" clId="{3F7A7787-00CA-42A0-97CD-637349527123}" dt="2021-07-11T13:49:52.277" v="1811"/>
          <ac:spMkLst>
            <pc:docMk/>
            <pc:sldMk cId="634986751" sldId="1707"/>
            <ac:spMk id="101" creationId="{558009F5-2981-482D-90A2-C1C81D2E9F1B}"/>
          </ac:spMkLst>
        </pc:spChg>
        <pc:spChg chg="mod">
          <ac:chgData name="Yash Ratanpal" userId="5db668b1-93e7-4c08-9786-4ed81315a653" providerId="ADAL" clId="{3F7A7787-00CA-42A0-97CD-637349527123}" dt="2021-07-11T13:49:52.277" v="1811"/>
          <ac:spMkLst>
            <pc:docMk/>
            <pc:sldMk cId="634986751" sldId="1707"/>
            <ac:spMk id="102" creationId="{CDDB35B4-C56F-495D-95A4-4255AAD78F82}"/>
          </ac:spMkLst>
        </pc:spChg>
        <pc:spChg chg="mod">
          <ac:chgData name="Yash Ratanpal" userId="5db668b1-93e7-4c08-9786-4ed81315a653" providerId="ADAL" clId="{3F7A7787-00CA-42A0-97CD-637349527123}" dt="2021-07-11T13:49:52.277" v="1811"/>
          <ac:spMkLst>
            <pc:docMk/>
            <pc:sldMk cId="634986751" sldId="1707"/>
            <ac:spMk id="103" creationId="{CEEEA57A-5877-474F-9688-5FC821E6992C}"/>
          </ac:spMkLst>
        </pc:spChg>
        <pc:spChg chg="mod">
          <ac:chgData name="Yash Ratanpal" userId="5db668b1-93e7-4c08-9786-4ed81315a653" providerId="ADAL" clId="{3F7A7787-00CA-42A0-97CD-637349527123}" dt="2021-07-11T13:49:52.277" v="1811"/>
          <ac:spMkLst>
            <pc:docMk/>
            <pc:sldMk cId="634986751" sldId="1707"/>
            <ac:spMk id="104" creationId="{91640928-9B9E-4DDB-897A-E658B40C772A}"/>
          </ac:spMkLst>
        </pc:spChg>
        <pc:spChg chg="mod">
          <ac:chgData name="Yash Ratanpal" userId="5db668b1-93e7-4c08-9786-4ed81315a653" providerId="ADAL" clId="{3F7A7787-00CA-42A0-97CD-637349527123}" dt="2021-07-11T13:49:52.277" v="1811"/>
          <ac:spMkLst>
            <pc:docMk/>
            <pc:sldMk cId="634986751" sldId="1707"/>
            <ac:spMk id="105" creationId="{4D048298-AC6C-49CC-A9AA-EAD924325F26}"/>
          </ac:spMkLst>
        </pc:spChg>
        <pc:spChg chg="mod">
          <ac:chgData name="Yash Ratanpal" userId="5db668b1-93e7-4c08-9786-4ed81315a653" providerId="ADAL" clId="{3F7A7787-00CA-42A0-97CD-637349527123}" dt="2021-07-11T13:49:52.277" v="1811"/>
          <ac:spMkLst>
            <pc:docMk/>
            <pc:sldMk cId="634986751" sldId="1707"/>
            <ac:spMk id="106" creationId="{B5E8F706-4362-478F-959E-C3BFEC0F1E8C}"/>
          </ac:spMkLst>
        </pc:spChg>
        <pc:spChg chg="mod">
          <ac:chgData name="Yash Ratanpal" userId="5db668b1-93e7-4c08-9786-4ed81315a653" providerId="ADAL" clId="{3F7A7787-00CA-42A0-97CD-637349527123}" dt="2021-07-11T13:49:52.277" v="1811"/>
          <ac:spMkLst>
            <pc:docMk/>
            <pc:sldMk cId="634986751" sldId="1707"/>
            <ac:spMk id="107" creationId="{C9EFA851-EE19-4F0E-B1B4-B05C955E1696}"/>
          </ac:spMkLst>
        </pc:spChg>
        <pc:spChg chg="mod">
          <ac:chgData name="Yash Ratanpal" userId="5db668b1-93e7-4c08-9786-4ed81315a653" providerId="ADAL" clId="{3F7A7787-00CA-42A0-97CD-637349527123}" dt="2021-07-11T13:49:52.277" v="1811"/>
          <ac:spMkLst>
            <pc:docMk/>
            <pc:sldMk cId="634986751" sldId="1707"/>
            <ac:spMk id="108" creationId="{A11F96C1-96EB-4020-A03B-D3FE6956C728}"/>
          </ac:spMkLst>
        </pc:spChg>
        <pc:spChg chg="mod">
          <ac:chgData name="Yash Ratanpal" userId="5db668b1-93e7-4c08-9786-4ed81315a653" providerId="ADAL" clId="{3F7A7787-00CA-42A0-97CD-637349527123}" dt="2021-07-11T13:49:52.277" v="1811"/>
          <ac:spMkLst>
            <pc:docMk/>
            <pc:sldMk cId="634986751" sldId="1707"/>
            <ac:spMk id="109" creationId="{8DA41B8F-BFAC-444D-A535-E80F03128718}"/>
          </ac:spMkLst>
        </pc:spChg>
        <pc:spChg chg="mod">
          <ac:chgData name="Yash Ratanpal" userId="5db668b1-93e7-4c08-9786-4ed81315a653" providerId="ADAL" clId="{3F7A7787-00CA-42A0-97CD-637349527123}" dt="2021-07-11T13:49:52.277" v="1811"/>
          <ac:spMkLst>
            <pc:docMk/>
            <pc:sldMk cId="634986751" sldId="1707"/>
            <ac:spMk id="110" creationId="{5370CEE5-CBCC-4CD8-8E79-DFEEF37C538B}"/>
          </ac:spMkLst>
        </pc:spChg>
        <pc:spChg chg="mod">
          <ac:chgData name="Yash Ratanpal" userId="5db668b1-93e7-4c08-9786-4ed81315a653" providerId="ADAL" clId="{3F7A7787-00CA-42A0-97CD-637349527123}" dt="2021-07-11T13:49:52.277" v="1811"/>
          <ac:spMkLst>
            <pc:docMk/>
            <pc:sldMk cId="634986751" sldId="1707"/>
            <ac:spMk id="111" creationId="{B25E2BAF-A6A4-48F5-AC73-09FA58C444CE}"/>
          </ac:spMkLst>
        </pc:spChg>
        <pc:spChg chg="mod">
          <ac:chgData name="Yash Ratanpal" userId="5db668b1-93e7-4c08-9786-4ed81315a653" providerId="ADAL" clId="{3F7A7787-00CA-42A0-97CD-637349527123}" dt="2021-07-11T13:49:52.277" v="1811"/>
          <ac:spMkLst>
            <pc:docMk/>
            <pc:sldMk cId="634986751" sldId="1707"/>
            <ac:spMk id="112" creationId="{5FF7AE14-4727-432E-ABED-467F13CFD930}"/>
          </ac:spMkLst>
        </pc:spChg>
        <pc:spChg chg="mod">
          <ac:chgData name="Yash Ratanpal" userId="5db668b1-93e7-4c08-9786-4ed81315a653" providerId="ADAL" clId="{3F7A7787-00CA-42A0-97CD-637349527123}" dt="2021-07-11T13:49:52.277" v="1811"/>
          <ac:spMkLst>
            <pc:docMk/>
            <pc:sldMk cId="634986751" sldId="1707"/>
            <ac:spMk id="113" creationId="{83E6F163-4EE8-4BC1-840A-A63896364AF2}"/>
          </ac:spMkLst>
        </pc:spChg>
        <pc:spChg chg="mod">
          <ac:chgData name="Yash Ratanpal" userId="5db668b1-93e7-4c08-9786-4ed81315a653" providerId="ADAL" clId="{3F7A7787-00CA-42A0-97CD-637349527123}" dt="2021-07-11T13:49:52.277" v="1811"/>
          <ac:spMkLst>
            <pc:docMk/>
            <pc:sldMk cId="634986751" sldId="1707"/>
            <ac:spMk id="114" creationId="{4880DB72-7116-4210-B239-CC79AD3C681B}"/>
          </ac:spMkLst>
        </pc:spChg>
        <pc:spChg chg="mod">
          <ac:chgData name="Yash Ratanpal" userId="5db668b1-93e7-4c08-9786-4ed81315a653" providerId="ADAL" clId="{3F7A7787-00CA-42A0-97CD-637349527123}" dt="2021-07-11T13:49:52.277" v="1811"/>
          <ac:spMkLst>
            <pc:docMk/>
            <pc:sldMk cId="634986751" sldId="1707"/>
            <ac:spMk id="115" creationId="{6BD95B8B-BE77-4EE8-8C01-3E2895DCBE33}"/>
          </ac:spMkLst>
        </pc:spChg>
        <pc:spChg chg="mod">
          <ac:chgData name="Yash Ratanpal" userId="5db668b1-93e7-4c08-9786-4ed81315a653" providerId="ADAL" clId="{3F7A7787-00CA-42A0-97CD-637349527123}" dt="2021-07-11T13:49:52.277" v="1811"/>
          <ac:spMkLst>
            <pc:docMk/>
            <pc:sldMk cId="634986751" sldId="1707"/>
            <ac:spMk id="116" creationId="{CB750666-1781-4D5D-945C-EEA0770F02A3}"/>
          </ac:spMkLst>
        </pc:spChg>
        <pc:spChg chg="mod">
          <ac:chgData name="Yash Ratanpal" userId="5db668b1-93e7-4c08-9786-4ed81315a653" providerId="ADAL" clId="{3F7A7787-00CA-42A0-97CD-637349527123}" dt="2021-07-11T13:49:52.277" v="1811"/>
          <ac:spMkLst>
            <pc:docMk/>
            <pc:sldMk cId="634986751" sldId="1707"/>
            <ac:spMk id="117" creationId="{61F73ADD-5EE1-46D6-B353-082303CA6529}"/>
          </ac:spMkLst>
        </pc:spChg>
        <pc:spChg chg="mod">
          <ac:chgData name="Yash Ratanpal" userId="5db668b1-93e7-4c08-9786-4ed81315a653" providerId="ADAL" clId="{3F7A7787-00CA-42A0-97CD-637349527123}" dt="2021-07-11T13:49:52.277" v="1811"/>
          <ac:spMkLst>
            <pc:docMk/>
            <pc:sldMk cId="634986751" sldId="1707"/>
            <ac:spMk id="118" creationId="{40ED3F6A-2A39-44CB-9D56-BABCD76D1211}"/>
          </ac:spMkLst>
        </pc:spChg>
        <pc:spChg chg="mod">
          <ac:chgData name="Yash Ratanpal" userId="5db668b1-93e7-4c08-9786-4ed81315a653" providerId="ADAL" clId="{3F7A7787-00CA-42A0-97CD-637349527123}" dt="2021-07-11T13:49:52.277" v="1811"/>
          <ac:spMkLst>
            <pc:docMk/>
            <pc:sldMk cId="634986751" sldId="1707"/>
            <ac:spMk id="119" creationId="{8EA07B37-DBA0-4BB0-9DF1-3225DD6FDEBC}"/>
          </ac:spMkLst>
        </pc:spChg>
        <pc:spChg chg="mod">
          <ac:chgData name="Yash Ratanpal" userId="5db668b1-93e7-4c08-9786-4ed81315a653" providerId="ADAL" clId="{3F7A7787-00CA-42A0-97CD-637349527123}" dt="2021-07-11T13:49:52.277" v="1811"/>
          <ac:spMkLst>
            <pc:docMk/>
            <pc:sldMk cId="634986751" sldId="1707"/>
            <ac:spMk id="120" creationId="{1D53DBB5-AF70-40FA-B32A-C00B5F613E16}"/>
          </ac:spMkLst>
        </pc:spChg>
        <pc:spChg chg="mod">
          <ac:chgData name="Yash Ratanpal" userId="5db668b1-93e7-4c08-9786-4ed81315a653" providerId="ADAL" clId="{3F7A7787-00CA-42A0-97CD-637349527123}" dt="2021-07-11T13:49:52.277" v="1811"/>
          <ac:spMkLst>
            <pc:docMk/>
            <pc:sldMk cId="634986751" sldId="1707"/>
            <ac:spMk id="121" creationId="{ED19DF9D-FEA7-41CC-AEEA-1ABED671BF4F}"/>
          </ac:spMkLst>
        </pc:spChg>
        <pc:spChg chg="mod">
          <ac:chgData name="Yash Ratanpal" userId="5db668b1-93e7-4c08-9786-4ed81315a653" providerId="ADAL" clId="{3F7A7787-00CA-42A0-97CD-637349527123}" dt="2021-07-11T13:49:52.277" v="1811"/>
          <ac:spMkLst>
            <pc:docMk/>
            <pc:sldMk cId="634986751" sldId="1707"/>
            <ac:spMk id="122" creationId="{ACF0F218-7985-467A-8ECA-1E5526E2C2B9}"/>
          </ac:spMkLst>
        </pc:spChg>
        <pc:spChg chg="mod">
          <ac:chgData name="Yash Ratanpal" userId="5db668b1-93e7-4c08-9786-4ed81315a653" providerId="ADAL" clId="{3F7A7787-00CA-42A0-97CD-637349527123}" dt="2021-07-11T13:49:52.277" v="1811"/>
          <ac:spMkLst>
            <pc:docMk/>
            <pc:sldMk cId="634986751" sldId="1707"/>
            <ac:spMk id="123" creationId="{F2844001-6B15-48C8-9482-FF06DC84F7F8}"/>
          </ac:spMkLst>
        </pc:spChg>
        <pc:spChg chg="mod">
          <ac:chgData name="Yash Ratanpal" userId="5db668b1-93e7-4c08-9786-4ed81315a653" providerId="ADAL" clId="{3F7A7787-00CA-42A0-97CD-637349527123}" dt="2021-07-11T13:49:52.277" v="1811"/>
          <ac:spMkLst>
            <pc:docMk/>
            <pc:sldMk cId="634986751" sldId="1707"/>
            <ac:spMk id="124" creationId="{BD788359-9178-4A27-8155-F783495F5D4E}"/>
          </ac:spMkLst>
        </pc:spChg>
        <pc:spChg chg="mod">
          <ac:chgData name="Yash Ratanpal" userId="5db668b1-93e7-4c08-9786-4ed81315a653" providerId="ADAL" clId="{3F7A7787-00CA-42A0-97CD-637349527123}" dt="2021-07-11T13:49:52.277" v="1811"/>
          <ac:spMkLst>
            <pc:docMk/>
            <pc:sldMk cId="634986751" sldId="1707"/>
            <ac:spMk id="125" creationId="{7A33C239-4B53-4EB8-B3B5-720E1CB8D334}"/>
          </ac:spMkLst>
        </pc:spChg>
        <pc:grpChg chg="add del mod">
          <ac:chgData name="Yash Ratanpal" userId="5db668b1-93e7-4c08-9786-4ed81315a653" providerId="ADAL" clId="{3F7A7787-00CA-42A0-97CD-637349527123}" dt="2021-07-11T13:54:14.239" v="1874"/>
          <ac:grpSpMkLst>
            <pc:docMk/>
            <pc:sldMk cId="634986751" sldId="1707"/>
            <ac:grpSpMk id="66" creationId="{E1B5B38B-FB33-4E1E-BBB3-892348D82FEB}"/>
          </ac:grpSpMkLst>
        </pc:grpChg>
        <pc:grpChg chg="mod">
          <ac:chgData name="Yash Ratanpal" userId="5db668b1-93e7-4c08-9786-4ed81315a653" providerId="ADAL" clId="{3F7A7787-00CA-42A0-97CD-637349527123}" dt="2021-07-11T13:49:52.277" v="1811"/>
          <ac:grpSpMkLst>
            <pc:docMk/>
            <pc:sldMk cId="634986751" sldId="1707"/>
            <ac:grpSpMk id="70" creationId="{AE20A49A-6636-488F-8727-6B4260283E8C}"/>
          </ac:grpSpMkLst>
        </pc:grpChg>
        <pc:grpChg chg="mod">
          <ac:chgData name="Yash Ratanpal" userId="5db668b1-93e7-4c08-9786-4ed81315a653" providerId="ADAL" clId="{3F7A7787-00CA-42A0-97CD-637349527123}" dt="2021-07-11T13:49:52.277" v="1811"/>
          <ac:grpSpMkLst>
            <pc:docMk/>
            <pc:sldMk cId="634986751" sldId="1707"/>
            <ac:grpSpMk id="71" creationId="{9016FA89-0147-4C9E-9C2F-9D949504CA6F}"/>
          </ac:grpSpMkLst>
        </pc:grpChg>
        <pc:grpChg chg="mod">
          <ac:chgData name="Yash Ratanpal" userId="5db668b1-93e7-4c08-9786-4ed81315a653" providerId="ADAL" clId="{3F7A7787-00CA-42A0-97CD-637349527123}" dt="2021-07-11T13:49:52.277" v="1811"/>
          <ac:grpSpMkLst>
            <pc:docMk/>
            <pc:sldMk cId="634986751" sldId="1707"/>
            <ac:grpSpMk id="74" creationId="{B3241D95-1744-446F-A63B-07B2F90DF763}"/>
          </ac:grpSpMkLst>
        </pc:grpChg>
        <pc:grpChg chg="mod">
          <ac:chgData name="Yash Ratanpal" userId="5db668b1-93e7-4c08-9786-4ed81315a653" providerId="ADAL" clId="{3F7A7787-00CA-42A0-97CD-637349527123}" dt="2021-07-11T13:49:52.277" v="1811"/>
          <ac:grpSpMkLst>
            <pc:docMk/>
            <pc:sldMk cId="634986751" sldId="1707"/>
            <ac:grpSpMk id="75" creationId="{3AEB9BAF-AC95-4AEB-9DA8-2991C4A2F22B}"/>
          </ac:grpSpMkLst>
        </pc:grpChg>
        <pc:grpChg chg="mod">
          <ac:chgData name="Yash Ratanpal" userId="5db668b1-93e7-4c08-9786-4ed81315a653" providerId="ADAL" clId="{3F7A7787-00CA-42A0-97CD-637349527123}" dt="2021-07-11T13:49:52.277" v="1811"/>
          <ac:grpSpMkLst>
            <pc:docMk/>
            <pc:sldMk cId="634986751" sldId="1707"/>
            <ac:grpSpMk id="79" creationId="{EECEE774-8D1B-48A1-9514-202834A795CE}"/>
          </ac:grpSpMkLst>
        </pc:grpChg>
        <pc:grpChg chg="mod">
          <ac:chgData name="Yash Ratanpal" userId="5db668b1-93e7-4c08-9786-4ed81315a653" providerId="ADAL" clId="{3F7A7787-00CA-42A0-97CD-637349527123}" dt="2021-07-11T13:49:52.277" v="1811"/>
          <ac:grpSpMkLst>
            <pc:docMk/>
            <pc:sldMk cId="634986751" sldId="1707"/>
            <ac:grpSpMk id="82" creationId="{B78E5D88-14A4-4064-A857-E5150885CD57}"/>
          </ac:grpSpMkLst>
        </pc:grpChg>
        <pc:grpChg chg="mod">
          <ac:chgData name="Yash Ratanpal" userId="5db668b1-93e7-4c08-9786-4ed81315a653" providerId="ADAL" clId="{3F7A7787-00CA-42A0-97CD-637349527123}" dt="2021-07-11T13:49:52.277" v="1811"/>
          <ac:grpSpMkLst>
            <pc:docMk/>
            <pc:sldMk cId="634986751" sldId="1707"/>
            <ac:grpSpMk id="83" creationId="{FAC9EFD3-F468-43F2-9A30-A083C04EF965}"/>
          </ac:grpSpMkLst>
        </pc:grpChg>
        <pc:grpChg chg="mod">
          <ac:chgData name="Yash Ratanpal" userId="5db668b1-93e7-4c08-9786-4ed81315a653" providerId="ADAL" clId="{3F7A7787-00CA-42A0-97CD-637349527123}" dt="2021-07-11T13:49:52.277" v="1811"/>
          <ac:grpSpMkLst>
            <pc:docMk/>
            <pc:sldMk cId="634986751" sldId="1707"/>
            <ac:grpSpMk id="87" creationId="{2F8DDD7F-405C-41C2-A1DA-13FD2EBDB32E}"/>
          </ac:grpSpMkLst>
        </pc:grpChg>
        <pc:grpChg chg="mod">
          <ac:chgData name="Yash Ratanpal" userId="5db668b1-93e7-4c08-9786-4ed81315a653" providerId="ADAL" clId="{3F7A7787-00CA-42A0-97CD-637349527123}" dt="2021-07-11T13:49:52.277" v="1811"/>
          <ac:grpSpMkLst>
            <pc:docMk/>
            <pc:sldMk cId="634986751" sldId="1707"/>
            <ac:grpSpMk id="90" creationId="{7608CEB3-25DD-480A-9D17-A69A14A55C28}"/>
          </ac:grpSpMkLst>
        </pc:grpChg>
        <pc:grpChg chg="mod">
          <ac:chgData name="Yash Ratanpal" userId="5db668b1-93e7-4c08-9786-4ed81315a653" providerId="ADAL" clId="{3F7A7787-00CA-42A0-97CD-637349527123}" dt="2021-07-11T13:49:52.277" v="1811"/>
          <ac:grpSpMkLst>
            <pc:docMk/>
            <pc:sldMk cId="634986751" sldId="1707"/>
            <ac:grpSpMk id="91" creationId="{A536A60F-C924-48C5-88AD-FFD51A84EB93}"/>
          </ac:grpSpMkLst>
        </pc:grpChg>
        <pc:cxnChg chg="mod">
          <ac:chgData name="Yash Ratanpal" userId="5db668b1-93e7-4c08-9786-4ed81315a653" providerId="ADAL" clId="{3F7A7787-00CA-42A0-97CD-637349527123}" dt="2021-07-11T13:49:52.277" v="1811"/>
          <ac:cxnSpMkLst>
            <pc:docMk/>
            <pc:sldMk cId="634986751" sldId="1707"/>
            <ac:cxnSpMk id="92" creationId="{551247A3-B4BE-4FD2-90FF-E5FA8C40063A}"/>
          </ac:cxnSpMkLst>
        </pc:cxnChg>
        <pc:cxnChg chg="mod">
          <ac:chgData name="Yash Ratanpal" userId="5db668b1-93e7-4c08-9786-4ed81315a653" providerId="ADAL" clId="{3F7A7787-00CA-42A0-97CD-637349527123}" dt="2021-07-11T13:49:52.277" v="1811"/>
          <ac:cxnSpMkLst>
            <pc:docMk/>
            <pc:sldMk cId="634986751" sldId="1707"/>
            <ac:cxnSpMk id="93" creationId="{0463D122-E7B9-453E-B684-FAF30D7F3B31}"/>
          </ac:cxnSpMkLst>
        </pc:cxnChg>
      </pc:sldChg>
      <pc:sldChg chg="addSp delSp modSp add mod ord modAnim">
        <pc:chgData name="Yash Ratanpal" userId="5db668b1-93e7-4c08-9786-4ed81315a653" providerId="ADAL" clId="{3F7A7787-00CA-42A0-97CD-637349527123}" dt="2021-07-18T17:42:45.104" v="9163" actId="20577"/>
        <pc:sldMkLst>
          <pc:docMk/>
          <pc:sldMk cId="2833895075" sldId="1707"/>
        </pc:sldMkLst>
        <pc:spChg chg="mod">
          <ac:chgData name="Yash Ratanpal" userId="5db668b1-93e7-4c08-9786-4ed81315a653" providerId="ADAL" clId="{3F7A7787-00CA-42A0-97CD-637349527123}" dt="2021-07-18T16:47:09.783" v="7897" actId="20577"/>
          <ac:spMkLst>
            <pc:docMk/>
            <pc:sldMk cId="2833895075" sldId="1707"/>
            <ac:spMk id="3" creationId="{00000000-0000-0000-0000-000000000000}"/>
          </ac:spMkLst>
        </pc:spChg>
        <pc:spChg chg="mod">
          <ac:chgData name="Yash Ratanpal" userId="5db668b1-93e7-4c08-9786-4ed81315a653" providerId="ADAL" clId="{3F7A7787-00CA-42A0-97CD-637349527123}" dt="2021-07-18T16:31:30.782" v="7495"/>
          <ac:spMkLst>
            <pc:docMk/>
            <pc:sldMk cId="2833895075" sldId="1707"/>
            <ac:spMk id="22" creationId="{78E9E3A6-3F9D-4BA3-A630-C7D28947B186}"/>
          </ac:spMkLst>
        </pc:spChg>
        <pc:spChg chg="mod">
          <ac:chgData name="Yash Ratanpal" userId="5db668b1-93e7-4c08-9786-4ed81315a653" providerId="ADAL" clId="{3F7A7787-00CA-42A0-97CD-637349527123}" dt="2021-07-18T16:31:30.782" v="7495"/>
          <ac:spMkLst>
            <pc:docMk/>
            <pc:sldMk cId="2833895075" sldId="1707"/>
            <ac:spMk id="23" creationId="{2D24BF01-D291-41D3-97AD-49D5265A17A4}"/>
          </ac:spMkLst>
        </pc:spChg>
        <pc:spChg chg="mod">
          <ac:chgData name="Yash Ratanpal" userId="5db668b1-93e7-4c08-9786-4ed81315a653" providerId="ADAL" clId="{3F7A7787-00CA-42A0-97CD-637349527123}" dt="2021-07-18T16:31:30.782" v="7495"/>
          <ac:spMkLst>
            <pc:docMk/>
            <pc:sldMk cId="2833895075" sldId="1707"/>
            <ac:spMk id="24" creationId="{4088AC44-E411-46C4-8FFB-08CABE8706BA}"/>
          </ac:spMkLst>
        </pc:spChg>
        <pc:spChg chg="mod">
          <ac:chgData name="Yash Ratanpal" userId="5db668b1-93e7-4c08-9786-4ed81315a653" providerId="ADAL" clId="{3F7A7787-00CA-42A0-97CD-637349527123}" dt="2021-07-18T16:31:30.782" v="7495"/>
          <ac:spMkLst>
            <pc:docMk/>
            <pc:sldMk cId="2833895075" sldId="1707"/>
            <ac:spMk id="25" creationId="{AAD2FE4B-9983-4EDC-8BA1-50EFF775D53D}"/>
          </ac:spMkLst>
        </pc:spChg>
        <pc:spChg chg="mod">
          <ac:chgData name="Yash Ratanpal" userId="5db668b1-93e7-4c08-9786-4ed81315a653" providerId="ADAL" clId="{3F7A7787-00CA-42A0-97CD-637349527123}" dt="2021-07-18T16:31:30.782" v="7495"/>
          <ac:spMkLst>
            <pc:docMk/>
            <pc:sldMk cId="2833895075" sldId="1707"/>
            <ac:spMk id="26" creationId="{3F53990A-0E17-4AF6-BBC0-52909F8672C2}"/>
          </ac:spMkLst>
        </pc:spChg>
        <pc:spChg chg="mod">
          <ac:chgData name="Yash Ratanpal" userId="5db668b1-93e7-4c08-9786-4ed81315a653" providerId="ADAL" clId="{3F7A7787-00CA-42A0-97CD-637349527123}" dt="2021-07-18T16:31:30.782" v="7495"/>
          <ac:spMkLst>
            <pc:docMk/>
            <pc:sldMk cId="2833895075" sldId="1707"/>
            <ac:spMk id="27" creationId="{DB558808-A862-4C8C-BAC0-78C1EDEA4367}"/>
          </ac:spMkLst>
        </pc:spChg>
        <pc:spChg chg="mod">
          <ac:chgData name="Yash Ratanpal" userId="5db668b1-93e7-4c08-9786-4ed81315a653" providerId="ADAL" clId="{3F7A7787-00CA-42A0-97CD-637349527123}" dt="2021-07-18T16:31:30.782" v="7495"/>
          <ac:spMkLst>
            <pc:docMk/>
            <pc:sldMk cId="2833895075" sldId="1707"/>
            <ac:spMk id="28" creationId="{7FE055C8-66C5-41DE-966A-AF4FB50E8843}"/>
          </ac:spMkLst>
        </pc:spChg>
        <pc:spChg chg="mod">
          <ac:chgData name="Yash Ratanpal" userId="5db668b1-93e7-4c08-9786-4ed81315a653" providerId="ADAL" clId="{3F7A7787-00CA-42A0-97CD-637349527123}" dt="2021-07-18T16:31:30.782" v="7495"/>
          <ac:spMkLst>
            <pc:docMk/>
            <pc:sldMk cId="2833895075" sldId="1707"/>
            <ac:spMk id="29" creationId="{AAE5DBED-4DCC-411A-AD01-B62D67F0836C}"/>
          </ac:spMkLst>
        </pc:spChg>
        <pc:spChg chg="mod">
          <ac:chgData name="Yash Ratanpal" userId="5db668b1-93e7-4c08-9786-4ed81315a653" providerId="ADAL" clId="{3F7A7787-00CA-42A0-97CD-637349527123}" dt="2021-07-18T16:31:30.782" v="7495"/>
          <ac:spMkLst>
            <pc:docMk/>
            <pc:sldMk cId="2833895075" sldId="1707"/>
            <ac:spMk id="30" creationId="{5FEC106D-6E38-422F-8D94-8E923ABD4577}"/>
          </ac:spMkLst>
        </pc:spChg>
        <pc:spChg chg="mod">
          <ac:chgData name="Yash Ratanpal" userId="5db668b1-93e7-4c08-9786-4ed81315a653" providerId="ADAL" clId="{3F7A7787-00CA-42A0-97CD-637349527123}" dt="2021-07-18T16:31:30.782" v="7495"/>
          <ac:spMkLst>
            <pc:docMk/>
            <pc:sldMk cId="2833895075" sldId="1707"/>
            <ac:spMk id="31" creationId="{8C30865B-F0D6-4D87-B772-6EAA4B39AAAB}"/>
          </ac:spMkLst>
        </pc:spChg>
        <pc:spChg chg="mod">
          <ac:chgData name="Yash Ratanpal" userId="5db668b1-93e7-4c08-9786-4ed81315a653" providerId="ADAL" clId="{3F7A7787-00CA-42A0-97CD-637349527123}" dt="2021-07-18T16:31:30.782" v="7495"/>
          <ac:spMkLst>
            <pc:docMk/>
            <pc:sldMk cId="2833895075" sldId="1707"/>
            <ac:spMk id="32" creationId="{CB1087FE-D778-4790-8A73-FEC2DF565748}"/>
          </ac:spMkLst>
        </pc:spChg>
        <pc:spChg chg="mod">
          <ac:chgData name="Yash Ratanpal" userId="5db668b1-93e7-4c08-9786-4ed81315a653" providerId="ADAL" clId="{3F7A7787-00CA-42A0-97CD-637349527123}" dt="2021-07-18T16:31:30.782" v="7495"/>
          <ac:spMkLst>
            <pc:docMk/>
            <pc:sldMk cId="2833895075" sldId="1707"/>
            <ac:spMk id="33" creationId="{EB43E89A-F4E3-45CD-8FCD-7EA457CD7A2F}"/>
          </ac:spMkLst>
        </pc:spChg>
        <pc:spChg chg="mod">
          <ac:chgData name="Yash Ratanpal" userId="5db668b1-93e7-4c08-9786-4ed81315a653" providerId="ADAL" clId="{3F7A7787-00CA-42A0-97CD-637349527123}" dt="2021-07-18T16:31:30.782" v="7495"/>
          <ac:spMkLst>
            <pc:docMk/>
            <pc:sldMk cId="2833895075" sldId="1707"/>
            <ac:spMk id="34" creationId="{58570015-E3AA-4862-B169-8A1B05A036C5}"/>
          </ac:spMkLst>
        </pc:spChg>
        <pc:spChg chg="mod">
          <ac:chgData name="Yash Ratanpal" userId="5db668b1-93e7-4c08-9786-4ed81315a653" providerId="ADAL" clId="{3F7A7787-00CA-42A0-97CD-637349527123}" dt="2021-07-18T16:31:30.782" v="7495"/>
          <ac:spMkLst>
            <pc:docMk/>
            <pc:sldMk cId="2833895075" sldId="1707"/>
            <ac:spMk id="35" creationId="{83E4B7A6-3967-4316-9FE5-8D4FFF79B02F}"/>
          </ac:spMkLst>
        </pc:spChg>
        <pc:spChg chg="mod">
          <ac:chgData name="Yash Ratanpal" userId="5db668b1-93e7-4c08-9786-4ed81315a653" providerId="ADAL" clId="{3F7A7787-00CA-42A0-97CD-637349527123}" dt="2021-07-18T16:31:30.782" v="7495"/>
          <ac:spMkLst>
            <pc:docMk/>
            <pc:sldMk cId="2833895075" sldId="1707"/>
            <ac:spMk id="36" creationId="{7AD6970D-D1CD-4A89-A324-BFC48E3D4DDF}"/>
          </ac:spMkLst>
        </pc:spChg>
        <pc:spChg chg="mod">
          <ac:chgData name="Yash Ratanpal" userId="5db668b1-93e7-4c08-9786-4ed81315a653" providerId="ADAL" clId="{3F7A7787-00CA-42A0-97CD-637349527123}" dt="2021-07-18T16:31:30.782" v="7495"/>
          <ac:spMkLst>
            <pc:docMk/>
            <pc:sldMk cId="2833895075" sldId="1707"/>
            <ac:spMk id="37" creationId="{21E3789E-355A-4C50-9864-5215B4933751}"/>
          </ac:spMkLst>
        </pc:spChg>
        <pc:spChg chg="mod">
          <ac:chgData name="Yash Ratanpal" userId="5db668b1-93e7-4c08-9786-4ed81315a653" providerId="ADAL" clId="{3F7A7787-00CA-42A0-97CD-637349527123}" dt="2021-07-18T16:31:30.782" v="7495"/>
          <ac:spMkLst>
            <pc:docMk/>
            <pc:sldMk cId="2833895075" sldId="1707"/>
            <ac:spMk id="38" creationId="{88FE162F-E5A6-49B9-95E5-DBACEE2277A0}"/>
          </ac:spMkLst>
        </pc:spChg>
        <pc:spChg chg="mod">
          <ac:chgData name="Yash Ratanpal" userId="5db668b1-93e7-4c08-9786-4ed81315a653" providerId="ADAL" clId="{3F7A7787-00CA-42A0-97CD-637349527123}" dt="2021-07-18T16:31:30.782" v="7495"/>
          <ac:spMkLst>
            <pc:docMk/>
            <pc:sldMk cId="2833895075" sldId="1707"/>
            <ac:spMk id="39" creationId="{FC8BE53A-AC76-4E26-A89E-C7C2DBB148D9}"/>
          </ac:spMkLst>
        </pc:spChg>
        <pc:spChg chg="mod">
          <ac:chgData name="Yash Ratanpal" userId="5db668b1-93e7-4c08-9786-4ed81315a653" providerId="ADAL" clId="{3F7A7787-00CA-42A0-97CD-637349527123}" dt="2021-07-18T16:31:30.782" v="7495"/>
          <ac:spMkLst>
            <pc:docMk/>
            <pc:sldMk cId="2833895075" sldId="1707"/>
            <ac:spMk id="40" creationId="{42231E6F-83CA-457C-AD89-8A293D573919}"/>
          </ac:spMkLst>
        </pc:spChg>
        <pc:spChg chg="mod">
          <ac:chgData name="Yash Ratanpal" userId="5db668b1-93e7-4c08-9786-4ed81315a653" providerId="ADAL" clId="{3F7A7787-00CA-42A0-97CD-637349527123}" dt="2021-07-18T16:31:30.782" v="7495"/>
          <ac:spMkLst>
            <pc:docMk/>
            <pc:sldMk cId="2833895075" sldId="1707"/>
            <ac:spMk id="41" creationId="{1CCA30E4-C77D-46E6-B04A-B8C0CEEFFB98}"/>
          </ac:spMkLst>
        </pc:spChg>
        <pc:spChg chg="mod">
          <ac:chgData name="Yash Ratanpal" userId="5db668b1-93e7-4c08-9786-4ed81315a653" providerId="ADAL" clId="{3F7A7787-00CA-42A0-97CD-637349527123}" dt="2021-07-18T16:31:30.782" v="7495"/>
          <ac:spMkLst>
            <pc:docMk/>
            <pc:sldMk cId="2833895075" sldId="1707"/>
            <ac:spMk id="42" creationId="{A7F77F29-AD8A-4983-B862-2A7221BB53D9}"/>
          </ac:spMkLst>
        </pc:spChg>
        <pc:spChg chg="mod">
          <ac:chgData name="Yash Ratanpal" userId="5db668b1-93e7-4c08-9786-4ed81315a653" providerId="ADAL" clId="{3F7A7787-00CA-42A0-97CD-637349527123}" dt="2021-07-18T16:31:30.782" v="7495"/>
          <ac:spMkLst>
            <pc:docMk/>
            <pc:sldMk cId="2833895075" sldId="1707"/>
            <ac:spMk id="43" creationId="{106B9FDB-B1F5-4FBF-B268-56649DD68E1B}"/>
          </ac:spMkLst>
        </pc:spChg>
        <pc:spChg chg="add del mod">
          <ac:chgData name="Yash Ratanpal" userId="5db668b1-93e7-4c08-9786-4ed81315a653" providerId="ADAL" clId="{3F7A7787-00CA-42A0-97CD-637349527123}" dt="2021-07-18T16:48:01.400" v="7929" actId="478"/>
          <ac:spMkLst>
            <pc:docMk/>
            <pc:sldMk cId="2833895075" sldId="1707"/>
            <ac:spMk id="46" creationId="{E058DE28-2D56-41E2-AB7E-C86190497134}"/>
          </ac:spMkLst>
        </pc:spChg>
        <pc:spChg chg="del mod">
          <ac:chgData name="Yash Ratanpal" userId="5db668b1-93e7-4c08-9786-4ed81315a653" providerId="ADAL" clId="{3F7A7787-00CA-42A0-97CD-637349527123}" dt="2021-07-18T16:36:27.738" v="7598" actId="478"/>
          <ac:spMkLst>
            <pc:docMk/>
            <pc:sldMk cId="2833895075" sldId="1707"/>
            <ac:spMk id="47" creationId="{0ACB7A9E-2E7D-4B65-A82A-84E6A78B322F}"/>
          </ac:spMkLst>
        </pc:spChg>
        <pc:spChg chg="mod">
          <ac:chgData name="Yash Ratanpal" userId="5db668b1-93e7-4c08-9786-4ed81315a653" providerId="ADAL" clId="{3F7A7787-00CA-42A0-97CD-637349527123}" dt="2021-07-18T16:35:45.342" v="7584" actId="122"/>
          <ac:spMkLst>
            <pc:docMk/>
            <pc:sldMk cId="2833895075" sldId="1707"/>
            <ac:spMk id="48" creationId="{3E4197DC-BFB4-433A-ADCC-1809DD9E6EFB}"/>
          </ac:spMkLst>
        </pc:spChg>
        <pc:spChg chg="mod">
          <ac:chgData name="Yash Ratanpal" userId="5db668b1-93e7-4c08-9786-4ed81315a653" providerId="ADAL" clId="{3F7A7787-00CA-42A0-97CD-637349527123}" dt="2021-07-18T16:35:45.342" v="7584" actId="122"/>
          <ac:spMkLst>
            <pc:docMk/>
            <pc:sldMk cId="2833895075" sldId="1707"/>
            <ac:spMk id="49" creationId="{5229A3FD-A5EE-4E61-9F20-3AFDBB0819EC}"/>
          </ac:spMkLst>
        </pc:spChg>
        <pc:spChg chg="mod">
          <ac:chgData name="Yash Ratanpal" userId="5db668b1-93e7-4c08-9786-4ed81315a653" providerId="ADAL" clId="{3F7A7787-00CA-42A0-97CD-637349527123}" dt="2021-07-18T16:35:45.342" v="7584" actId="122"/>
          <ac:spMkLst>
            <pc:docMk/>
            <pc:sldMk cId="2833895075" sldId="1707"/>
            <ac:spMk id="50" creationId="{2D805F25-0D15-4112-9C8F-BEA1DB89B79A}"/>
          </ac:spMkLst>
        </pc:spChg>
        <pc:spChg chg="mod">
          <ac:chgData name="Yash Ratanpal" userId="5db668b1-93e7-4c08-9786-4ed81315a653" providerId="ADAL" clId="{3F7A7787-00CA-42A0-97CD-637349527123}" dt="2021-07-18T16:35:45.342" v="7584" actId="122"/>
          <ac:spMkLst>
            <pc:docMk/>
            <pc:sldMk cId="2833895075" sldId="1707"/>
            <ac:spMk id="51" creationId="{19FAA466-2151-4AD7-A0CE-B36F86DD579A}"/>
          </ac:spMkLst>
        </pc:spChg>
        <pc:spChg chg="mod">
          <ac:chgData name="Yash Ratanpal" userId="5db668b1-93e7-4c08-9786-4ed81315a653" providerId="ADAL" clId="{3F7A7787-00CA-42A0-97CD-637349527123}" dt="2021-07-18T16:35:45.342" v="7584" actId="122"/>
          <ac:spMkLst>
            <pc:docMk/>
            <pc:sldMk cId="2833895075" sldId="1707"/>
            <ac:spMk id="52" creationId="{6202CE74-9047-496C-A1FF-3BC7A5E63C71}"/>
          </ac:spMkLst>
        </pc:spChg>
        <pc:spChg chg="mod">
          <ac:chgData name="Yash Ratanpal" userId="5db668b1-93e7-4c08-9786-4ed81315a653" providerId="ADAL" clId="{3F7A7787-00CA-42A0-97CD-637349527123}" dt="2021-07-18T16:36:21.511" v="7597" actId="1076"/>
          <ac:spMkLst>
            <pc:docMk/>
            <pc:sldMk cId="2833895075" sldId="1707"/>
            <ac:spMk id="53" creationId="{B2D8AAC7-9E8F-4C6D-9B4B-397FAAF6EEA5}"/>
          </ac:spMkLst>
        </pc:spChg>
        <pc:spChg chg="del mod">
          <ac:chgData name="Yash Ratanpal" userId="5db668b1-93e7-4c08-9786-4ed81315a653" providerId="ADAL" clId="{3F7A7787-00CA-42A0-97CD-637349527123}" dt="2021-07-18T16:32:35.483" v="7523" actId="478"/>
          <ac:spMkLst>
            <pc:docMk/>
            <pc:sldMk cId="2833895075" sldId="1707"/>
            <ac:spMk id="54" creationId="{57165A94-0C87-44C0-8DFB-8703FF77CFAE}"/>
          </ac:spMkLst>
        </pc:spChg>
        <pc:spChg chg="mod">
          <ac:chgData name="Yash Ratanpal" userId="5db668b1-93e7-4c08-9786-4ed81315a653" providerId="ADAL" clId="{3F7A7787-00CA-42A0-97CD-637349527123}" dt="2021-07-18T16:35:45.342" v="7584" actId="122"/>
          <ac:spMkLst>
            <pc:docMk/>
            <pc:sldMk cId="2833895075" sldId="1707"/>
            <ac:spMk id="55" creationId="{C1FEA491-C18F-4A6A-8278-F077E77A5A63}"/>
          </ac:spMkLst>
        </pc:spChg>
        <pc:spChg chg="mod">
          <ac:chgData name="Yash Ratanpal" userId="5db668b1-93e7-4c08-9786-4ed81315a653" providerId="ADAL" clId="{3F7A7787-00CA-42A0-97CD-637349527123}" dt="2021-07-18T16:35:45.342" v="7584" actId="122"/>
          <ac:spMkLst>
            <pc:docMk/>
            <pc:sldMk cId="2833895075" sldId="1707"/>
            <ac:spMk id="56" creationId="{443FE544-70EC-4C0C-BF50-2BDED256EF96}"/>
          </ac:spMkLst>
        </pc:spChg>
        <pc:spChg chg="mod">
          <ac:chgData name="Yash Ratanpal" userId="5db668b1-93e7-4c08-9786-4ed81315a653" providerId="ADAL" clId="{3F7A7787-00CA-42A0-97CD-637349527123}" dt="2021-07-18T16:35:45.342" v="7584" actId="122"/>
          <ac:spMkLst>
            <pc:docMk/>
            <pc:sldMk cId="2833895075" sldId="1707"/>
            <ac:spMk id="57" creationId="{F1822854-DB89-4B7C-8C52-EFE37E23DEEC}"/>
          </ac:spMkLst>
        </pc:spChg>
        <pc:spChg chg="mod">
          <ac:chgData name="Yash Ratanpal" userId="5db668b1-93e7-4c08-9786-4ed81315a653" providerId="ADAL" clId="{3F7A7787-00CA-42A0-97CD-637349527123}" dt="2021-07-18T16:35:45.342" v="7584" actId="122"/>
          <ac:spMkLst>
            <pc:docMk/>
            <pc:sldMk cId="2833895075" sldId="1707"/>
            <ac:spMk id="58" creationId="{5069D56F-2334-4D39-95C1-52B7D9847553}"/>
          </ac:spMkLst>
        </pc:spChg>
        <pc:spChg chg="mod">
          <ac:chgData name="Yash Ratanpal" userId="5db668b1-93e7-4c08-9786-4ed81315a653" providerId="ADAL" clId="{3F7A7787-00CA-42A0-97CD-637349527123}" dt="2021-07-18T16:35:45.342" v="7584" actId="122"/>
          <ac:spMkLst>
            <pc:docMk/>
            <pc:sldMk cId="2833895075" sldId="1707"/>
            <ac:spMk id="59" creationId="{F2C22940-E023-402F-B997-6B6A0EE2157D}"/>
          </ac:spMkLst>
        </pc:spChg>
        <pc:spChg chg="del mod">
          <ac:chgData name="Yash Ratanpal" userId="5db668b1-93e7-4c08-9786-4ed81315a653" providerId="ADAL" clId="{3F7A7787-00CA-42A0-97CD-637349527123}" dt="2021-07-18T16:32:32.561" v="7521" actId="478"/>
          <ac:spMkLst>
            <pc:docMk/>
            <pc:sldMk cId="2833895075" sldId="1707"/>
            <ac:spMk id="60" creationId="{DBE6CE5B-2580-4769-9E92-CA4670F3E2C2}"/>
          </ac:spMkLst>
        </pc:spChg>
        <pc:spChg chg="mod">
          <ac:chgData name="Yash Ratanpal" userId="5db668b1-93e7-4c08-9786-4ed81315a653" providerId="ADAL" clId="{3F7A7787-00CA-42A0-97CD-637349527123}" dt="2021-07-18T16:36:17.794" v="7596" actId="1076"/>
          <ac:spMkLst>
            <pc:docMk/>
            <pc:sldMk cId="2833895075" sldId="1707"/>
            <ac:spMk id="61" creationId="{F6303D59-3412-45A0-BF76-3E4BB68B294E}"/>
          </ac:spMkLst>
        </pc:spChg>
        <pc:spChg chg="mod">
          <ac:chgData name="Yash Ratanpal" userId="5db668b1-93e7-4c08-9786-4ed81315a653" providerId="ADAL" clId="{3F7A7787-00CA-42A0-97CD-637349527123}" dt="2021-07-18T16:36:07.957" v="7590" actId="108"/>
          <ac:spMkLst>
            <pc:docMk/>
            <pc:sldMk cId="2833895075" sldId="1707"/>
            <ac:spMk id="62" creationId="{40CFCB78-090B-4492-AC25-F05DEE2B82F7}"/>
          </ac:spMkLst>
        </pc:spChg>
        <pc:spChg chg="mod">
          <ac:chgData name="Yash Ratanpal" userId="5db668b1-93e7-4c08-9786-4ed81315a653" providerId="ADAL" clId="{3F7A7787-00CA-42A0-97CD-637349527123}" dt="2021-07-18T16:35:56.890" v="7586" actId="403"/>
          <ac:spMkLst>
            <pc:docMk/>
            <pc:sldMk cId="2833895075" sldId="1707"/>
            <ac:spMk id="63" creationId="{8402597D-58C8-4183-9306-607E9747B39F}"/>
          </ac:spMkLst>
        </pc:spChg>
        <pc:spChg chg="mod">
          <ac:chgData name="Yash Ratanpal" userId="5db668b1-93e7-4c08-9786-4ed81315a653" providerId="ADAL" clId="{3F7A7787-00CA-42A0-97CD-637349527123}" dt="2021-07-18T16:36:06.340" v="7589" actId="108"/>
          <ac:spMkLst>
            <pc:docMk/>
            <pc:sldMk cId="2833895075" sldId="1707"/>
            <ac:spMk id="64" creationId="{9D5998FD-8FC8-46F0-8E2C-31777E5339FF}"/>
          </ac:spMkLst>
        </pc:spChg>
        <pc:spChg chg="mod">
          <ac:chgData name="Yash Ratanpal" userId="5db668b1-93e7-4c08-9786-4ed81315a653" providerId="ADAL" clId="{3F7A7787-00CA-42A0-97CD-637349527123}" dt="2021-07-18T16:36:04.890" v="7588" actId="108"/>
          <ac:spMkLst>
            <pc:docMk/>
            <pc:sldMk cId="2833895075" sldId="1707"/>
            <ac:spMk id="65" creationId="{68D97F8C-3117-42C7-9A35-37FA46E70D16}"/>
          </ac:spMkLst>
        </pc:spChg>
        <pc:spChg chg="mod">
          <ac:chgData name="Yash Ratanpal" userId="5db668b1-93e7-4c08-9786-4ed81315a653" providerId="ADAL" clId="{3F7A7787-00CA-42A0-97CD-637349527123}" dt="2021-07-18T16:47:26.236" v="7908" actId="20577"/>
          <ac:spMkLst>
            <pc:docMk/>
            <pc:sldMk cId="2833895075" sldId="1707"/>
            <ac:spMk id="66" creationId="{718ACB83-B2BC-4EE0-BC39-5D3772FAAB43}"/>
          </ac:spMkLst>
        </pc:spChg>
        <pc:spChg chg="add del mod topLvl">
          <ac:chgData name="Yash Ratanpal" userId="5db668b1-93e7-4c08-9786-4ed81315a653" providerId="ADAL" clId="{3F7A7787-00CA-42A0-97CD-637349527123}" dt="2021-07-18T16:31:28.668" v="7494" actId="478"/>
          <ac:spMkLst>
            <pc:docMk/>
            <pc:sldMk cId="2833895075" sldId="1707"/>
            <ac:spMk id="67" creationId="{B3BFD103-F9EA-40E1-8FEC-96F16FAC9136}"/>
          </ac:spMkLst>
        </pc:spChg>
        <pc:spChg chg="add del mod topLvl">
          <ac:chgData name="Yash Ratanpal" userId="5db668b1-93e7-4c08-9786-4ed81315a653" providerId="ADAL" clId="{3F7A7787-00CA-42A0-97CD-637349527123}" dt="2021-07-18T16:31:28.668" v="7494" actId="478"/>
          <ac:spMkLst>
            <pc:docMk/>
            <pc:sldMk cId="2833895075" sldId="1707"/>
            <ac:spMk id="69" creationId="{4692D853-25B4-4742-A7C3-AE80D76C9047}"/>
          </ac:spMkLst>
        </pc:spChg>
        <pc:spChg chg="add del mod topLvl">
          <ac:chgData name="Yash Ratanpal" userId="5db668b1-93e7-4c08-9786-4ed81315a653" providerId="ADAL" clId="{3F7A7787-00CA-42A0-97CD-637349527123}" dt="2021-07-18T16:31:28.668" v="7494" actId="478"/>
          <ac:spMkLst>
            <pc:docMk/>
            <pc:sldMk cId="2833895075" sldId="1707"/>
            <ac:spMk id="70" creationId="{29D76571-0FE4-4608-BEC8-BFEB28833CDA}"/>
          </ac:spMkLst>
        </pc:spChg>
        <pc:spChg chg="add del mod topLvl">
          <ac:chgData name="Yash Ratanpal" userId="5db668b1-93e7-4c08-9786-4ed81315a653" providerId="ADAL" clId="{3F7A7787-00CA-42A0-97CD-637349527123}" dt="2021-07-18T16:31:28.668" v="7494" actId="478"/>
          <ac:spMkLst>
            <pc:docMk/>
            <pc:sldMk cId="2833895075" sldId="1707"/>
            <ac:spMk id="71" creationId="{E350CF99-B821-413B-BF59-41B7AEB194BF}"/>
          </ac:spMkLst>
        </pc:spChg>
        <pc:spChg chg="add del mod topLvl">
          <ac:chgData name="Yash Ratanpal" userId="5db668b1-93e7-4c08-9786-4ed81315a653" providerId="ADAL" clId="{3F7A7787-00CA-42A0-97CD-637349527123}" dt="2021-07-18T16:31:28.668" v="7494" actId="478"/>
          <ac:spMkLst>
            <pc:docMk/>
            <pc:sldMk cId="2833895075" sldId="1707"/>
            <ac:spMk id="72" creationId="{FF2885C7-FA52-469B-AD74-9997B9C3C4CE}"/>
          </ac:spMkLst>
        </pc:spChg>
        <pc:spChg chg="add del mod topLvl">
          <ac:chgData name="Yash Ratanpal" userId="5db668b1-93e7-4c08-9786-4ed81315a653" providerId="ADAL" clId="{3F7A7787-00CA-42A0-97CD-637349527123}" dt="2021-07-18T16:31:28.668" v="7494" actId="478"/>
          <ac:spMkLst>
            <pc:docMk/>
            <pc:sldMk cId="2833895075" sldId="1707"/>
            <ac:spMk id="73" creationId="{64A91DD5-99E1-4A42-90AD-8F268E6C782E}"/>
          </ac:spMkLst>
        </pc:spChg>
        <pc:spChg chg="add del mod topLvl">
          <ac:chgData name="Yash Ratanpal" userId="5db668b1-93e7-4c08-9786-4ed81315a653" providerId="ADAL" clId="{3F7A7787-00CA-42A0-97CD-637349527123}" dt="2021-07-18T16:31:28.668" v="7494" actId="478"/>
          <ac:spMkLst>
            <pc:docMk/>
            <pc:sldMk cId="2833895075" sldId="1707"/>
            <ac:spMk id="74" creationId="{7AEE7D52-0314-4938-B345-60598733801D}"/>
          </ac:spMkLst>
        </pc:spChg>
        <pc:spChg chg="add del mod topLvl">
          <ac:chgData name="Yash Ratanpal" userId="5db668b1-93e7-4c08-9786-4ed81315a653" providerId="ADAL" clId="{3F7A7787-00CA-42A0-97CD-637349527123}" dt="2021-07-18T16:31:28.668" v="7494" actId="478"/>
          <ac:spMkLst>
            <pc:docMk/>
            <pc:sldMk cId="2833895075" sldId="1707"/>
            <ac:spMk id="75" creationId="{5C361233-69DF-478D-8743-2477C1E23BAF}"/>
          </ac:spMkLst>
        </pc:spChg>
        <pc:spChg chg="add del mod topLvl">
          <ac:chgData name="Yash Ratanpal" userId="5db668b1-93e7-4c08-9786-4ed81315a653" providerId="ADAL" clId="{3F7A7787-00CA-42A0-97CD-637349527123}" dt="2021-07-18T16:31:28.668" v="7494" actId="478"/>
          <ac:spMkLst>
            <pc:docMk/>
            <pc:sldMk cId="2833895075" sldId="1707"/>
            <ac:spMk id="76" creationId="{0798F287-BE5A-42D8-961C-53EBE261B5A4}"/>
          </ac:spMkLst>
        </pc:spChg>
        <pc:spChg chg="add del mod topLvl">
          <ac:chgData name="Yash Ratanpal" userId="5db668b1-93e7-4c08-9786-4ed81315a653" providerId="ADAL" clId="{3F7A7787-00CA-42A0-97CD-637349527123}" dt="2021-07-18T16:31:28.668" v="7494" actId="478"/>
          <ac:spMkLst>
            <pc:docMk/>
            <pc:sldMk cId="2833895075" sldId="1707"/>
            <ac:spMk id="77" creationId="{542652B9-5645-4C95-AB13-DE5C259EE27B}"/>
          </ac:spMkLst>
        </pc:spChg>
        <pc:spChg chg="del mod">
          <ac:chgData name="Yash Ratanpal" userId="5db668b1-93e7-4c08-9786-4ed81315a653" providerId="ADAL" clId="{3F7A7787-00CA-42A0-97CD-637349527123}" dt="2021-07-18T16:32:34.240" v="7522" actId="478"/>
          <ac:spMkLst>
            <pc:docMk/>
            <pc:sldMk cId="2833895075" sldId="1707"/>
            <ac:spMk id="78" creationId="{702E0F49-D423-4DC0-AB9F-C7EA2C6BDF5F}"/>
          </ac:spMkLst>
        </pc:spChg>
        <pc:spChg chg="add del mod">
          <ac:chgData name="Yash Ratanpal" userId="5db668b1-93e7-4c08-9786-4ed81315a653" providerId="ADAL" clId="{3F7A7787-00CA-42A0-97CD-637349527123}" dt="2021-07-11T13:59:57.226" v="1963" actId="478"/>
          <ac:spMkLst>
            <pc:docMk/>
            <pc:sldMk cId="2833895075" sldId="1707"/>
            <ac:spMk id="78" creationId="{76EAB3A6-22E5-46E0-A1DF-55C813D44E16}"/>
          </ac:spMkLst>
        </pc:spChg>
        <pc:spChg chg="add del mod topLvl">
          <ac:chgData name="Yash Ratanpal" userId="5db668b1-93e7-4c08-9786-4ed81315a653" providerId="ADAL" clId="{3F7A7787-00CA-42A0-97CD-637349527123}" dt="2021-07-18T16:31:28.668" v="7494" actId="478"/>
          <ac:spMkLst>
            <pc:docMk/>
            <pc:sldMk cId="2833895075" sldId="1707"/>
            <ac:spMk id="79" creationId="{E1AD44BA-CBD9-450A-AA2F-A309F0B7861E}"/>
          </ac:spMkLst>
        </pc:spChg>
        <pc:spChg chg="add del mod topLvl">
          <ac:chgData name="Yash Ratanpal" userId="5db668b1-93e7-4c08-9786-4ed81315a653" providerId="ADAL" clId="{3F7A7787-00CA-42A0-97CD-637349527123}" dt="2021-07-18T16:31:28.668" v="7494" actId="478"/>
          <ac:spMkLst>
            <pc:docMk/>
            <pc:sldMk cId="2833895075" sldId="1707"/>
            <ac:spMk id="80" creationId="{43F7DCC9-5AB2-457A-B032-E6699D95D089}"/>
          </ac:spMkLst>
        </pc:spChg>
        <pc:spChg chg="add del mod topLvl">
          <ac:chgData name="Yash Ratanpal" userId="5db668b1-93e7-4c08-9786-4ed81315a653" providerId="ADAL" clId="{3F7A7787-00CA-42A0-97CD-637349527123}" dt="2021-07-18T16:31:28.668" v="7494" actId="478"/>
          <ac:spMkLst>
            <pc:docMk/>
            <pc:sldMk cId="2833895075" sldId="1707"/>
            <ac:spMk id="81" creationId="{467604EF-B5EC-4569-8C46-61732C9CB146}"/>
          </ac:spMkLst>
        </pc:spChg>
        <pc:spChg chg="add del mod topLvl">
          <ac:chgData name="Yash Ratanpal" userId="5db668b1-93e7-4c08-9786-4ed81315a653" providerId="ADAL" clId="{3F7A7787-00CA-42A0-97CD-637349527123}" dt="2021-07-18T16:31:28.668" v="7494" actId="478"/>
          <ac:spMkLst>
            <pc:docMk/>
            <pc:sldMk cId="2833895075" sldId="1707"/>
            <ac:spMk id="82" creationId="{76785A68-DCB0-4685-89F0-4B16649EC61D}"/>
          </ac:spMkLst>
        </pc:spChg>
        <pc:spChg chg="add del mod">
          <ac:chgData name="Yash Ratanpal" userId="5db668b1-93e7-4c08-9786-4ed81315a653" providerId="ADAL" clId="{3F7A7787-00CA-42A0-97CD-637349527123}" dt="2021-07-11T14:06:01.906" v="2150" actId="478"/>
          <ac:spMkLst>
            <pc:docMk/>
            <pc:sldMk cId="2833895075" sldId="1707"/>
            <ac:spMk id="83" creationId="{9B493053-5188-4B0A-B792-47B742DC24B7}"/>
          </ac:spMkLst>
        </pc:spChg>
        <pc:spChg chg="add del mod">
          <ac:chgData name="Yash Ratanpal" userId="5db668b1-93e7-4c08-9786-4ed81315a653" providerId="ADAL" clId="{3F7A7787-00CA-42A0-97CD-637349527123}" dt="2021-07-18T16:38:05.258" v="7681"/>
          <ac:spMkLst>
            <pc:docMk/>
            <pc:sldMk cId="2833895075" sldId="1707"/>
            <ac:spMk id="83" creationId="{B77DAEE0-E86F-4AE6-8D6B-603BB576E5FF}"/>
          </ac:spMkLst>
        </pc:spChg>
        <pc:spChg chg="add del mod">
          <ac:chgData name="Yash Ratanpal" userId="5db668b1-93e7-4c08-9786-4ed81315a653" providerId="ADAL" clId="{3F7A7787-00CA-42A0-97CD-637349527123}" dt="2021-07-11T13:59:59.606" v="1964" actId="478"/>
          <ac:spMkLst>
            <pc:docMk/>
            <pc:sldMk cId="2833895075" sldId="1707"/>
            <ac:spMk id="84" creationId="{96B3506D-77B0-4ABA-BBA9-8D3C4C3A2221}"/>
          </ac:spMkLst>
        </pc:spChg>
        <pc:spChg chg="add del mod">
          <ac:chgData name="Yash Ratanpal" userId="5db668b1-93e7-4c08-9786-4ed81315a653" providerId="ADAL" clId="{3F7A7787-00CA-42A0-97CD-637349527123}" dt="2021-07-18T16:38:05.258" v="7681"/>
          <ac:spMkLst>
            <pc:docMk/>
            <pc:sldMk cId="2833895075" sldId="1707"/>
            <ac:spMk id="84" creationId="{9742D9FB-CD2C-4D54-B709-705CB3E4E2CC}"/>
          </ac:spMkLst>
        </pc:spChg>
        <pc:spChg chg="add mod">
          <ac:chgData name="Yash Ratanpal" userId="5db668b1-93e7-4c08-9786-4ed81315a653" providerId="ADAL" clId="{3F7A7787-00CA-42A0-97CD-637349527123}" dt="2021-07-11T13:55:37.787" v="1882" actId="164"/>
          <ac:spMkLst>
            <pc:docMk/>
            <pc:sldMk cId="2833895075" sldId="1707"/>
            <ac:spMk id="85" creationId="{911D1FB9-6AD7-4DFA-9350-4EF57F3107BF}"/>
          </ac:spMkLst>
        </pc:spChg>
        <pc:spChg chg="add del mod">
          <ac:chgData name="Yash Ratanpal" userId="5db668b1-93e7-4c08-9786-4ed81315a653" providerId="ADAL" clId="{3F7A7787-00CA-42A0-97CD-637349527123}" dt="2021-07-18T16:38:05.258" v="7681"/>
          <ac:spMkLst>
            <pc:docMk/>
            <pc:sldMk cId="2833895075" sldId="1707"/>
            <ac:spMk id="85" creationId="{F6798364-3044-4DBD-ABD8-0BFAD994A60C}"/>
          </ac:spMkLst>
        </pc:spChg>
        <pc:spChg chg="add mod">
          <ac:chgData name="Yash Ratanpal" userId="5db668b1-93e7-4c08-9786-4ed81315a653" providerId="ADAL" clId="{3F7A7787-00CA-42A0-97CD-637349527123}" dt="2021-07-11T13:55:37.787" v="1882" actId="164"/>
          <ac:spMkLst>
            <pc:docMk/>
            <pc:sldMk cId="2833895075" sldId="1707"/>
            <ac:spMk id="86" creationId="{AAE8D190-0652-4BEE-B0FA-4DF2817750C2}"/>
          </ac:spMkLst>
        </pc:spChg>
        <pc:spChg chg="add del mod">
          <ac:chgData name="Yash Ratanpal" userId="5db668b1-93e7-4c08-9786-4ed81315a653" providerId="ADAL" clId="{3F7A7787-00CA-42A0-97CD-637349527123}" dt="2021-07-18T16:38:05.258" v="7681"/>
          <ac:spMkLst>
            <pc:docMk/>
            <pc:sldMk cId="2833895075" sldId="1707"/>
            <ac:spMk id="87" creationId="{374F6903-8E82-449D-B811-66AE51F1ABD9}"/>
          </ac:spMkLst>
        </pc:spChg>
        <pc:spChg chg="add mod">
          <ac:chgData name="Yash Ratanpal" userId="5db668b1-93e7-4c08-9786-4ed81315a653" providerId="ADAL" clId="{3F7A7787-00CA-42A0-97CD-637349527123}" dt="2021-07-11T13:55:37.787" v="1882" actId="164"/>
          <ac:spMkLst>
            <pc:docMk/>
            <pc:sldMk cId="2833895075" sldId="1707"/>
            <ac:spMk id="87" creationId="{4C7B2D72-5D85-4C73-9100-F93D79AE1FFA}"/>
          </ac:spMkLst>
        </pc:spChg>
        <pc:spChg chg="add mod">
          <ac:chgData name="Yash Ratanpal" userId="5db668b1-93e7-4c08-9786-4ed81315a653" providerId="ADAL" clId="{3F7A7787-00CA-42A0-97CD-637349527123}" dt="2021-07-11T13:55:37.787" v="1882" actId="164"/>
          <ac:spMkLst>
            <pc:docMk/>
            <pc:sldMk cId="2833895075" sldId="1707"/>
            <ac:spMk id="88" creationId="{B4C722F2-5703-4397-9A91-41B06DAB5675}"/>
          </ac:spMkLst>
        </pc:spChg>
        <pc:spChg chg="add mod">
          <ac:chgData name="Yash Ratanpal" userId="5db668b1-93e7-4c08-9786-4ed81315a653" providerId="ADAL" clId="{3F7A7787-00CA-42A0-97CD-637349527123}" dt="2021-07-11T13:55:44.949" v="1902" actId="20577"/>
          <ac:spMkLst>
            <pc:docMk/>
            <pc:sldMk cId="2833895075" sldId="1707"/>
            <ac:spMk id="89" creationId="{3EC39068-859B-44F0-8170-F67CE5F1D31D}"/>
          </ac:spMkLst>
        </pc:spChg>
        <pc:spChg chg="add del mod">
          <ac:chgData name="Yash Ratanpal" userId="5db668b1-93e7-4c08-9786-4ed81315a653" providerId="ADAL" clId="{3F7A7787-00CA-42A0-97CD-637349527123}" dt="2021-07-18T16:38:05.258" v="7681"/>
          <ac:spMkLst>
            <pc:docMk/>
            <pc:sldMk cId="2833895075" sldId="1707"/>
            <ac:spMk id="89" creationId="{FE21D849-F68E-4D3F-A92B-C3B8358BE934}"/>
          </ac:spMkLst>
        </pc:spChg>
        <pc:spChg chg="add del mod">
          <ac:chgData name="Yash Ratanpal" userId="5db668b1-93e7-4c08-9786-4ed81315a653" providerId="ADAL" clId="{3F7A7787-00CA-42A0-97CD-637349527123}" dt="2021-07-18T16:38:05.258" v="7681"/>
          <ac:spMkLst>
            <pc:docMk/>
            <pc:sldMk cId="2833895075" sldId="1707"/>
            <ac:spMk id="90" creationId="{98436564-7934-4898-924E-619F89E60968}"/>
          </ac:spMkLst>
        </pc:spChg>
        <pc:spChg chg="add mod">
          <ac:chgData name="Yash Ratanpal" userId="5db668b1-93e7-4c08-9786-4ed81315a653" providerId="ADAL" clId="{3F7A7787-00CA-42A0-97CD-637349527123}" dt="2021-07-18T16:52:38.758" v="8223" actId="1076"/>
          <ac:spMkLst>
            <pc:docMk/>
            <pc:sldMk cId="2833895075" sldId="1707"/>
            <ac:spMk id="91" creationId="{15D33B0E-2633-4A29-BA71-F9901A752E81}"/>
          </ac:spMkLst>
        </pc:spChg>
        <pc:spChg chg="add mod">
          <ac:chgData name="Yash Ratanpal" userId="5db668b1-93e7-4c08-9786-4ed81315a653" providerId="ADAL" clId="{3F7A7787-00CA-42A0-97CD-637349527123}" dt="2021-07-11T13:59:52.184" v="1961" actId="164"/>
          <ac:spMkLst>
            <pc:docMk/>
            <pc:sldMk cId="2833895075" sldId="1707"/>
            <ac:spMk id="91" creationId="{1DF34EDC-A74B-44C8-AED3-0846FFE1802F}"/>
          </ac:spMkLst>
        </pc:spChg>
        <pc:spChg chg="add mod">
          <ac:chgData name="Yash Ratanpal" userId="5db668b1-93e7-4c08-9786-4ed81315a653" providerId="ADAL" clId="{3F7A7787-00CA-42A0-97CD-637349527123}" dt="2021-07-18T16:52:31.887" v="8221" actId="113"/>
          <ac:spMkLst>
            <pc:docMk/>
            <pc:sldMk cId="2833895075" sldId="1707"/>
            <ac:spMk id="92" creationId="{B9DE3A23-0A25-41E1-9A18-53C52B54F580}"/>
          </ac:spMkLst>
        </pc:spChg>
        <pc:spChg chg="mod">
          <ac:chgData name="Yash Ratanpal" userId="5db668b1-93e7-4c08-9786-4ed81315a653" providerId="ADAL" clId="{3F7A7787-00CA-42A0-97CD-637349527123}" dt="2021-07-11T13:59:47.449" v="1959"/>
          <ac:spMkLst>
            <pc:docMk/>
            <pc:sldMk cId="2833895075" sldId="1707"/>
            <ac:spMk id="93" creationId="{69424067-C101-44E7-93F2-3FE1AE7D20B9}"/>
          </ac:spMkLst>
        </pc:spChg>
        <pc:spChg chg="add mod">
          <ac:chgData name="Yash Ratanpal" userId="5db668b1-93e7-4c08-9786-4ed81315a653" providerId="ADAL" clId="{3F7A7787-00CA-42A0-97CD-637349527123}" dt="2021-07-18T16:39:39.908" v="7702" actId="164"/>
          <ac:spMkLst>
            <pc:docMk/>
            <pc:sldMk cId="2833895075" sldId="1707"/>
            <ac:spMk id="93" creationId="{EBCF08D7-0014-4D9D-BD87-301CFB53D6AA}"/>
          </ac:spMkLst>
        </pc:spChg>
        <pc:spChg chg="mod">
          <ac:chgData name="Yash Ratanpal" userId="5db668b1-93e7-4c08-9786-4ed81315a653" providerId="ADAL" clId="{3F7A7787-00CA-42A0-97CD-637349527123}" dt="2021-07-11T13:59:47.449" v="1959"/>
          <ac:spMkLst>
            <pc:docMk/>
            <pc:sldMk cId="2833895075" sldId="1707"/>
            <ac:spMk id="94" creationId="{43034C70-2182-4034-821A-F5570F345AEF}"/>
          </ac:spMkLst>
        </pc:spChg>
        <pc:spChg chg="mod">
          <ac:chgData name="Yash Ratanpal" userId="5db668b1-93e7-4c08-9786-4ed81315a653" providerId="ADAL" clId="{3F7A7787-00CA-42A0-97CD-637349527123}" dt="2021-07-11T13:59:47.449" v="1959"/>
          <ac:spMkLst>
            <pc:docMk/>
            <pc:sldMk cId="2833895075" sldId="1707"/>
            <ac:spMk id="95" creationId="{0E059F09-0811-4923-8331-1C395654B232}"/>
          </ac:spMkLst>
        </pc:spChg>
        <pc:spChg chg="add mod">
          <ac:chgData name="Yash Ratanpal" userId="5db668b1-93e7-4c08-9786-4ed81315a653" providerId="ADAL" clId="{3F7A7787-00CA-42A0-97CD-637349527123}" dt="2021-07-18T16:39:51.647" v="7708" actId="20577"/>
          <ac:spMkLst>
            <pc:docMk/>
            <pc:sldMk cId="2833895075" sldId="1707"/>
            <ac:spMk id="95" creationId="{FBBB8104-CD34-4FE7-B5C4-A3E74893C5E9}"/>
          </ac:spMkLst>
        </pc:spChg>
        <pc:spChg chg="mod">
          <ac:chgData name="Yash Ratanpal" userId="5db668b1-93e7-4c08-9786-4ed81315a653" providerId="ADAL" clId="{3F7A7787-00CA-42A0-97CD-637349527123}" dt="2021-07-11T13:59:47.449" v="1959"/>
          <ac:spMkLst>
            <pc:docMk/>
            <pc:sldMk cId="2833895075" sldId="1707"/>
            <ac:spMk id="96" creationId="{9280ACCB-6694-4064-8692-28DB38827F1D}"/>
          </ac:spMkLst>
        </pc:spChg>
        <pc:spChg chg="add mod">
          <ac:chgData name="Yash Ratanpal" userId="5db668b1-93e7-4c08-9786-4ed81315a653" providerId="ADAL" clId="{3F7A7787-00CA-42A0-97CD-637349527123}" dt="2021-07-18T16:39:39.908" v="7702" actId="164"/>
          <ac:spMkLst>
            <pc:docMk/>
            <pc:sldMk cId="2833895075" sldId="1707"/>
            <ac:spMk id="97" creationId="{EEA3D160-AE43-48A8-B2CE-188D563A9E8E}"/>
          </ac:spMkLst>
        </pc:spChg>
        <pc:spChg chg="mod">
          <ac:chgData name="Yash Ratanpal" userId="5db668b1-93e7-4c08-9786-4ed81315a653" providerId="ADAL" clId="{3F7A7787-00CA-42A0-97CD-637349527123}" dt="2021-07-11T13:59:47.449" v="1959"/>
          <ac:spMkLst>
            <pc:docMk/>
            <pc:sldMk cId="2833895075" sldId="1707"/>
            <ac:spMk id="97" creationId="{EEBE0D0B-9CE6-41C9-9260-5D31A3C54519}"/>
          </ac:spMkLst>
        </pc:spChg>
        <pc:spChg chg="add mod">
          <ac:chgData name="Yash Ratanpal" userId="5db668b1-93e7-4c08-9786-4ed81315a653" providerId="ADAL" clId="{3F7A7787-00CA-42A0-97CD-637349527123}" dt="2021-07-18T16:52:45.321" v="8225" actId="1076"/>
          <ac:spMkLst>
            <pc:docMk/>
            <pc:sldMk cId="2833895075" sldId="1707"/>
            <ac:spMk id="98" creationId="{98D33DBB-3ADC-4E10-893E-655DCD79E95A}"/>
          </ac:spMkLst>
        </pc:spChg>
        <pc:spChg chg="add del mod">
          <ac:chgData name="Yash Ratanpal" userId="5db668b1-93e7-4c08-9786-4ed81315a653" providerId="ADAL" clId="{3F7A7787-00CA-42A0-97CD-637349527123}" dt="2021-07-18T17:31:26.457" v="8336" actId="478"/>
          <ac:spMkLst>
            <pc:docMk/>
            <pc:sldMk cId="2833895075" sldId="1707"/>
            <ac:spMk id="99" creationId="{60888557-7234-44DC-AF62-E5C0967438F3}"/>
          </ac:spMkLst>
        </pc:spChg>
        <pc:spChg chg="mod">
          <ac:chgData name="Yash Ratanpal" userId="5db668b1-93e7-4c08-9786-4ed81315a653" providerId="ADAL" clId="{3F7A7787-00CA-42A0-97CD-637349527123}" dt="2021-07-11T13:59:47.449" v="1959"/>
          <ac:spMkLst>
            <pc:docMk/>
            <pc:sldMk cId="2833895075" sldId="1707"/>
            <ac:spMk id="99" creationId="{B15288B9-C615-4023-A637-B22A4DC4ED6A}"/>
          </ac:spMkLst>
        </pc:spChg>
        <pc:spChg chg="add del mod">
          <ac:chgData name="Yash Ratanpal" userId="5db668b1-93e7-4c08-9786-4ed81315a653" providerId="ADAL" clId="{3F7A7787-00CA-42A0-97CD-637349527123}" dt="2021-07-18T16:48:46.742" v="7963" actId="478"/>
          <ac:spMkLst>
            <pc:docMk/>
            <pc:sldMk cId="2833895075" sldId="1707"/>
            <ac:spMk id="100" creationId="{4E49ECCF-2B7A-49A1-81A7-CEA8A74D524E}"/>
          </ac:spMkLst>
        </pc:spChg>
        <pc:spChg chg="mod">
          <ac:chgData name="Yash Ratanpal" userId="5db668b1-93e7-4c08-9786-4ed81315a653" providerId="ADAL" clId="{3F7A7787-00CA-42A0-97CD-637349527123}" dt="2021-07-11T13:59:47.449" v="1959"/>
          <ac:spMkLst>
            <pc:docMk/>
            <pc:sldMk cId="2833895075" sldId="1707"/>
            <ac:spMk id="100" creationId="{548FCB18-8A1A-4BF9-97F6-6ACD90D3B960}"/>
          </ac:spMkLst>
        </pc:spChg>
        <pc:spChg chg="add del mod ord topLvl">
          <ac:chgData name="Yash Ratanpal" userId="5db668b1-93e7-4c08-9786-4ed81315a653" providerId="ADAL" clId="{3F7A7787-00CA-42A0-97CD-637349527123}" dt="2021-07-18T17:40:52.735" v="9029" actId="478"/>
          <ac:spMkLst>
            <pc:docMk/>
            <pc:sldMk cId="2833895075" sldId="1707"/>
            <ac:spMk id="101" creationId="{05F976E4-0CA6-4E58-9700-68DFF7870F75}"/>
          </ac:spMkLst>
        </pc:spChg>
        <pc:spChg chg="mod">
          <ac:chgData name="Yash Ratanpal" userId="5db668b1-93e7-4c08-9786-4ed81315a653" providerId="ADAL" clId="{3F7A7787-00CA-42A0-97CD-637349527123}" dt="2021-07-11T13:59:47.449" v="1959"/>
          <ac:spMkLst>
            <pc:docMk/>
            <pc:sldMk cId="2833895075" sldId="1707"/>
            <ac:spMk id="101" creationId="{12728C64-2164-421C-AD90-6D3842D7371D}"/>
          </ac:spMkLst>
        </pc:spChg>
        <pc:spChg chg="add mod ord topLvl">
          <ac:chgData name="Yash Ratanpal" userId="5db668b1-93e7-4c08-9786-4ed81315a653" providerId="ADAL" clId="{3F7A7787-00CA-42A0-97CD-637349527123}" dt="2021-07-18T17:42:10.643" v="9082" actId="20577"/>
          <ac:spMkLst>
            <pc:docMk/>
            <pc:sldMk cId="2833895075" sldId="1707"/>
            <ac:spMk id="102" creationId="{0A0CD194-7DBE-427D-986E-B2F56D07811C}"/>
          </ac:spMkLst>
        </pc:spChg>
        <pc:spChg chg="mod">
          <ac:chgData name="Yash Ratanpal" userId="5db668b1-93e7-4c08-9786-4ed81315a653" providerId="ADAL" clId="{3F7A7787-00CA-42A0-97CD-637349527123}" dt="2021-07-11T13:59:47.449" v="1959"/>
          <ac:spMkLst>
            <pc:docMk/>
            <pc:sldMk cId="2833895075" sldId="1707"/>
            <ac:spMk id="102" creationId="{F231FACB-CEA2-4012-B744-DC76EBDA7C48}"/>
          </ac:spMkLst>
        </pc:spChg>
        <pc:spChg chg="mod">
          <ac:chgData name="Yash Ratanpal" userId="5db668b1-93e7-4c08-9786-4ed81315a653" providerId="ADAL" clId="{3F7A7787-00CA-42A0-97CD-637349527123}" dt="2021-07-11T13:59:47.449" v="1959"/>
          <ac:spMkLst>
            <pc:docMk/>
            <pc:sldMk cId="2833895075" sldId="1707"/>
            <ac:spMk id="103" creationId="{079A1352-C73E-4098-953F-E5B1E286B190}"/>
          </ac:spMkLst>
        </pc:spChg>
        <pc:spChg chg="add mod ord topLvl">
          <ac:chgData name="Yash Ratanpal" userId="5db668b1-93e7-4c08-9786-4ed81315a653" providerId="ADAL" clId="{3F7A7787-00CA-42A0-97CD-637349527123}" dt="2021-07-18T17:42:22.388" v="9105" actId="20577"/>
          <ac:spMkLst>
            <pc:docMk/>
            <pc:sldMk cId="2833895075" sldId="1707"/>
            <ac:spMk id="103" creationId="{CC231449-10C1-458B-ACC0-4EE16E75F2BD}"/>
          </ac:spMkLst>
        </pc:spChg>
        <pc:spChg chg="add mod ord topLvl">
          <ac:chgData name="Yash Ratanpal" userId="5db668b1-93e7-4c08-9786-4ed81315a653" providerId="ADAL" clId="{3F7A7787-00CA-42A0-97CD-637349527123}" dt="2021-07-18T17:42:45.104" v="9163" actId="20577"/>
          <ac:spMkLst>
            <pc:docMk/>
            <pc:sldMk cId="2833895075" sldId="1707"/>
            <ac:spMk id="104" creationId="{239C2FC9-C987-4631-812D-190BDED15E82}"/>
          </ac:spMkLst>
        </pc:spChg>
        <pc:spChg chg="mod">
          <ac:chgData name="Yash Ratanpal" userId="5db668b1-93e7-4c08-9786-4ed81315a653" providerId="ADAL" clId="{3F7A7787-00CA-42A0-97CD-637349527123}" dt="2021-07-11T13:59:47.449" v="1959"/>
          <ac:spMkLst>
            <pc:docMk/>
            <pc:sldMk cId="2833895075" sldId="1707"/>
            <ac:spMk id="105" creationId="{09A43E64-F53F-4838-B6A8-F2DAB71A91FD}"/>
          </ac:spMkLst>
        </pc:spChg>
        <pc:spChg chg="add mod ord topLvl">
          <ac:chgData name="Yash Ratanpal" userId="5db668b1-93e7-4c08-9786-4ed81315a653" providerId="ADAL" clId="{3F7A7787-00CA-42A0-97CD-637349527123}" dt="2021-07-18T17:41:00.810" v="9030" actId="164"/>
          <ac:spMkLst>
            <pc:docMk/>
            <pc:sldMk cId="2833895075" sldId="1707"/>
            <ac:spMk id="105" creationId="{499C02D7-901C-415C-A27B-D4ED7A5BA2F5}"/>
          </ac:spMkLst>
        </pc:spChg>
        <pc:spChg chg="add mod ord topLvl">
          <ac:chgData name="Yash Ratanpal" userId="5db668b1-93e7-4c08-9786-4ed81315a653" providerId="ADAL" clId="{3F7A7787-00CA-42A0-97CD-637349527123}" dt="2021-07-18T17:41:00.810" v="9030" actId="164"/>
          <ac:spMkLst>
            <pc:docMk/>
            <pc:sldMk cId="2833895075" sldId="1707"/>
            <ac:spMk id="106" creationId="{3D4419A2-DDEC-41F9-AD23-DA48FB8E1B71}"/>
          </ac:spMkLst>
        </pc:spChg>
        <pc:spChg chg="mod">
          <ac:chgData name="Yash Ratanpal" userId="5db668b1-93e7-4c08-9786-4ed81315a653" providerId="ADAL" clId="{3F7A7787-00CA-42A0-97CD-637349527123}" dt="2021-07-11T13:59:47.449" v="1959"/>
          <ac:spMkLst>
            <pc:docMk/>
            <pc:sldMk cId="2833895075" sldId="1707"/>
            <ac:spMk id="106" creationId="{D2FAB176-D628-414D-A3B9-E91E2FC43194}"/>
          </ac:spMkLst>
        </pc:spChg>
        <pc:spChg chg="mod">
          <ac:chgData name="Yash Ratanpal" userId="5db668b1-93e7-4c08-9786-4ed81315a653" providerId="ADAL" clId="{3F7A7787-00CA-42A0-97CD-637349527123}" dt="2021-07-11T13:59:47.449" v="1959"/>
          <ac:spMkLst>
            <pc:docMk/>
            <pc:sldMk cId="2833895075" sldId="1707"/>
            <ac:spMk id="107" creationId="{A37E714C-CD8A-421D-9295-23FA63406120}"/>
          </ac:spMkLst>
        </pc:spChg>
        <pc:spChg chg="add mod ord topLvl">
          <ac:chgData name="Yash Ratanpal" userId="5db668b1-93e7-4c08-9786-4ed81315a653" providerId="ADAL" clId="{3F7A7787-00CA-42A0-97CD-637349527123}" dt="2021-07-18T17:41:00.810" v="9030" actId="164"/>
          <ac:spMkLst>
            <pc:docMk/>
            <pc:sldMk cId="2833895075" sldId="1707"/>
            <ac:spMk id="107" creationId="{B9836196-37D0-4134-8538-FF8A6E956901}"/>
          </ac:spMkLst>
        </pc:spChg>
        <pc:spChg chg="mod">
          <ac:chgData name="Yash Ratanpal" userId="5db668b1-93e7-4c08-9786-4ed81315a653" providerId="ADAL" clId="{3F7A7787-00CA-42A0-97CD-637349527123}" dt="2021-07-11T13:59:47.449" v="1959"/>
          <ac:spMkLst>
            <pc:docMk/>
            <pc:sldMk cId="2833895075" sldId="1707"/>
            <ac:spMk id="108" creationId="{061F2F18-3828-4DB4-AE45-D68147E1427D}"/>
          </ac:spMkLst>
        </pc:spChg>
        <pc:spChg chg="add mod ord topLvl">
          <ac:chgData name="Yash Ratanpal" userId="5db668b1-93e7-4c08-9786-4ed81315a653" providerId="ADAL" clId="{3F7A7787-00CA-42A0-97CD-637349527123}" dt="2021-07-18T17:41:00.810" v="9030" actId="164"/>
          <ac:spMkLst>
            <pc:docMk/>
            <pc:sldMk cId="2833895075" sldId="1707"/>
            <ac:spMk id="108" creationId="{8CFD12D4-5D9E-4FB4-8D6A-8F68E8A3011E}"/>
          </ac:spMkLst>
        </pc:spChg>
        <pc:spChg chg="mod">
          <ac:chgData name="Yash Ratanpal" userId="5db668b1-93e7-4c08-9786-4ed81315a653" providerId="ADAL" clId="{3F7A7787-00CA-42A0-97CD-637349527123}" dt="2021-07-11T13:59:47.449" v="1959"/>
          <ac:spMkLst>
            <pc:docMk/>
            <pc:sldMk cId="2833895075" sldId="1707"/>
            <ac:spMk id="109" creationId="{0D6C8269-6083-4A71-B45C-E7C95DBE7034}"/>
          </ac:spMkLst>
        </pc:spChg>
        <pc:spChg chg="add mod ord topLvl">
          <ac:chgData name="Yash Ratanpal" userId="5db668b1-93e7-4c08-9786-4ed81315a653" providerId="ADAL" clId="{3F7A7787-00CA-42A0-97CD-637349527123}" dt="2021-07-18T17:41:00.810" v="9030" actId="164"/>
          <ac:spMkLst>
            <pc:docMk/>
            <pc:sldMk cId="2833895075" sldId="1707"/>
            <ac:spMk id="109" creationId="{5D6A0EB2-7538-49C4-A904-5CE8418845E4}"/>
          </ac:spMkLst>
        </pc:spChg>
        <pc:spChg chg="add del mod ord topLvl">
          <ac:chgData name="Yash Ratanpal" userId="5db668b1-93e7-4c08-9786-4ed81315a653" providerId="ADAL" clId="{3F7A7787-00CA-42A0-97CD-637349527123}" dt="2021-07-18T17:40:52.735" v="9029" actId="478"/>
          <ac:spMkLst>
            <pc:docMk/>
            <pc:sldMk cId="2833895075" sldId="1707"/>
            <ac:spMk id="110" creationId="{3A11F4A5-E18B-4DF4-A546-8BC3CC4D6C13}"/>
          </ac:spMkLst>
        </pc:spChg>
        <pc:spChg chg="add mod">
          <ac:chgData name="Yash Ratanpal" userId="5db668b1-93e7-4c08-9786-4ed81315a653" providerId="ADAL" clId="{3F7A7787-00CA-42A0-97CD-637349527123}" dt="2021-07-11T13:59:52.184" v="1961" actId="164"/>
          <ac:spMkLst>
            <pc:docMk/>
            <pc:sldMk cId="2833895075" sldId="1707"/>
            <ac:spMk id="110" creationId="{7E3618C9-8784-452A-8CC3-A5B69DC67295}"/>
          </ac:spMkLst>
        </pc:spChg>
        <pc:spChg chg="add mod">
          <ac:chgData name="Yash Ratanpal" userId="5db668b1-93e7-4c08-9786-4ed81315a653" providerId="ADAL" clId="{3F7A7787-00CA-42A0-97CD-637349527123}" dt="2021-07-18T17:34:16.360" v="8423" actId="1076"/>
          <ac:spMkLst>
            <pc:docMk/>
            <pc:sldMk cId="2833895075" sldId="1707"/>
            <ac:spMk id="111" creationId="{3C73DBE7-3612-4864-B7CD-BB1BADAED3CA}"/>
          </ac:spMkLst>
        </pc:spChg>
        <pc:spChg chg="add mod">
          <ac:chgData name="Yash Ratanpal" userId="5db668b1-93e7-4c08-9786-4ed81315a653" providerId="ADAL" clId="{3F7A7787-00CA-42A0-97CD-637349527123}" dt="2021-07-11T13:59:52.184" v="1961" actId="164"/>
          <ac:spMkLst>
            <pc:docMk/>
            <pc:sldMk cId="2833895075" sldId="1707"/>
            <ac:spMk id="111" creationId="{E8D2FBDF-141F-491B-B07B-8D77E1291D2C}"/>
          </ac:spMkLst>
        </pc:spChg>
        <pc:spChg chg="add del mod">
          <ac:chgData name="Yash Ratanpal" userId="5db668b1-93e7-4c08-9786-4ed81315a653" providerId="ADAL" clId="{3F7A7787-00CA-42A0-97CD-637349527123}" dt="2021-07-11T14:05:31.103" v="2145" actId="478"/>
          <ac:spMkLst>
            <pc:docMk/>
            <pc:sldMk cId="2833895075" sldId="1707"/>
            <ac:spMk id="113" creationId="{9E53CF36-5EA2-4118-A7AE-9DF0CECB9A60}"/>
          </ac:spMkLst>
        </pc:spChg>
        <pc:spChg chg="add del mod topLvl">
          <ac:chgData name="Yash Ratanpal" userId="5db668b1-93e7-4c08-9786-4ed81315a653" providerId="ADAL" clId="{3F7A7787-00CA-42A0-97CD-637349527123}" dt="2021-07-18T16:31:28.668" v="7494" actId="478"/>
          <ac:spMkLst>
            <pc:docMk/>
            <pc:sldMk cId="2833895075" sldId="1707"/>
            <ac:spMk id="114" creationId="{DE6B9B1D-F24A-4C0D-9282-CA2A9E36FC8A}"/>
          </ac:spMkLst>
        </pc:spChg>
        <pc:spChg chg="add del mod topLvl">
          <ac:chgData name="Yash Ratanpal" userId="5db668b1-93e7-4c08-9786-4ed81315a653" providerId="ADAL" clId="{3F7A7787-00CA-42A0-97CD-637349527123}" dt="2021-07-11T14:52:37.098" v="3523" actId="478"/>
          <ac:spMkLst>
            <pc:docMk/>
            <pc:sldMk cId="2833895075" sldId="1707"/>
            <ac:spMk id="115" creationId="{39B9F1DE-836A-4416-A632-31B966996391}"/>
          </ac:spMkLst>
        </pc:spChg>
        <pc:spChg chg="add del mod topLvl">
          <ac:chgData name="Yash Ratanpal" userId="5db668b1-93e7-4c08-9786-4ed81315a653" providerId="ADAL" clId="{3F7A7787-00CA-42A0-97CD-637349527123}" dt="2021-07-11T14:52:37.098" v="3523" actId="478"/>
          <ac:spMkLst>
            <pc:docMk/>
            <pc:sldMk cId="2833895075" sldId="1707"/>
            <ac:spMk id="117" creationId="{756B3D51-CE33-4413-B409-8F564CCFFDC7}"/>
          </ac:spMkLst>
        </pc:spChg>
        <pc:spChg chg="add del mod topLvl">
          <ac:chgData name="Yash Ratanpal" userId="5db668b1-93e7-4c08-9786-4ed81315a653" providerId="ADAL" clId="{3F7A7787-00CA-42A0-97CD-637349527123}" dt="2021-07-11T14:52:37.098" v="3523" actId="478"/>
          <ac:spMkLst>
            <pc:docMk/>
            <pc:sldMk cId="2833895075" sldId="1707"/>
            <ac:spMk id="118" creationId="{3B456734-BC0E-4A2D-BEE9-9526430D7C0C}"/>
          </ac:spMkLst>
        </pc:spChg>
        <pc:spChg chg="add del mod topLvl">
          <ac:chgData name="Yash Ratanpal" userId="5db668b1-93e7-4c08-9786-4ed81315a653" providerId="ADAL" clId="{3F7A7787-00CA-42A0-97CD-637349527123}" dt="2021-07-11T14:52:37.098" v="3523" actId="478"/>
          <ac:spMkLst>
            <pc:docMk/>
            <pc:sldMk cId="2833895075" sldId="1707"/>
            <ac:spMk id="119" creationId="{37E346B8-2B5A-448C-BED2-7D4116847038}"/>
          </ac:spMkLst>
        </pc:spChg>
        <pc:spChg chg="add del mod topLvl">
          <ac:chgData name="Yash Ratanpal" userId="5db668b1-93e7-4c08-9786-4ed81315a653" providerId="ADAL" clId="{3F7A7787-00CA-42A0-97CD-637349527123}" dt="2021-07-11T14:52:37.098" v="3523" actId="478"/>
          <ac:spMkLst>
            <pc:docMk/>
            <pc:sldMk cId="2833895075" sldId="1707"/>
            <ac:spMk id="120" creationId="{C0143C76-967E-4227-89FA-F59A560CCFCB}"/>
          </ac:spMkLst>
        </pc:spChg>
        <pc:spChg chg="add del mod topLvl">
          <ac:chgData name="Yash Ratanpal" userId="5db668b1-93e7-4c08-9786-4ed81315a653" providerId="ADAL" clId="{3F7A7787-00CA-42A0-97CD-637349527123}" dt="2021-07-11T14:52:37.098" v="3523" actId="478"/>
          <ac:spMkLst>
            <pc:docMk/>
            <pc:sldMk cId="2833895075" sldId="1707"/>
            <ac:spMk id="121" creationId="{74765DC5-4707-4030-A0A0-EC8425313190}"/>
          </ac:spMkLst>
        </pc:spChg>
        <pc:spChg chg="add del mod topLvl">
          <ac:chgData name="Yash Ratanpal" userId="5db668b1-93e7-4c08-9786-4ed81315a653" providerId="ADAL" clId="{3F7A7787-00CA-42A0-97CD-637349527123}" dt="2021-07-11T14:52:37.098" v="3523" actId="478"/>
          <ac:spMkLst>
            <pc:docMk/>
            <pc:sldMk cId="2833895075" sldId="1707"/>
            <ac:spMk id="122" creationId="{89783E49-40EE-4C5F-BFB0-C7E3DC0C99CE}"/>
          </ac:spMkLst>
        </pc:spChg>
        <pc:spChg chg="add del mod topLvl">
          <ac:chgData name="Yash Ratanpal" userId="5db668b1-93e7-4c08-9786-4ed81315a653" providerId="ADAL" clId="{3F7A7787-00CA-42A0-97CD-637349527123}" dt="2021-07-11T14:52:37.098" v="3523" actId="478"/>
          <ac:spMkLst>
            <pc:docMk/>
            <pc:sldMk cId="2833895075" sldId="1707"/>
            <ac:spMk id="123" creationId="{BFA15510-310D-4E93-A17F-46662073C9A7}"/>
          </ac:spMkLst>
        </pc:spChg>
        <pc:spChg chg="add del mod topLvl">
          <ac:chgData name="Yash Ratanpal" userId="5db668b1-93e7-4c08-9786-4ed81315a653" providerId="ADAL" clId="{3F7A7787-00CA-42A0-97CD-637349527123}" dt="2021-07-11T14:52:37.098" v="3523" actId="478"/>
          <ac:spMkLst>
            <pc:docMk/>
            <pc:sldMk cId="2833895075" sldId="1707"/>
            <ac:spMk id="124" creationId="{C751F9E6-15FF-474D-94B3-1E275AD48D02}"/>
          </ac:spMkLst>
        </pc:spChg>
        <pc:spChg chg="add del mod topLvl">
          <ac:chgData name="Yash Ratanpal" userId="5db668b1-93e7-4c08-9786-4ed81315a653" providerId="ADAL" clId="{3F7A7787-00CA-42A0-97CD-637349527123}" dt="2021-07-11T14:52:37.098" v="3523" actId="478"/>
          <ac:spMkLst>
            <pc:docMk/>
            <pc:sldMk cId="2833895075" sldId="1707"/>
            <ac:spMk id="125" creationId="{06FB1A3E-5746-4BD9-B6B9-C2263B2ABFF6}"/>
          </ac:spMkLst>
        </pc:spChg>
        <pc:spChg chg="add del mod topLvl">
          <ac:chgData name="Yash Ratanpal" userId="5db668b1-93e7-4c08-9786-4ed81315a653" providerId="ADAL" clId="{3F7A7787-00CA-42A0-97CD-637349527123}" dt="2021-07-11T14:52:37.098" v="3523" actId="478"/>
          <ac:spMkLst>
            <pc:docMk/>
            <pc:sldMk cId="2833895075" sldId="1707"/>
            <ac:spMk id="126" creationId="{916CA9DA-0056-40B5-A0CA-0990338021E1}"/>
          </ac:spMkLst>
        </pc:spChg>
        <pc:spChg chg="add del mod topLvl">
          <ac:chgData name="Yash Ratanpal" userId="5db668b1-93e7-4c08-9786-4ed81315a653" providerId="ADAL" clId="{3F7A7787-00CA-42A0-97CD-637349527123}" dt="2021-07-11T14:52:37.098" v="3523" actId="478"/>
          <ac:spMkLst>
            <pc:docMk/>
            <pc:sldMk cId="2833895075" sldId="1707"/>
            <ac:spMk id="127" creationId="{75126156-F01A-431B-A630-9D84CEAB7DEB}"/>
          </ac:spMkLst>
        </pc:spChg>
        <pc:spChg chg="add del mod topLvl">
          <ac:chgData name="Yash Ratanpal" userId="5db668b1-93e7-4c08-9786-4ed81315a653" providerId="ADAL" clId="{3F7A7787-00CA-42A0-97CD-637349527123}" dt="2021-07-11T14:52:37.098" v="3523" actId="478"/>
          <ac:spMkLst>
            <pc:docMk/>
            <pc:sldMk cId="2833895075" sldId="1707"/>
            <ac:spMk id="128" creationId="{2587EDB7-DF6B-40D1-A487-AEDDF125238C}"/>
          </ac:spMkLst>
        </pc:spChg>
        <pc:spChg chg="add del mod topLvl">
          <ac:chgData name="Yash Ratanpal" userId="5db668b1-93e7-4c08-9786-4ed81315a653" providerId="ADAL" clId="{3F7A7787-00CA-42A0-97CD-637349527123}" dt="2021-07-11T14:52:37.098" v="3523" actId="478"/>
          <ac:spMkLst>
            <pc:docMk/>
            <pc:sldMk cId="2833895075" sldId="1707"/>
            <ac:spMk id="129" creationId="{1947D2DB-FE2A-4F9E-8F33-C94A44291E2F}"/>
          </ac:spMkLst>
        </pc:spChg>
        <pc:spChg chg="add del mod topLvl">
          <ac:chgData name="Yash Ratanpal" userId="5db668b1-93e7-4c08-9786-4ed81315a653" providerId="ADAL" clId="{3F7A7787-00CA-42A0-97CD-637349527123}" dt="2021-07-11T14:52:37.098" v="3523" actId="478"/>
          <ac:spMkLst>
            <pc:docMk/>
            <pc:sldMk cId="2833895075" sldId="1707"/>
            <ac:spMk id="130" creationId="{5CC28805-EE8F-4B85-940A-53B706D213A9}"/>
          </ac:spMkLst>
        </pc:spChg>
        <pc:grpChg chg="add del mod">
          <ac:chgData name="Yash Ratanpal" userId="5db668b1-93e7-4c08-9786-4ed81315a653" providerId="ADAL" clId="{3F7A7787-00CA-42A0-97CD-637349527123}" dt="2021-07-18T17:31:54.024" v="8339" actId="478"/>
          <ac:grpSpMkLst>
            <pc:docMk/>
            <pc:sldMk cId="2833895075" sldId="1707"/>
            <ac:grpSpMk id="4" creationId="{E4BE3262-812D-4CDE-BBF3-94DB59567B1F}"/>
          </ac:grpSpMkLst>
        </pc:grpChg>
        <pc:grpChg chg="del">
          <ac:chgData name="Yash Ratanpal" userId="5db668b1-93e7-4c08-9786-4ed81315a653" providerId="ADAL" clId="{3F7A7787-00CA-42A0-97CD-637349527123}" dt="2021-07-11T13:55:30.646" v="1880" actId="478"/>
          <ac:grpSpMkLst>
            <pc:docMk/>
            <pc:sldMk cId="2833895075" sldId="1707"/>
            <ac:grpSpMk id="4" creationId="{EA00DBC6-6C4A-4CEC-88FF-62C5530F1D29}"/>
          </ac:grpSpMkLst>
        </pc:grpChg>
        <pc:grpChg chg="add del mod">
          <ac:chgData name="Yash Ratanpal" userId="5db668b1-93e7-4c08-9786-4ed81315a653" providerId="ADAL" clId="{3F7A7787-00CA-42A0-97CD-637349527123}" dt="2021-07-11T13:59:38.246" v="1958" actId="478"/>
          <ac:grpSpMkLst>
            <pc:docMk/>
            <pc:sldMk cId="2833895075" sldId="1707"/>
            <ac:grpSpMk id="5" creationId="{756D6E0D-EDF0-45CD-8AB4-8CF6137AA7AF}"/>
          </ac:grpSpMkLst>
        </pc:grpChg>
        <pc:grpChg chg="add del mod">
          <ac:chgData name="Yash Ratanpal" userId="5db668b1-93e7-4c08-9786-4ed81315a653" providerId="ADAL" clId="{3F7A7787-00CA-42A0-97CD-637349527123}" dt="2021-07-18T17:32:12.331" v="8347" actId="165"/>
          <ac:grpSpMkLst>
            <pc:docMk/>
            <pc:sldMk cId="2833895075" sldId="1707"/>
            <ac:grpSpMk id="5" creationId="{EEE7A79F-95CE-4CB7-B1B3-F7CE400822D7}"/>
          </ac:grpSpMkLst>
        </pc:grpChg>
        <pc:grpChg chg="add del mod">
          <ac:chgData name="Yash Ratanpal" userId="5db668b1-93e7-4c08-9786-4ed81315a653" providerId="ADAL" clId="{3F7A7787-00CA-42A0-97CD-637349527123}" dt="2021-07-18T17:34:03.801" v="8420" actId="165"/>
          <ac:grpSpMkLst>
            <pc:docMk/>
            <pc:sldMk cId="2833895075" sldId="1707"/>
            <ac:grpSpMk id="6" creationId="{75ADD1E0-7241-475D-B7BC-DEAFCF1C19F0}"/>
          </ac:grpSpMkLst>
        </pc:grpChg>
        <pc:grpChg chg="add del mod">
          <ac:chgData name="Yash Ratanpal" userId="5db668b1-93e7-4c08-9786-4ed81315a653" providerId="ADAL" clId="{3F7A7787-00CA-42A0-97CD-637349527123}" dt="2021-07-11T14:05:31.103" v="2145" actId="478"/>
          <ac:grpSpMkLst>
            <pc:docMk/>
            <pc:sldMk cId="2833895075" sldId="1707"/>
            <ac:grpSpMk id="6" creationId="{BBD27EF2-9C38-4AB2-99C6-19B66FC8C747}"/>
          </ac:grpSpMkLst>
        </pc:grpChg>
        <pc:grpChg chg="add mod">
          <ac:chgData name="Yash Ratanpal" userId="5db668b1-93e7-4c08-9786-4ed81315a653" providerId="ADAL" clId="{3F7A7787-00CA-42A0-97CD-637349527123}" dt="2021-07-18T17:42:08.643" v="9081" actId="1076"/>
          <ac:grpSpMkLst>
            <pc:docMk/>
            <pc:sldMk cId="2833895075" sldId="1707"/>
            <ac:grpSpMk id="7" creationId="{303B2E7E-1C56-4957-AE21-BD74A5E05FB0}"/>
          </ac:grpSpMkLst>
        </pc:grpChg>
        <pc:grpChg chg="add del mod">
          <ac:chgData name="Yash Ratanpal" userId="5db668b1-93e7-4c08-9786-4ed81315a653" providerId="ADAL" clId="{3F7A7787-00CA-42A0-97CD-637349527123}" dt="2021-07-11T14:52:34.546" v="3522" actId="165"/>
          <ac:grpSpMkLst>
            <pc:docMk/>
            <pc:sldMk cId="2833895075" sldId="1707"/>
            <ac:grpSpMk id="7" creationId="{69E31EF9-70A0-424C-87E2-950C18B63832}"/>
          </ac:grpSpMkLst>
        </pc:grpChg>
        <pc:grpChg chg="add del mod">
          <ac:chgData name="Yash Ratanpal" userId="5db668b1-93e7-4c08-9786-4ed81315a653" providerId="ADAL" clId="{3F7A7787-00CA-42A0-97CD-637349527123}" dt="2021-07-18T16:31:31.533" v="7496"/>
          <ac:grpSpMkLst>
            <pc:docMk/>
            <pc:sldMk cId="2833895075" sldId="1707"/>
            <ac:grpSpMk id="20" creationId="{F041A5D4-A47F-4FAB-A6E8-5D55DA87334D}"/>
          </ac:grpSpMkLst>
        </pc:grpChg>
        <pc:grpChg chg="add mod">
          <ac:chgData name="Yash Ratanpal" userId="5db668b1-93e7-4c08-9786-4ed81315a653" providerId="ADAL" clId="{3F7A7787-00CA-42A0-97CD-637349527123}" dt="2021-07-18T17:33:44.052" v="8416" actId="1076"/>
          <ac:grpSpMkLst>
            <pc:docMk/>
            <pc:sldMk cId="2833895075" sldId="1707"/>
            <ac:grpSpMk id="44" creationId="{47264092-96DD-46F7-9E96-7D1FBEC31E6D}"/>
          </ac:grpSpMkLst>
        </pc:grpChg>
        <pc:grpChg chg="add mod">
          <ac:chgData name="Yash Ratanpal" userId="5db668b1-93e7-4c08-9786-4ed81315a653" providerId="ADAL" clId="{3F7A7787-00CA-42A0-97CD-637349527123}" dt="2021-07-11T13:59:52.184" v="1961" actId="164"/>
          <ac:grpSpMkLst>
            <pc:docMk/>
            <pc:sldMk cId="2833895075" sldId="1707"/>
            <ac:grpSpMk id="92" creationId="{612387B9-AD5B-495B-8E37-3B38749DCFA5}"/>
          </ac:grpSpMkLst>
        </pc:grpChg>
        <pc:grpChg chg="add mod">
          <ac:chgData name="Yash Ratanpal" userId="5db668b1-93e7-4c08-9786-4ed81315a653" providerId="ADAL" clId="{3F7A7787-00CA-42A0-97CD-637349527123}" dt="2021-07-11T13:59:52.184" v="1961" actId="164"/>
          <ac:grpSpMkLst>
            <pc:docMk/>
            <pc:sldMk cId="2833895075" sldId="1707"/>
            <ac:grpSpMk id="98" creationId="{88972848-7ABB-4D91-B061-006F88A3AE90}"/>
          </ac:grpSpMkLst>
        </pc:grpChg>
        <pc:grpChg chg="add mod">
          <ac:chgData name="Yash Ratanpal" userId="5db668b1-93e7-4c08-9786-4ed81315a653" providerId="ADAL" clId="{3F7A7787-00CA-42A0-97CD-637349527123}" dt="2021-07-11T13:59:52.184" v="1961" actId="164"/>
          <ac:grpSpMkLst>
            <pc:docMk/>
            <pc:sldMk cId="2833895075" sldId="1707"/>
            <ac:grpSpMk id="104" creationId="{38F19F8C-521C-4CB9-8E00-774EF3155F3B}"/>
          </ac:grpSpMkLst>
        </pc:grpChg>
        <pc:cxnChg chg="mod">
          <ac:chgData name="Yash Ratanpal" userId="5db668b1-93e7-4c08-9786-4ed81315a653" providerId="ADAL" clId="{3F7A7787-00CA-42A0-97CD-637349527123}" dt="2021-07-18T16:31:30.782" v="7495"/>
          <ac:cxnSpMkLst>
            <pc:docMk/>
            <pc:sldMk cId="2833895075" sldId="1707"/>
            <ac:cxnSpMk id="21" creationId="{EE016C4D-1C17-4C2A-9D7C-E3CC3E43C23E}"/>
          </ac:cxnSpMkLst>
        </pc:cxnChg>
        <pc:cxnChg chg="mod">
          <ac:chgData name="Yash Ratanpal" userId="5db668b1-93e7-4c08-9786-4ed81315a653" providerId="ADAL" clId="{3F7A7787-00CA-42A0-97CD-637349527123}" dt="2021-07-18T16:48:01.400" v="7929" actId="478"/>
          <ac:cxnSpMkLst>
            <pc:docMk/>
            <pc:sldMk cId="2833895075" sldId="1707"/>
            <ac:cxnSpMk id="45" creationId="{4C8E3107-FF71-4875-AC5E-270FC7D7C58A}"/>
          </ac:cxnSpMkLst>
        </pc:cxnChg>
        <pc:cxnChg chg="add del mod topLvl">
          <ac:chgData name="Yash Ratanpal" userId="5db668b1-93e7-4c08-9786-4ed81315a653" providerId="ADAL" clId="{3F7A7787-00CA-42A0-97CD-637349527123}" dt="2021-07-18T16:31:28.668" v="7494" actId="478"/>
          <ac:cxnSpMkLst>
            <pc:docMk/>
            <pc:sldMk cId="2833895075" sldId="1707"/>
            <ac:cxnSpMk id="68" creationId="{6DA04733-EA72-40D0-8DB0-E6C48B2F92FD}"/>
          </ac:cxnSpMkLst>
        </pc:cxnChg>
        <pc:cxnChg chg="add del mod">
          <ac:chgData name="Yash Ratanpal" userId="5db668b1-93e7-4c08-9786-4ed81315a653" providerId="ADAL" clId="{3F7A7787-00CA-42A0-97CD-637349527123}" dt="2021-07-18T16:38:05.258" v="7681"/>
          <ac:cxnSpMkLst>
            <pc:docMk/>
            <pc:sldMk cId="2833895075" sldId="1707"/>
            <ac:cxnSpMk id="86" creationId="{351010F9-5F17-496B-B89B-D2D414E031A0}"/>
          </ac:cxnSpMkLst>
        </pc:cxnChg>
        <pc:cxnChg chg="add del mod">
          <ac:chgData name="Yash Ratanpal" userId="5db668b1-93e7-4c08-9786-4ed81315a653" providerId="ADAL" clId="{3F7A7787-00CA-42A0-97CD-637349527123}" dt="2021-07-18T16:38:05.258" v="7681"/>
          <ac:cxnSpMkLst>
            <pc:docMk/>
            <pc:sldMk cId="2833895075" sldId="1707"/>
            <ac:cxnSpMk id="88" creationId="{CD08E954-289E-4801-9869-E575D811B48C}"/>
          </ac:cxnSpMkLst>
        </pc:cxnChg>
        <pc:cxnChg chg="add mod">
          <ac:chgData name="Yash Ratanpal" userId="5db668b1-93e7-4c08-9786-4ed81315a653" providerId="ADAL" clId="{3F7A7787-00CA-42A0-97CD-637349527123}" dt="2021-07-18T16:39:39.908" v="7702" actId="164"/>
          <ac:cxnSpMkLst>
            <pc:docMk/>
            <pc:sldMk cId="2833895075" sldId="1707"/>
            <ac:cxnSpMk id="94" creationId="{B80F4598-FCC1-4104-A273-9D7313F677F0}"/>
          </ac:cxnSpMkLst>
        </pc:cxnChg>
        <pc:cxnChg chg="add mod">
          <ac:chgData name="Yash Ratanpal" userId="5db668b1-93e7-4c08-9786-4ed81315a653" providerId="ADAL" clId="{3F7A7787-00CA-42A0-97CD-637349527123}" dt="2021-07-18T16:39:39.908" v="7702" actId="164"/>
          <ac:cxnSpMkLst>
            <pc:docMk/>
            <pc:sldMk cId="2833895075" sldId="1707"/>
            <ac:cxnSpMk id="96" creationId="{9D638DAF-2CD3-4A2F-8EBD-2FD43B237C90}"/>
          </ac:cxnSpMkLst>
        </pc:cxnChg>
        <pc:cxnChg chg="add del mod topLvl">
          <ac:chgData name="Yash Ratanpal" userId="5db668b1-93e7-4c08-9786-4ed81315a653" providerId="ADAL" clId="{3F7A7787-00CA-42A0-97CD-637349527123}" dt="2021-07-11T14:52:37.098" v="3523" actId="478"/>
          <ac:cxnSpMkLst>
            <pc:docMk/>
            <pc:sldMk cId="2833895075" sldId="1707"/>
            <ac:cxnSpMk id="116" creationId="{196DC584-38AC-491E-B20E-C546DE21D681}"/>
          </ac:cxnSpMkLst>
        </pc:cxnChg>
      </pc:sldChg>
      <pc:sldChg chg="addSp delSp modSp add del mod">
        <pc:chgData name="Yash Ratanpal" userId="5db668b1-93e7-4c08-9786-4ed81315a653" providerId="ADAL" clId="{3F7A7787-00CA-42A0-97CD-637349527123}" dt="2021-07-18T16:21:25.284" v="7453" actId="47"/>
        <pc:sldMkLst>
          <pc:docMk/>
          <pc:sldMk cId="205458796" sldId="1708"/>
        </pc:sldMkLst>
        <pc:spChg chg="mod">
          <ac:chgData name="Yash Ratanpal" userId="5db668b1-93e7-4c08-9786-4ed81315a653" providerId="ADAL" clId="{3F7A7787-00CA-42A0-97CD-637349527123}" dt="2021-07-11T14:05:27.839" v="2144" actId="20577"/>
          <ac:spMkLst>
            <pc:docMk/>
            <pc:sldMk cId="205458796" sldId="1708"/>
            <ac:spMk id="3" creationId="{00000000-0000-0000-0000-000000000000}"/>
          </ac:spMkLst>
        </pc:spChg>
        <pc:spChg chg="add del mod">
          <ac:chgData name="Yash Ratanpal" userId="5db668b1-93e7-4c08-9786-4ed81315a653" providerId="ADAL" clId="{3F7A7787-00CA-42A0-97CD-637349527123}" dt="2021-07-11T14:04:24.271" v="1997" actId="478"/>
          <ac:spMkLst>
            <pc:docMk/>
            <pc:sldMk cId="205458796" sldId="1708"/>
            <ac:spMk id="43" creationId="{A10F417B-7BE4-4E3E-AD65-BA0CD6212713}"/>
          </ac:spMkLst>
        </pc:spChg>
        <pc:spChg chg="add mod">
          <ac:chgData name="Yash Ratanpal" userId="5db668b1-93e7-4c08-9786-4ed81315a653" providerId="ADAL" clId="{3F7A7787-00CA-42A0-97CD-637349527123}" dt="2021-07-11T14:04:49.293" v="2052" actId="20577"/>
          <ac:spMkLst>
            <pc:docMk/>
            <pc:sldMk cId="205458796" sldId="1708"/>
            <ac:spMk id="45" creationId="{9DF0DC6F-2C66-4F9C-B90D-9EA63BC74E7F}"/>
          </ac:spMkLst>
        </pc:spChg>
        <pc:spChg chg="add mod">
          <ac:chgData name="Yash Ratanpal" userId="5db668b1-93e7-4c08-9786-4ed81315a653" providerId="ADAL" clId="{3F7A7787-00CA-42A0-97CD-637349527123}" dt="2021-07-11T14:04:06.356" v="1992" actId="164"/>
          <ac:spMkLst>
            <pc:docMk/>
            <pc:sldMk cId="205458796" sldId="1708"/>
            <ac:spMk id="46" creationId="{3524C530-AAF9-42CE-939F-C240D5C03B0E}"/>
          </ac:spMkLst>
        </pc:spChg>
        <pc:spChg chg="add mod">
          <ac:chgData name="Yash Ratanpal" userId="5db668b1-93e7-4c08-9786-4ed81315a653" providerId="ADAL" clId="{3F7A7787-00CA-42A0-97CD-637349527123}" dt="2021-07-11T14:04:53.237" v="2066" actId="20577"/>
          <ac:spMkLst>
            <pc:docMk/>
            <pc:sldMk cId="205458796" sldId="1708"/>
            <ac:spMk id="47" creationId="{EA16668D-10F2-482C-946B-169C609EE3C9}"/>
          </ac:spMkLst>
        </pc:spChg>
        <pc:spChg chg="add mod">
          <ac:chgData name="Yash Ratanpal" userId="5db668b1-93e7-4c08-9786-4ed81315a653" providerId="ADAL" clId="{3F7A7787-00CA-42A0-97CD-637349527123}" dt="2021-07-11T14:04:06.356" v="1992" actId="164"/>
          <ac:spMkLst>
            <pc:docMk/>
            <pc:sldMk cId="205458796" sldId="1708"/>
            <ac:spMk id="48" creationId="{B864009B-8804-4560-8252-004D49F40E9E}"/>
          </ac:spMkLst>
        </pc:spChg>
        <pc:spChg chg="add mod">
          <ac:chgData name="Yash Ratanpal" userId="5db668b1-93e7-4c08-9786-4ed81315a653" providerId="ADAL" clId="{3F7A7787-00CA-42A0-97CD-637349527123}" dt="2021-07-11T14:04:58.469" v="2082" actId="20577"/>
          <ac:spMkLst>
            <pc:docMk/>
            <pc:sldMk cId="205458796" sldId="1708"/>
            <ac:spMk id="49" creationId="{45A31C3C-D681-4C1E-90E1-2CFA285B67F1}"/>
          </ac:spMkLst>
        </pc:spChg>
        <pc:spChg chg="add mod">
          <ac:chgData name="Yash Ratanpal" userId="5db668b1-93e7-4c08-9786-4ed81315a653" providerId="ADAL" clId="{3F7A7787-00CA-42A0-97CD-637349527123}" dt="2021-07-11T14:04:06.356" v="1992" actId="164"/>
          <ac:spMkLst>
            <pc:docMk/>
            <pc:sldMk cId="205458796" sldId="1708"/>
            <ac:spMk id="50" creationId="{102CD8A5-1821-45AF-9FAE-1217E148B7BB}"/>
          </ac:spMkLst>
        </pc:spChg>
        <pc:spChg chg="add del mod">
          <ac:chgData name="Yash Ratanpal" userId="5db668b1-93e7-4c08-9786-4ed81315a653" providerId="ADAL" clId="{3F7A7787-00CA-42A0-97CD-637349527123}" dt="2021-07-11T14:04:18.595" v="1996" actId="478"/>
          <ac:spMkLst>
            <pc:docMk/>
            <pc:sldMk cId="205458796" sldId="1708"/>
            <ac:spMk id="51" creationId="{65EBAE14-804F-4032-885B-21325FA60013}"/>
          </ac:spMkLst>
        </pc:spChg>
        <pc:spChg chg="add mod">
          <ac:chgData name="Yash Ratanpal" userId="5db668b1-93e7-4c08-9786-4ed81315a653" providerId="ADAL" clId="{3F7A7787-00CA-42A0-97CD-637349527123}" dt="2021-07-11T14:04:34.964" v="2035" actId="20577"/>
          <ac:spMkLst>
            <pc:docMk/>
            <pc:sldMk cId="205458796" sldId="1708"/>
            <ac:spMk id="56" creationId="{A78810D2-7A0D-44D0-9252-C63E42258E30}"/>
          </ac:spMkLst>
        </pc:spChg>
        <pc:spChg chg="del">
          <ac:chgData name="Yash Ratanpal" userId="5db668b1-93e7-4c08-9786-4ed81315a653" providerId="ADAL" clId="{3F7A7787-00CA-42A0-97CD-637349527123}" dt="2021-07-11T14:03:00.294" v="1976" actId="478"/>
          <ac:spMkLst>
            <pc:docMk/>
            <pc:sldMk cId="205458796" sldId="1708"/>
            <ac:spMk id="67" creationId="{B3BFD103-F9EA-40E1-8FEC-96F16FAC9136}"/>
          </ac:spMkLst>
        </pc:spChg>
        <pc:spChg chg="del">
          <ac:chgData name="Yash Ratanpal" userId="5db668b1-93e7-4c08-9786-4ed81315a653" providerId="ADAL" clId="{3F7A7787-00CA-42A0-97CD-637349527123}" dt="2021-07-11T14:02:59.101" v="1975" actId="478"/>
          <ac:spMkLst>
            <pc:docMk/>
            <pc:sldMk cId="205458796" sldId="1708"/>
            <ac:spMk id="69" creationId="{4692D853-25B4-4742-A7C3-AE80D76C9047}"/>
          </ac:spMkLst>
        </pc:spChg>
        <pc:spChg chg="del">
          <ac:chgData name="Yash Ratanpal" userId="5db668b1-93e7-4c08-9786-4ed81315a653" providerId="ADAL" clId="{3F7A7787-00CA-42A0-97CD-637349527123}" dt="2021-07-11T14:02:59.101" v="1975" actId="478"/>
          <ac:spMkLst>
            <pc:docMk/>
            <pc:sldMk cId="205458796" sldId="1708"/>
            <ac:spMk id="70" creationId="{29D76571-0FE4-4608-BEC8-BFEB28833CDA}"/>
          </ac:spMkLst>
        </pc:spChg>
        <pc:spChg chg="del">
          <ac:chgData name="Yash Ratanpal" userId="5db668b1-93e7-4c08-9786-4ed81315a653" providerId="ADAL" clId="{3F7A7787-00CA-42A0-97CD-637349527123}" dt="2021-07-11T14:02:59.101" v="1975" actId="478"/>
          <ac:spMkLst>
            <pc:docMk/>
            <pc:sldMk cId="205458796" sldId="1708"/>
            <ac:spMk id="71" creationId="{E350CF99-B821-413B-BF59-41B7AEB194BF}"/>
          </ac:spMkLst>
        </pc:spChg>
        <pc:spChg chg="del">
          <ac:chgData name="Yash Ratanpal" userId="5db668b1-93e7-4c08-9786-4ed81315a653" providerId="ADAL" clId="{3F7A7787-00CA-42A0-97CD-637349527123}" dt="2021-07-11T14:02:59.101" v="1975" actId="478"/>
          <ac:spMkLst>
            <pc:docMk/>
            <pc:sldMk cId="205458796" sldId="1708"/>
            <ac:spMk id="72" creationId="{FF2885C7-FA52-469B-AD74-9997B9C3C4CE}"/>
          </ac:spMkLst>
        </pc:spChg>
        <pc:spChg chg="del">
          <ac:chgData name="Yash Ratanpal" userId="5db668b1-93e7-4c08-9786-4ed81315a653" providerId="ADAL" clId="{3F7A7787-00CA-42A0-97CD-637349527123}" dt="2021-07-11T14:02:59.101" v="1975" actId="478"/>
          <ac:spMkLst>
            <pc:docMk/>
            <pc:sldMk cId="205458796" sldId="1708"/>
            <ac:spMk id="73" creationId="{64A91DD5-99E1-4A42-90AD-8F268E6C782E}"/>
          </ac:spMkLst>
        </pc:spChg>
        <pc:spChg chg="del">
          <ac:chgData name="Yash Ratanpal" userId="5db668b1-93e7-4c08-9786-4ed81315a653" providerId="ADAL" clId="{3F7A7787-00CA-42A0-97CD-637349527123}" dt="2021-07-11T14:02:59.101" v="1975" actId="478"/>
          <ac:spMkLst>
            <pc:docMk/>
            <pc:sldMk cId="205458796" sldId="1708"/>
            <ac:spMk id="74" creationId="{7AEE7D52-0314-4938-B345-60598733801D}"/>
          </ac:spMkLst>
        </pc:spChg>
        <pc:spChg chg="del">
          <ac:chgData name="Yash Ratanpal" userId="5db668b1-93e7-4c08-9786-4ed81315a653" providerId="ADAL" clId="{3F7A7787-00CA-42A0-97CD-637349527123}" dt="2021-07-11T14:02:59.101" v="1975" actId="478"/>
          <ac:spMkLst>
            <pc:docMk/>
            <pc:sldMk cId="205458796" sldId="1708"/>
            <ac:spMk id="75" creationId="{5C361233-69DF-478D-8743-2477C1E23BAF}"/>
          </ac:spMkLst>
        </pc:spChg>
        <pc:spChg chg="del">
          <ac:chgData name="Yash Ratanpal" userId="5db668b1-93e7-4c08-9786-4ed81315a653" providerId="ADAL" clId="{3F7A7787-00CA-42A0-97CD-637349527123}" dt="2021-07-11T14:02:59.101" v="1975" actId="478"/>
          <ac:spMkLst>
            <pc:docMk/>
            <pc:sldMk cId="205458796" sldId="1708"/>
            <ac:spMk id="76" creationId="{0798F287-BE5A-42D8-961C-53EBE261B5A4}"/>
          </ac:spMkLst>
        </pc:spChg>
        <pc:spChg chg="del">
          <ac:chgData name="Yash Ratanpal" userId="5db668b1-93e7-4c08-9786-4ed81315a653" providerId="ADAL" clId="{3F7A7787-00CA-42A0-97CD-637349527123}" dt="2021-07-11T14:02:59.101" v="1975" actId="478"/>
          <ac:spMkLst>
            <pc:docMk/>
            <pc:sldMk cId="205458796" sldId="1708"/>
            <ac:spMk id="77" creationId="{542652B9-5645-4C95-AB13-DE5C259EE27B}"/>
          </ac:spMkLst>
        </pc:spChg>
        <pc:spChg chg="del">
          <ac:chgData name="Yash Ratanpal" userId="5db668b1-93e7-4c08-9786-4ed81315a653" providerId="ADAL" clId="{3F7A7787-00CA-42A0-97CD-637349527123}" dt="2021-07-11T14:02:59.101" v="1975" actId="478"/>
          <ac:spMkLst>
            <pc:docMk/>
            <pc:sldMk cId="205458796" sldId="1708"/>
            <ac:spMk id="79" creationId="{E1AD44BA-CBD9-450A-AA2F-A309F0B7861E}"/>
          </ac:spMkLst>
        </pc:spChg>
        <pc:spChg chg="del">
          <ac:chgData name="Yash Ratanpal" userId="5db668b1-93e7-4c08-9786-4ed81315a653" providerId="ADAL" clId="{3F7A7787-00CA-42A0-97CD-637349527123}" dt="2021-07-11T14:02:59.101" v="1975" actId="478"/>
          <ac:spMkLst>
            <pc:docMk/>
            <pc:sldMk cId="205458796" sldId="1708"/>
            <ac:spMk id="80" creationId="{43F7DCC9-5AB2-457A-B032-E6699D95D089}"/>
          </ac:spMkLst>
        </pc:spChg>
        <pc:spChg chg="del">
          <ac:chgData name="Yash Ratanpal" userId="5db668b1-93e7-4c08-9786-4ed81315a653" providerId="ADAL" clId="{3F7A7787-00CA-42A0-97CD-637349527123}" dt="2021-07-11T14:02:59.101" v="1975" actId="478"/>
          <ac:spMkLst>
            <pc:docMk/>
            <pc:sldMk cId="205458796" sldId="1708"/>
            <ac:spMk id="81" creationId="{467604EF-B5EC-4569-8C46-61732C9CB146}"/>
          </ac:spMkLst>
        </pc:spChg>
        <pc:spChg chg="del">
          <ac:chgData name="Yash Ratanpal" userId="5db668b1-93e7-4c08-9786-4ed81315a653" providerId="ADAL" clId="{3F7A7787-00CA-42A0-97CD-637349527123}" dt="2021-07-11T14:02:59.101" v="1975" actId="478"/>
          <ac:spMkLst>
            <pc:docMk/>
            <pc:sldMk cId="205458796" sldId="1708"/>
            <ac:spMk id="82" creationId="{76785A68-DCB0-4685-89F0-4B16649EC61D}"/>
          </ac:spMkLst>
        </pc:spChg>
        <pc:spChg chg="del">
          <ac:chgData name="Yash Ratanpal" userId="5db668b1-93e7-4c08-9786-4ed81315a653" providerId="ADAL" clId="{3F7A7787-00CA-42A0-97CD-637349527123}" dt="2021-07-11T14:02:59.101" v="1975" actId="478"/>
          <ac:spMkLst>
            <pc:docMk/>
            <pc:sldMk cId="205458796" sldId="1708"/>
            <ac:spMk id="83" creationId="{9B493053-5188-4B0A-B792-47B742DC24B7}"/>
          </ac:spMkLst>
        </pc:spChg>
        <pc:spChg chg="mod">
          <ac:chgData name="Yash Ratanpal" userId="5db668b1-93e7-4c08-9786-4ed81315a653" providerId="ADAL" clId="{3F7A7787-00CA-42A0-97CD-637349527123}" dt="2021-07-11T14:11:33.709" v="2455" actId="20577"/>
          <ac:spMkLst>
            <pc:docMk/>
            <pc:sldMk cId="205458796" sldId="1708"/>
            <ac:spMk id="111" creationId="{E8D2FBDF-141F-491B-B07B-8D77E1291D2C}"/>
          </ac:spMkLst>
        </pc:spChg>
        <pc:spChg chg="mod">
          <ac:chgData name="Yash Ratanpal" userId="5db668b1-93e7-4c08-9786-4ed81315a653" providerId="ADAL" clId="{3F7A7787-00CA-42A0-97CD-637349527123}" dt="2021-07-11T14:03:07.990" v="1978" actId="1076"/>
          <ac:spMkLst>
            <pc:docMk/>
            <pc:sldMk cId="205458796" sldId="1708"/>
            <ac:spMk id="113" creationId="{9E53CF36-5EA2-4118-A7AE-9DF0CECB9A60}"/>
          </ac:spMkLst>
        </pc:spChg>
        <pc:grpChg chg="mod">
          <ac:chgData name="Yash Ratanpal" userId="5db668b1-93e7-4c08-9786-4ed81315a653" providerId="ADAL" clId="{3F7A7787-00CA-42A0-97CD-637349527123}" dt="2021-07-11T14:03:07.990" v="1978" actId="1076"/>
          <ac:grpSpMkLst>
            <pc:docMk/>
            <pc:sldMk cId="205458796" sldId="1708"/>
            <ac:grpSpMk id="6" creationId="{BBD27EF2-9C38-4AB2-99C6-19B66FC8C747}"/>
          </ac:grpSpMkLst>
        </pc:grpChg>
        <pc:grpChg chg="add del mod">
          <ac:chgData name="Yash Ratanpal" userId="5db668b1-93e7-4c08-9786-4ed81315a653" providerId="ADAL" clId="{3F7A7787-00CA-42A0-97CD-637349527123}" dt="2021-07-11T14:04:45.699" v="2038" actId="1076"/>
          <ac:grpSpMkLst>
            <pc:docMk/>
            <pc:sldMk cId="205458796" sldId="1708"/>
            <ac:grpSpMk id="8" creationId="{3602592A-8D8D-4C2D-AE21-E33185C30A74}"/>
          </ac:grpSpMkLst>
        </pc:grpChg>
        <pc:cxnChg chg="add mod">
          <ac:chgData name="Yash Ratanpal" userId="5db668b1-93e7-4c08-9786-4ed81315a653" providerId="ADAL" clId="{3F7A7787-00CA-42A0-97CD-637349527123}" dt="2021-07-11T14:04:15.350" v="1995" actId="478"/>
          <ac:cxnSpMkLst>
            <pc:docMk/>
            <pc:sldMk cId="205458796" sldId="1708"/>
            <ac:cxnSpMk id="44" creationId="{984AB075-0379-46BB-A5D3-BED48B68861D}"/>
          </ac:cxnSpMkLst>
        </pc:cxnChg>
        <pc:cxnChg chg="del">
          <ac:chgData name="Yash Ratanpal" userId="5db668b1-93e7-4c08-9786-4ed81315a653" providerId="ADAL" clId="{3F7A7787-00CA-42A0-97CD-637349527123}" dt="2021-07-11T14:02:59.101" v="1975" actId="478"/>
          <ac:cxnSpMkLst>
            <pc:docMk/>
            <pc:sldMk cId="205458796" sldId="1708"/>
            <ac:cxnSpMk id="68" creationId="{6DA04733-EA72-40D0-8DB0-E6C48B2F92FD}"/>
          </ac:cxnSpMkLst>
        </pc:cxnChg>
      </pc:sldChg>
      <pc:sldChg chg="addSp delSp modSp add del mod">
        <pc:chgData name="Yash Ratanpal" userId="5db668b1-93e7-4c08-9786-4ed81315a653" providerId="ADAL" clId="{3F7A7787-00CA-42A0-97CD-637349527123}" dt="2021-07-11T13:54:13.130" v="1872" actId="2890"/>
        <pc:sldMkLst>
          <pc:docMk/>
          <pc:sldMk cId="846681760" sldId="1708"/>
        </pc:sldMkLst>
        <pc:spChg chg="mod">
          <ac:chgData name="Yash Ratanpal" userId="5db668b1-93e7-4c08-9786-4ed81315a653" providerId="ADAL" clId="{3F7A7787-00CA-42A0-97CD-637349527123}" dt="2021-07-11T13:54:07.888" v="1860"/>
          <ac:spMkLst>
            <pc:docMk/>
            <pc:sldMk cId="846681760" sldId="1708"/>
            <ac:spMk id="3" creationId="{00000000-0000-0000-0000-000000000000}"/>
          </ac:spMkLst>
        </pc:spChg>
        <pc:spChg chg="add del">
          <ac:chgData name="Yash Ratanpal" userId="5db668b1-93e7-4c08-9786-4ed81315a653" providerId="ADAL" clId="{3F7A7787-00CA-42A0-97CD-637349527123}" dt="2021-07-11T13:54:12.442" v="1871" actId="478"/>
          <ac:spMkLst>
            <pc:docMk/>
            <pc:sldMk cId="846681760" sldId="1708"/>
            <ac:spMk id="60" creationId="{3E19CB21-3B34-48A7-95AC-D0B6865886F1}"/>
          </ac:spMkLst>
        </pc:spChg>
        <pc:spChg chg="add del">
          <ac:chgData name="Yash Ratanpal" userId="5db668b1-93e7-4c08-9786-4ed81315a653" providerId="ADAL" clId="{3F7A7787-00CA-42A0-97CD-637349527123}" dt="2021-07-11T13:54:12.442" v="1871" actId="478"/>
          <ac:spMkLst>
            <pc:docMk/>
            <pc:sldMk cId="846681760" sldId="1708"/>
            <ac:spMk id="61" creationId="{7B3BFD96-3D51-490B-9254-8E34E8041F1F}"/>
          </ac:spMkLst>
        </pc:spChg>
        <pc:spChg chg="add del">
          <ac:chgData name="Yash Ratanpal" userId="5db668b1-93e7-4c08-9786-4ed81315a653" providerId="ADAL" clId="{3F7A7787-00CA-42A0-97CD-637349527123}" dt="2021-07-11T13:54:12.442" v="1871" actId="478"/>
          <ac:spMkLst>
            <pc:docMk/>
            <pc:sldMk cId="846681760" sldId="1708"/>
            <ac:spMk id="62" creationId="{C61D8F0E-F8F4-4FD8-844F-19B9FC4FCF09}"/>
          </ac:spMkLst>
        </pc:spChg>
        <pc:spChg chg="add del">
          <ac:chgData name="Yash Ratanpal" userId="5db668b1-93e7-4c08-9786-4ed81315a653" providerId="ADAL" clId="{3F7A7787-00CA-42A0-97CD-637349527123}" dt="2021-07-11T13:54:12.442" v="1871" actId="478"/>
          <ac:spMkLst>
            <pc:docMk/>
            <pc:sldMk cId="846681760" sldId="1708"/>
            <ac:spMk id="63" creationId="{71E86FE1-35AC-4EC6-B342-173C95B4294D}"/>
          </ac:spMkLst>
        </pc:spChg>
        <pc:spChg chg="add del">
          <ac:chgData name="Yash Ratanpal" userId="5db668b1-93e7-4c08-9786-4ed81315a653" providerId="ADAL" clId="{3F7A7787-00CA-42A0-97CD-637349527123}" dt="2021-07-11T13:54:12.442" v="1871" actId="478"/>
          <ac:spMkLst>
            <pc:docMk/>
            <pc:sldMk cId="846681760" sldId="1708"/>
            <ac:spMk id="64" creationId="{0DCF1596-4011-4EC3-AF09-FC76229A1038}"/>
          </ac:spMkLst>
        </pc:spChg>
        <pc:spChg chg="add del">
          <ac:chgData name="Yash Ratanpal" userId="5db668b1-93e7-4c08-9786-4ed81315a653" providerId="ADAL" clId="{3F7A7787-00CA-42A0-97CD-637349527123}" dt="2021-07-11T13:54:12.442" v="1871" actId="478"/>
          <ac:spMkLst>
            <pc:docMk/>
            <pc:sldMk cId="846681760" sldId="1708"/>
            <ac:spMk id="65" creationId="{BFC42BA0-61E8-4B21-BC89-868CA51CF6B0}"/>
          </ac:spMkLst>
        </pc:spChg>
        <pc:spChg chg="add del mod">
          <ac:chgData name="Yash Ratanpal" userId="5db668b1-93e7-4c08-9786-4ed81315a653" providerId="ADAL" clId="{3F7A7787-00CA-42A0-97CD-637349527123}" dt="2021-07-11T13:54:11.614" v="1869"/>
          <ac:spMkLst>
            <pc:docMk/>
            <pc:sldMk cId="846681760" sldId="1708"/>
            <ac:spMk id="126" creationId="{832357AF-9F9D-49AD-A9DB-B0C8859B505E}"/>
          </ac:spMkLst>
        </pc:spChg>
        <pc:spChg chg="add del mod">
          <ac:chgData name="Yash Ratanpal" userId="5db668b1-93e7-4c08-9786-4ed81315a653" providerId="ADAL" clId="{3F7A7787-00CA-42A0-97CD-637349527123}" dt="2021-07-11T13:54:11.614" v="1869"/>
          <ac:spMkLst>
            <pc:docMk/>
            <pc:sldMk cId="846681760" sldId="1708"/>
            <ac:spMk id="127" creationId="{C53DB407-CFB4-4165-A018-93E0C688D8E6}"/>
          </ac:spMkLst>
        </pc:spChg>
        <pc:spChg chg="add del mod">
          <ac:chgData name="Yash Ratanpal" userId="5db668b1-93e7-4c08-9786-4ed81315a653" providerId="ADAL" clId="{3F7A7787-00CA-42A0-97CD-637349527123}" dt="2021-07-11T13:54:11.614" v="1869"/>
          <ac:spMkLst>
            <pc:docMk/>
            <pc:sldMk cId="846681760" sldId="1708"/>
            <ac:spMk id="128" creationId="{1277CA88-141A-49A2-BE0D-F99D181E2BC2}"/>
          </ac:spMkLst>
        </pc:spChg>
        <pc:spChg chg="add del mod">
          <ac:chgData name="Yash Ratanpal" userId="5db668b1-93e7-4c08-9786-4ed81315a653" providerId="ADAL" clId="{3F7A7787-00CA-42A0-97CD-637349527123}" dt="2021-07-11T13:54:11.614" v="1869"/>
          <ac:spMkLst>
            <pc:docMk/>
            <pc:sldMk cId="846681760" sldId="1708"/>
            <ac:spMk id="129" creationId="{48D2F32E-25A8-4EEA-B449-13638EE4C014}"/>
          </ac:spMkLst>
        </pc:spChg>
        <pc:spChg chg="add del mod">
          <ac:chgData name="Yash Ratanpal" userId="5db668b1-93e7-4c08-9786-4ed81315a653" providerId="ADAL" clId="{3F7A7787-00CA-42A0-97CD-637349527123}" dt="2021-07-11T13:54:11.614" v="1869"/>
          <ac:spMkLst>
            <pc:docMk/>
            <pc:sldMk cId="846681760" sldId="1708"/>
            <ac:spMk id="130" creationId="{F0FF47DB-1575-4036-AF66-02C09B54C4CB}"/>
          </ac:spMkLst>
        </pc:spChg>
        <pc:spChg chg="add del mod">
          <ac:chgData name="Yash Ratanpal" userId="5db668b1-93e7-4c08-9786-4ed81315a653" providerId="ADAL" clId="{3F7A7787-00CA-42A0-97CD-637349527123}" dt="2021-07-11T13:54:11.614" v="1869"/>
          <ac:spMkLst>
            <pc:docMk/>
            <pc:sldMk cId="846681760" sldId="1708"/>
            <ac:spMk id="131" creationId="{885444CF-54E5-4783-9B06-B0D4AF0858B5}"/>
          </ac:spMkLst>
        </pc:spChg>
        <pc:spChg chg="add del mod">
          <ac:chgData name="Yash Ratanpal" userId="5db668b1-93e7-4c08-9786-4ed81315a653" providerId="ADAL" clId="{3F7A7787-00CA-42A0-97CD-637349527123}" dt="2021-07-11T13:54:11.614" v="1869"/>
          <ac:spMkLst>
            <pc:docMk/>
            <pc:sldMk cId="846681760" sldId="1708"/>
            <ac:spMk id="132" creationId="{F659C2F7-BD3C-421F-A7E1-A7262831E69D}"/>
          </ac:spMkLst>
        </pc:spChg>
        <pc:spChg chg="add del mod">
          <ac:chgData name="Yash Ratanpal" userId="5db668b1-93e7-4c08-9786-4ed81315a653" providerId="ADAL" clId="{3F7A7787-00CA-42A0-97CD-637349527123}" dt="2021-07-11T13:54:11.614" v="1869"/>
          <ac:spMkLst>
            <pc:docMk/>
            <pc:sldMk cId="846681760" sldId="1708"/>
            <ac:spMk id="133" creationId="{9EEDB135-6D73-49B6-83F3-ADF198390D82}"/>
          </ac:spMkLst>
        </pc:spChg>
        <pc:spChg chg="add del mod">
          <ac:chgData name="Yash Ratanpal" userId="5db668b1-93e7-4c08-9786-4ed81315a653" providerId="ADAL" clId="{3F7A7787-00CA-42A0-97CD-637349527123}" dt="2021-07-11T13:54:11.614" v="1869"/>
          <ac:spMkLst>
            <pc:docMk/>
            <pc:sldMk cId="846681760" sldId="1708"/>
            <ac:spMk id="134" creationId="{6C375958-9ECE-40EC-AB6F-858EB9622F26}"/>
          </ac:spMkLst>
        </pc:spChg>
        <pc:spChg chg="mod">
          <ac:chgData name="Yash Ratanpal" userId="5db668b1-93e7-4c08-9786-4ed81315a653" providerId="ADAL" clId="{3F7A7787-00CA-42A0-97CD-637349527123}" dt="2021-07-11T13:50:13.194" v="1816"/>
          <ac:spMkLst>
            <pc:docMk/>
            <pc:sldMk cId="846681760" sldId="1708"/>
            <ac:spMk id="136" creationId="{2DFD29D9-C54E-4DE2-9468-987267AA9245}"/>
          </ac:spMkLst>
        </pc:spChg>
        <pc:spChg chg="mod">
          <ac:chgData name="Yash Ratanpal" userId="5db668b1-93e7-4c08-9786-4ed81315a653" providerId="ADAL" clId="{3F7A7787-00CA-42A0-97CD-637349527123}" dt="2021-07-11T13:50:13.194" v="1816"/>
          <ac:spMkLst>
            <pc:docMk/>
            <pc:sldMk cId="846681760" sldId="1708"/>
            <ac:spMk id="137" creationId="{F48CF893-44B0-43B6-B34A-2CBB69B0FD87}"/>
          </ac:spMkLst>
        </pc:spChg>
        <pc:spChg chg="mod">
          <ac:chgData name="Yash Ratanpal" userId="5db668b1-93e7-4c08-9786-4ed81315a653" providerId="ADAL" clId="{3F7A7787-00CA-42A0-97CD-637349527123}" dt="2021-07-11T13:50:13.194" v="1816"/>
          <ac:spMkLst>
            <pc:docMk/>
            <pc:sldMk cId="846681760" sldId="1708"/>
            <ac:spMk id="138" creationId="{76284BF9-6590-448C-825E-F4962E836803}"/>
          </ac:spMkLst>
        </pc:spChg>
        <pc:spChg chg="mod">
          <ac:chgData name="Yash Ratanpal" userId="5db668b1-93e7-4c08-9786-4ed81315a653" providerId="ADAL" clId="{3F7A7787-00CA-42A0-97CD-637349527123}" dt="2021-07-11T13:50:13.194" v="1816"/>
          <ac:spMkLst>
            <pc:docMk/>
            <pc:sldMk cId="846681760" sldId="1708"/>
            <ac:spMk id="140" creationId="{266E3327-6408-4D44-A2E3-EBDD94D46797}"/>
          </ac:spMkLst>
        </pc:spChg>
        <pc:spChg chg="mod">
          <ac:chgData name="Yash Ratanpal" userId="5db668b1-93e7-4c08-9786-4ed81315a653" providerId="ADAL" clId="{3F7A7787-00CA-42A0-97CD-637349527123}" dt="2021-07-11T13:50:13.194" v="1816"/>
          <ac:spMkLst>
            <pc:docMk/>
            <pc:sldMk cId="846681760" sldId="1708"/>
            <ac:spMk id="141" creationId="{35BB2282-426C-48EB-8179-A68F8DC4F85B}"/>
          </ac:spMkLst>
        </pc:spChg>
        <pc:spChg chg="mod">
          <ac:chgData name="Yash Ratanpal" userId="5db668b1-93e7-4c08-9786-4ed81315a653" providerId="ADAL" clId="{3F7A7787-00CA-42A0-97CD-637349527123}" dt="2021-07-11T13:50:13.194" v="1816"/>
          <ac:spMkLst>
            <pc:docMk/>
            <pc:sldMk cId="846681760" sldId="1708"/>
            <ac:spMk id="142" creationId="{AEFD5946-2FB2-4FC7-A6F0-5ACDA4068629}"/>
          </ac:spMkLst>
        </pc:spChg>
        <pc:spChg chg="add del mod">
          <ac:chgData name="Yash Ratanpal" userId="5db668b1-93e7-4c08-9786-4ed81315a653" providerId="ADAL" clId="{3F7A7787-00CA-42A0-97CD-637349527123}" dt="2021-07-11T13:54:11.614" v="1869"/>
          <ac:spMkLst>
            <pc:docMk/>
            <pc:sldMk cId="846681760" sldId="1708"/>
            <ac:spMk id="143" creationId="{276AFEC1-B037-40FF-A7F0-937265CE8EAF}"/>
          </ac:spMkLst>
        </pc:spChg>
        <pc:spChg chg="add del mod">
          <ac:chgData name="Yash Ratanpal" userId="5db668b1-93e7-4c08-9786-4ed81315a653" providerId="ADAL" clId="{3F7A7787-00CA-42A0-97CD-637349527123}" dt="2021-07-11T13:54:11.614" v="1869"/>
          <ac:spMkLst>
            <pc:docMk/>
            <pc:sldMk cId="846681760" sldId="1708"/>
            <ac:spMk id="144" creationId="{4A6B53E9-3D29-41A7-98B3-E43021B54CE6}"/>
          </ac:spMkLst>
        </pc:spChg>
        <pc:spChg chg="mod">
          <ac:chgData name="Yash Ratanpal" userId="5db668b1-93e7-4c08-9786-4ed81315a653" providerId="ADAL" clId="{3F7A7787-00CA-42A0-97CD-637349527123}" dt="2021-07-11T13:50:13.194" v="1816"/>
          <ac:spMkLst>
            <pc:docMk/>
            <pc:sldMk cId="846681760" sldId="1708"/>
            <ac:spMk id="146" creationId="{9717601E-BA80-43DF-9C14-4AF18F5B1C10}"/>
          </ac:spMkLst>
        </pc:spChg>
        <pc:spChg chg="mod">
          <ac:chgData name="Yash Ratanpal" userId="5db668b1-93e7-4c08-9786-4ed81315a653" providerId="ADAL" clId="{3F7A7787-00CA-42A0-97CD-637349527123}" dt="2021-07-11T13:50:13.194" v="1816"/>
          <ac:spMkLst>
            <pc:docMk/>
            <pc:sldMk cId="846681760" sldId="1708"/>
            <ac:spMk id="147" creationId="{0DA0D190-4F20-41A2-AEC9-47D3470AE44D}"/>
          </ac:spMkLst>
        </pc:spChg>
        <pc:spChg chg="mod">
          <ac:chgData name="Yash Ratanpal" userId="5db668b1-93e7-4c08-9786-4ed81315a653" providerId="ADAL" clId="{3F7A7787-00CA-42A0-97CD-637349527123}" dt="2021-07-11T13:50:13.194" v="1816"/>
          <ac:spMkLst>
            <pc:docMk/>
            <pc:sldMk cId="846681760" sldId="1708"/>
            <ac:spMk id="148" creationId="{E7FBC048-835D-4412-A71C-0EFBA8F7924E}"/>
          </ac:spMkLst>
        </pc:spChg>
        <pc:spChg chg="mod">
          <ac:chgData name="Yash Ratanpal" userId="5db668b1-93e7-4c08-9786-4ed81315a653" providerId="ADAL" clId="{3F7A7787-00CA-42A0-97CD-637349527123}" dt="2021-07-11T13:50:13.194" v="1816"/>
          <ac:spMkLst>
            <pc:docMk/>
            <pc:sldMk cId="846681760" sldId="1708"/>
            <ac:spMk id="150" creationId="{77E198DE-A749-4FE5-B88F-8902F4C1C1AE}"/>
          </ac:spMkLst>
        </pc:spChg>
        <pc:spChg chg="mod">
          <ac:chgData name="Yash Ratanpal" userId="5db668b1-93e7-4c08-9786-4ed81315a653" providerId="ADAL" clId="{3F7A7787-00CA-42A0-97CD-637349527123}" dt="2021-07-11T13:50:13.194" v="1816"/>
          <ac:spMkLst>
            <pc:docMk/>
            <pc:sldMk cId="846681760" sldId="1708"/>
            <ac:spMk id="151" creationId="{E36B41EC-77FF-4FC7-9DE5-65F628EEC204}"/>
          </ac:spMkLst>
        </pc:spChg>
        <pc:spChg chg="mod">
          <ac:chgData name="Yash Ratanpal" userId="5db668b1-93e7-4c08-9786-4ed81315a653" providerId="ADAL" clId="{3F7A7787-00CA-42A0-97CD-637349527123}" dt="2021-07-11T13:50:13.194" v="1816"/>
          <ac:spMkLst>
            <pc:docMk/>
            <pc:sldMk cId="846681760" sldId="1708"/>
            <ac:spMk id="152" creationId="{24E38288-3E35-4C36-BE90-0807CAB572D2}"/>
          </ac:spMkLst>
        </pc:spChg>
        <pc:spChg chg="add del mod">
          <ac:chgData name="Yash Ratanpal" userId="5db668b1-93e7-4c08-9786-4ed81315a653" providerId="ADAL" clId="{3F7A7787-00CA-42A0-97CD-637349527123}" dt="2021-07-11T13:54:11.614" v="1869"/>
          <ac:spMkLst>
            <pc:docMk/>
            <pc:sldMk cId="846681760" sldId="1708"/>
            <ac:spMk id="153" creationId="{B1DBA4FB-332D-47EE-ACF1-FB3607F10CB7}"/>
          </ac:spMkLst>
        </pc:spChg>
        <pc:spChg chg="add del mod">
          <ac:chgData name="Yash Ratanpal" userId="5db668b1-93e7-4c08-9786-4ed81315a653" providerId="ADAL" clId="{3F7A7787-00CA-42A0-97CD-637349527123}" dt="2021-07-11T13:54:11.614" v="1869"/>
          <ac:spMkLst>
            <pc:docMk/>
            <pc:sldMk cId="846681760" sldId="1708"/>
            <ac:spMk id="154" creationId="{573A5C31-20D8-4E0F-BE25-C36EB7725BC5}"/>
          </ac:spMkLst>
        </pc:spChg>
        <pc:spChg chg="add del mod">
          <ac:chgData name="Yash Ratanpal" userId="5db668b1-93e7-4c08-9786-4ed81315a653" providerId="ADAL" clId="{3F7A7787-00CA-42A0-97CD-637349527123}" dt="2021-07-11T13:54:11.614" v="1869"/>
          <ac:spMkLst>
            <pc:docMk/>
            <pc:sldMk cId="846681760" sldId="1708"/>
            <ac:spMk id="155" creationId="{C9E61002-4600-43A6-846D-274608D2CD3E}"/>
          </ac:spMkLst>
        </pc:spChg>
        <pc:spChg chg="mod">
          <ac:chgData name="Yash Ratanpal" userId="5db668b1-93e7-4c08-9786-4ed81315a653" providerId="ADAL" clId="{3F7A7787-00CA-42A0-97CD-637349527123}" dt="2021-07-11T13:50:13.194" v="1816"/>
          <ac:spMkLst>
            <pc:docMk/>
            <pc:sldMk cId="846681760" sldId="1708"/>
            <ac:spMk id="157" creationId="{42679AFA-B3A3-4087-9A4A-20F98F7405BF}"/>
          </ac:spMkLst>
        </pc:spChg>
        <pc:spChg chg="mod">
          <ac:chgData name="Yash Ratanpal" userId="5db668b1-93e7-4c08-9786-4ed81315a653" providerId="ADAL" clId="{3F7A7787-00CA-42A0-97CD-637349527123}" dt="2021-07-11T13:50:13.194" v="1816"/>
          <ac:spMkLst>
            <pc:docMk/>
            <pc:sldMk cId="846681760" sldId="1708"/>
            <ac:spMk id="158" creationId="{B1382D2A-0D3D-4257-9EF9-6C0D3FD0B39C}"/>
          </ac:spMkLst>
        </pc:spChg>
        <pc:spChg chg="mod">
          <ac:chgData name="Yash Ratanpal" userId="5db668b1-93e7-4c08-9786-4ed81315a653" providerId="ADAL" clId="{3F7A7787-00CA-42A0-97CD-637349527123}" dt="2021-07-11T13:50:13.194" v="1816"/>
          <ac:spMkLst>
            <pc:docMk/>
            <pc:sldMk cId="846681760" sldId="1708"/>
            <ac:spMk id="159" creationId="{7DFFDDAF-C946-496B-86EE-E6D4ADB8C702}"/>
          </ac:spMkLst>
        </pc:spChg>
        <pc:spChg chg="add del mod">
          <ac:chgData name="Yash Ratanpal" userId="5db668b1-93e7-4c08-9786-4ed81315a653" providerId="ADAL" clId="{3F7A7787-00CA-42A0-97CD-637349527123}" dt="2021-07-11T13:54:11.614" v="1869"/>
          <ac:spMkLst>
            <pc:docMk/>
            <pc:sldMk cId="846681760" sldId="1708"/>
            <ac:spMk id="160" creationId="{6D726F49-B424-4EA3-9F14-77A43F3FBDA8}"/>
          </ac:spMkLst>
        </pc:spChg>
        <pc:spChg chg="add del mod">
          <ac:chgData name="Yash Ratanpal" userId="5db668b1-93e7-4c08-9786-4ed81315a653" providerId="ADAL" clId="{3F7A7787-00CA-42A0-97CD-637349527123}" dt="2021-07-11T13:54:11.614" v="1869"/>
          <ac:spMkLst>
            <pc:docMk/>
            <pc:sldMk cId="846681760" sldId="1708"/>
            <ac:spMk id="161" creationId="{E71D8C7F-6138-403C-BCED-4EFA57CB1FCB}"/>
          </ac:spMkLst>
        </pc:spChg>
        <pc:spChg chg="mod">
          <ac:chgData name="Yash Ratanpal" userId="5db668b1-93e7-4c08-9786-4ed81315a653" providerId="ADAL" clId="{3F7A7787-00CA-42A0-97CD-637349527123}" dt="2021-07-11T13:50:13.194" v="1816"/>
          <ac:spMkLst>
            <pc:docMk/>
            <pc:sldMk cId="846681760" sldId="1708"/>
            <ac:spMk id="163" creationId="{DAFC26B5-A40F-4017-803E-A47F2CE0C45A}"/>
          </ac:spMkLst>
        </pc:spChg>
        <pc:spChg chg="mod">
          <ac:chgData name="Yash Ratanpal" userId="5db668b1-93e7-4c08-9786-4ed81315a653" providerId="ADAL" clId="{3F7A7787-00CA-42A0-97CD-637349527123}" dt="2021-07-11T13:50:13.194" v="1816"/>
          <ac:spMkLst>
            <pc:docMk/>
            <pc:sldMk cId="846681760" sldId="1708"/>
            <ac:spMk id="164" creationId="{AAF9C227-B706-4760-8740-57095D5D10A5}"/>
          </ac:spMkLst>
        </pc:spChg>
        <pc:spChg chg="mod">
          <ac:chgData name="Yash Ratanpal" userId="5db668b1-93e7-4c08-9786-4ed81315a653" providerId="ADAL" clId="{3F7A7787-00CA-42A0-97CD-637349527123}" dt="2021-07-11T13:50:13.194" v="1816"/>
          <ac:spMkLst>
            <pc:docMk/>
            <pc:sldMk cId="846681760" sldId="1708"/>
            <ac:spMk id="165" creationId="{847EB77F-9AB6-4A3D-B32D-8D3856542671}"/>
          </ac:spMkLst>
        </pc:spChg>
        <pc:spChg chg="mod">
          <ac:chgData name="Yash Ratanpal" userId="5db668b1-93e7-4c08-9786-4ed81315a653" providerId="ADAL" clId="{3F7A7787-00CA-42A0-97CD-637349527123}" dt="2021-07-11T13:50:13.194" v="1816"/>
          <ac:spMkLst>
            <pc:docMk/>
            <pc:sldMk cId="846681760" sldId="1708"/>
            <ac:spMk id="167" creationId="{0E4E2E07-6186-47D7-8EC1-044FDCE680FE}"/>
          </ac:spMkLst>
        </pc:spChg>
        <pc:spChg chg="mod">
          <ac:chgData name="Yash Ratanpal" userId="5db668b1-93e7-4c08-9786-4ed81315a653" providerId="ADAL" clId="{3F7A7787-00CA-42A0-97CD-637349527123}" dt="2021-07-11T13:50:13.194" v="1816"/>
          <ac:spMkLst>
            <pc:docMk/>
            <pc:sldMk cId="846681760" sldId="1708"/>
            <ac:spMk id="168" creationId="{7C48C0FA-D943-4EB3-8647-E955EA78AA5C}"/>
          </ac:spMkLst>
        </pc:spChg>
        <pc:spChg chg="mod">
          <ac:chgData name="Yash Ratanpal" userId="5db668b1-93e7-4c08-9786-4ed81315a653" providerId="ADAL" clId="{3F7A7787-00CA-42A0-97CD-637349527123}" dt="2021-07-11T13:50:13.194" v="1816"/>
          <ac:spMkLst>
            <pc:docMk/>
            <pc:sldMk cId="846681760" sldId="1708"/>
            <ac:spMk id="169" creationId="{0ADD7809-2504-43C4-A5A9-DCA1DFE5DEC1}"/>
          </ac:spMkLst>
        </pc:spChg>
        <pc:spChg chg="add del mod">
          <ac:chgData name="Yash Ratanpal" userId="5db668b1-93e7-4c08-9786-4ed81315a653" providerId="ADAL" clId="{3F7A7787-00CA-42A0-97CD-637349527123}" dt="2021-07-11T13:54:11.614" v="1869"/>
          <ac:spMkLst>
            <pc:docMk/>
            <pc:sldMk cId="846681760" sldId="1708"/>
            <ac:spMk id="170" creationId="{24BE0569-1E65-411E-8377-E2008B9C6665}"/>
          </ac:spMkLst>
        </pc:spChg>
        <pc:spChg chg="add del mod">
          <ac:chgData name="Yash Ratanpal" userId="5db668b1-93e7-4c08-9786-4ed81315a653" providerId="ADAL" clId="{3F7A7787-00CA-42A0-97CD-637349527123}" dt="2021-07-11T13:54:11.614" v="1869"/>
          <ac:spMkLst>
            <pc:docMk/>
            <pc:sldMk cId="846681760" sldId="1708"/>
            <ac:spMk id="171" creationId="{C0EFF59C-8860-48C4-8CE5-702E6C448A01}"/>
          </ac:spMkLst>
        </pc:spChg>
        <pc:spChg chg="add del mod">
          <ac:chgData name="Yash Ratanpal" userId="5db668b1-93e7-4c08-9786-4ed81315a653" providerId="ADAL" clId="{3F7A7787-00CA-42A0-97CD-637349527123}" dt="2021-07-11T13:54:11.614" v="1869"/>
          <ac:spMkLst>
            <pc:docMk/>
            <pc:sldMk cId="846681760" sldId="1708"/>
            <ac:spMk id="172" creationId="{FBB0C577-1401-4049-A165-A5DA0DCEE0E3}"/>
          </ac:spMkLst>
        </pc:spChg>
        <pc:spChg chg="mod">
          <ac:chgData name="Yash Ratanpal" userId="5db668b1-93e7-4c08-9786-4ed81315a653" providerId="ADAL" clId="{3F7A7787-00CA-42A0-97CD-637349527123}" dt="2021-07-11T13:50:13.194" v="1816"/>
          <ac:spMkLst>
            <pc:docMk/>
            <pc:sldMk cId="846681760" sldId="1708"/>
            <ac:spMk id="174" creationId="{BF1BF10E-09F2-450D-A3E0-DE7222B2F576}"/>
          </ac:spMkLst>
        </pc:spChg>
        <pc:spChg chg="mod">
          <ac:chgData name="Yash Ratanpal" userId="5db668b1-93e7-4c08-9786-4ed81315a653" providerId="ADAL" clId="{3F7A7787-00CA-42A0-97CD-637349527123}" dt="2021-07-11T13:50:13.194" v="1816"/>
          <ac:spMkLst>
            <pc:docMk/>
            <pc:sldMk cId="846681760" sldId="1708"/>
            <ac:spMk id="175" creationId="{CAACAE5C-A7D5-47A6-834E-30F70F049E81}"/>
          </ac:spMkLst>
        </pc:spChg>
        <pc:spChg chg="mod">
          <ac:chgData name="Yash Ratanpal" userId="5db668b1-93e7-4c08-9786-4ed81315a653" providerId="ADAL" clId="{3F7A7787-00CA-42A0-97CD-637349527123}" dt="2021-07-11T13:50:13.194" v="1816"/>
          <ac:spMkLst>
            <pc:docMk/>
            <pc:sldMk cId="846681760" sldId="1708"/>
            <ac:spMk id="176" creationId="{DA27655D-0804-4140-91E0-F95CE6C950D2}"/>
          </ac:spMkLst>
        </pc:spChg>
        <pc:spChg chg="add del mod">
          <ac:chgData name="Yash Ratanpal" userId="5db668b1-93e7-4c08-9786-4ed81315a653" providerId="ADAL" clId="{3F7A7787-00CA-42A0-97CD-637349527123}" dt="2021-07-11T13:54:11.614" v="1869"/>
          <ac:spMkLst>
            <pc:docMk/>
            <pc:sldMk cId="846681760" sldId="1708"/>
            <ac:spMk id="177" creationId="{9AF738B6-30D0-4422-97AD-DB02499D59DF}"/>
          </ac:spMkLst>
        </pc:spChg>
        <pc:spChg chg="add del mod">
          <ac:chgData name="Yash Ratanpal" userId="5db668b1-93e7-4c08-9786-4ed81315a653" providerId="ADAL" clId="{3F7A7787-00CA-42A0-97CD-637349527123}" dt="2021-07-11T13:54:11.614" v="1869"/>
          <ac:spMkLst>
            <pc:docMk/>
            <pc:sldMk cId="846681760" sldId="1708"/>
            <ac:spMk id="178" creationId="{4BA9771D-911C-4B6D-A05F-D78DE5EA7FE2}"/>
          </ac:spMkLst>
        </pc:spChg>
        <pc:spChg chg="mod">
          <ac:chgData name="Yash Ratanpal" userId="5db668b1-93e7-4c08-9786-4ed81315a653" providerId="ADAL" clId="{3F7A7787-00CA-42A0-97CD-637349527123}" dt="2021-07-11T13:50:13.194" v="1816"/>
          <ac:spMkLst>
            <pc:docMk/>
            <pc:sldMk cId="846681760" sldId="1708"/>
            <ac:spMk id="180" creationId="{C592669A-D2C1-48EC-906D-BDEE5E9FC7C9}"/>
          </ac:spMkLst>
        </pc:spChg>
        <pc:spChg chg="mod">
          <ac:chgData name="Yash Ratanpal" userId="5db668b1-93e7-4c08-9786-4ed81315a653" providerId="ADAL" clId="{3F7A7787-00CA-42A0-97CD-637349527123}" dt="2021-07-11T13:50:13.194" v="1816"/>
          <ac:spMkLst>
            <pc:docMk/>
            <pc:sldMk cId="846681760" sldId="1708"/>
            <ac:spMk id="181" creationId="{919FFE12-A57C-4B0C-B938-6B86C754332A}"/>
          </ac:spMkLst>
        </pc:spChg>
        <pc:spChg chg="mod">
          <ac:chgData name="Yash Ratanpal" userId="5db668b1-93e7-4c08-9786-4ed81315a653" providerId="ADAL" clId="{3F7A7787-00CA-42A0-97CD-637349527123}" dt="2021-07-11T13:50:13.194" v="1816"/>
          <ac:spMkLst>
            <pc:docMk/>
            <pc:sldMk cId="846681760" sldId="1708"/>
            <ac:spMk id="182" creationId="{87874FA2-5921-41B5-9BAA-611E54EF0DE9}"/>
          </ac:spMkLst>
        </pc:spChg>
        <pc:spChg chg="mod">
          <ac:chgData name="Yash Ratanpal" userId="5db668b1-93e7-4c08-9786-4ed81315a653" providerId="ADAL" clId="{3F7A7787-00CA-42A0-97CD-637349527123}" dt="2021-07-11T13:50:13.194" v="1816"/>
          <ac:spMkLst>
            <pc:docMk/>
            <pc:sldMk cId="846681760" sldId="1708"/>
            <ac:spMk id="184" creationId="{36223BB2-2256-4902-9AC5-622C32018822}"/>
          </ac:spMkLst>
        </pc:spChg>
        <pc:spChg chg="mod">
          <ac:chgData name="Yash Ratanpal" userId="5db668b1-93e7-4c08-9786-4ed81315a653" providerId="ADAL" clId="{3F7A7787-00CA-42A0-97CD-637349527123}" dt="2021-07-11T13:50:13.194" v="1816"/>
          <ac:spMkLst>
            <pc:docMk/>
            <pc:sldMk cId="846681760" sldId="1708"/>
            <ac:spMk id="185" creationId="{65B882AD-401C-4D34-868A-952BAD8C7784}"/>
          </ac:spMkLst>
        </pc:spChg>
        <pc:spChg chg="mod">
          <ac:chgData name="Yash Ratanpal" userId="5db668b1-93e7-4c08-9786-4ed81315a653" providerId="ADAL" clId="{3F7A7787-00CA-42A0-97CD-637349527123}" dt="2021-07-11T13:50:13.194" v="1816"/>
          <ac:spMkLst>
            <pc:docMk/>
            <pc:sldMk cId="846681760" sldId="1708"/>
            <ac:spMk id="186" creationId="{8B0D7166-75E6-4492-AB1D-5052047B369D}"/>
          </ac:spMkLst>
        </pc:spChg>
        <pc:spChg chg="add del mod">
          <ac:chgData name="Yash Ratanpal" userId="5db668b1-93e7-4c08-9786-4ed81315a653" providerId="ADAL" clId="{3F7A7787-00CA-42A0-97CD-637349527123}" dt="2021-07-11T13:54:11.614" v="1869"/>
          <ac:spMkLst>
            <pc:docMk/>
            <pc:sldMk cId="846681760" sldId="1708"/>
            <ac:spMk id="189" creationId="{C34D080E-3C31-49F5-A5B3-6018790734B2}"/>
          </ac:spMkLst>
        </pc:spChg>
        <pc:spChg chg="add del mod">
          <ac:chgData name="Yash Ratanpal" userId="5db668b1-93e7-4c08-9786-4ed81315a653" providerId="ADAL" clId="{3F7A7787-00CA-42A0-97CD-637349527123}" dt="2021-07-11T13:54:11.614" v="1869"/>
          <ac:spMkLst>
            <pc:docMk/>
            <pc:sldMk cId="846681760" sldId="1708"/>
            <ac:spMk id="190" creationId="{8545AD8B-1228-4C37-AE2E-A85EABD93691}"/>
          </ac:spMkLst>
        </pc:spChg>
        <pc:grpChg chg="add del">
          <ac:chgData name="Yash Ratanpal" userId="5db668b1-93e7-4c08-9786-4ed81315a653" providerId="ADAL" clId="{3F7A7787-00CA-42A0-97CD-637349527123}" dt="2021-07-11T13:54:12.442" v="1871" actId="478"/>
          <ac:grpSpMkLst>
            <pc:docMk/>
            <pc:sldMk cId="846681760" sldId="1708"/>
            <ac:grpSpMk id="66" creationId="{E1B5B38B-FB33-4E1E-BBB3-892348D82FEB}"/>
          </ac:grpSpMkLst>
        </pc:grpChg>
        <pc:grpChg chg="add del mod">
          <ac:chgData name="Yash Ratanpal" userId="5db668b1-93e7-4c08-9786-4ed81315a653" providerId="ADAL" clId="{3F7A7787-00CA-42A0-97CD-637349527123}" dt="2021-07-11T13:54:11.614" v="1869"/>
          <ac:grpSpMkLst>
            <pc:docMk/>
            <pc:sldMk cId="846681760" sldId="1708"/>
            <ac:grpSpMk id="135" creationId="{1158F799-8F2E-4D0A-95BE-817638DECCAF}"/>
          </ac:grpSpMkLst>
        </pc:grpChg>
        <pc:grpChg chg="add del mod">
          <ac:chgData name="Yash Ratanpal" userId="5db668b1-93e7-4c08-9786-4ed81315a653" providerId="ADAL" clId="{3F7A7787-00CA-42A0-97CD-637349527123}" dt="2021-07-11T13:54:11.614" v="1869"/>
          <ac:grpSpMkLst>
            <pc:docMk/>
            <pc:sldMk cId="846681760" sldId="1708"/>
            <ac:grpSpMk id="139" creationId="{C35EFFF0-9968-4021-89F8-45AAEED2B61A}"/>
          </ac:grpSpMkLst>
        </pc:grpChg>
        <pc:grpChg chg="add del mod">
          <ac:chgData name="Yash Ratanpal" userId="5db668b1-93e7-4c08-9786-4ed81315a653" providerId="ADAL" clId="{3F7A7787-00CA-42A0-97CD-637349527123}" dt="2021-07-11T13:54:11.614" v="1869"/>
          <ac:grpSpMkLst>
            <pc:docMk/>
            <pc:sldMk cId="846681760" sldId="1708"/>
            <ac:grpSpMk id="145" creationId="{F0ADA869-8DB8-4FFF-B4F1-D723E80B7D8B}"/>
          </ac:grpSpMkLst>
        </pc:grpChg>
        <pc:grpChg chg="add del mod">
          <ac:chgData name="Yash Ratanpal" userId="5db668b1-93e7-4c08-9786-4ed81315a653" providerId="ADAL" clId="{3F7A7787-00CA-42A0-97CD-637349527123}" dt="2021-07-11T13:54:11.614" v="1869"/>
          <ac:grpSpMkLst>
            <pc:docMk/>
            <pc:sldMk cId="846681760" sldId="1708"/>
            <ac:grpSpMk id="149" creationId="{704014D9-5852-477A-956C-8336D2FB3711}"/>
          </ac:grpSpMkLst>
        </pc:grpChg>
        <pc:grpChg chg="add del mod">
          <ac:chgData name="Yash Ratanpal" userId="5db668b1-93e7-4c08-9786-4ed81315a653" providerId="ADAL" clId="{3F7A7787-00CA-42A0-97CD-637349527123}" dt="2021-07-11T13:54:11.614" v="1869"/>
          <ac:grpSpMkLst>
            <pc:docMk/>
            <pc:sldMk cId="846681760" sldId="1708"/>
            <ac:grpSpMk id="156" creationId="{E1CC648E-E8BC-4784-9C90-7459B687DA27}"/>
          </ac:grpSpMkLst>
        </pc:grpChg>
        <pc:grpChg chg="add del mod">
          <ac:chgData name="Yash Ratanpal" userId="5db668b1-93e7-4c08-9786-4ed81315a653" providerId="ADAL" clId="{3F7A7787-00CA-42A0-97CD-637349527123}" dt="2021-07-11T13:54:11.614" v="1869"/>
          <ac:grpSpMkLst>
            <pc:docMk/>
            <pc:sldMk cId="846681760" sldId="1708"/>
            <ac:grpSpMk id="162" creationId="{01B95785-4313-497A-9F88-A773E36C9219}"/>
          </ac:grpSpMkLst>
        </pc:grpChg>
        <pc:grpChg chg="add del mod">
          <ac:chgData name="Yash Ratanpal" userId="5db668b1-93e7-4c08-9786-4ed81315a653" providerId="ADAL" clId="{3F7A7787-00CA-42A0-97CD-637349527123}" dt="2021-07-11T13:54:11.614" v="1869"/>
          <ac:grpSpMkLst>
            <pc:docMk/>
            <pc:sldMk cId="846681760" sldId="1708"/>
            <ac:grpSpMk id="166" creationId="{499B7CDC-3157-41B2-B1E0-52F1968A99F8}"/>
          </ac:grpSpMkLst>
        </pc:grpChg>
        <pc:grpChg chg="add del mod">
          <ac:chgData name="Yash Ratanpal" userId="5db668b1-93e7-4c08-9786-4ed81315a653" providerId="ADAL" clId="{3F7A7787-00CA-42A0-97CD-637349527123}" dt="2021-07-11T13:54:11.614" v="1869"/>
          <ac:grpSpMkLst>
            <pc:docMk/>
            <pc:sldMk cId="846681760" sldId="1708"/>
            <ac:grpSpMk id="173" creationId="{2136E42C-A8D3-4716-80F2-ACD0BEDE82F5}"/>
          </ac:grpSpMkLst>
        </pc:grpChg>
        <pc:grpChg chg="add del mod">
          <ac:chgData name="Yash Ratanpal" userId="5db668b1-93e7-4c08-9786-4ed81315a653" providerId="ADAL" clId="{3F7A7787-00CA-42A0-97CD-637349527123}" dt="2021-07-11T13:54:11.614" v="1869"/>
          <ac:grpSpMkLst>
            <pc:docMk/>
            <pc:sldMk cId="846681760" sldId="1708"/>
            <ac:grpSpMk id="179" creationId="{A47D1D49-4859-43F9-971D-8B4A7DC2BDF5}"/>
          </ac:grpSpMkLst>
        </pc:grpChg>
        <pc:grpChg chg="add del mod">
          <ac:chgData name="Yash Ratanpal" userId="5db668b1-93e7-4c08-9786-4ed81315a653" providerId="ADAL" clId="{3F7A7787-00CA-42A0-97CD-637349527123}" dt="2021-07-11T13:54:11.614" v="1869"/>
          <ac:grpSpMkLst>
            <pc:docMk/>
            <pc:sldMk cId="846681760" sldId="1708"/>
            <ac:grpSpMk id="183" creationId="{22B4F4B9-2B8D-4E24-9860-22736C87852B}"/>
          </ac:grpSpMkLst>
        </pc:grpChg>
        <pc:cxnChg chg="add del mod">
          <ac:chgData name="Yash Ratanpal" userId="5db668b1-93e7-4c08-9786-4ed81315a653" providerId="ADAL" clId="{3F7A7787-00CA-42A0-97CD-637349527123}" dt="2021-07-11T13:54:11.614" v="1869"/>
          <ac:cxnSpMkLst>
            <pc:docMk/>
            <pc:sldMk cId="846681760" sldId="1708"/>
            <ac:cxnSpMk id="187" creationId="{1024BA14-BD19-466E-A0EC-2A412B72D8C5}"/>
          </ac:cxnSpMkLst>
        </pc:cxnChg>
        <pc:cxnChg chg="add del mod">
          <ac:chgData name="Yash Ratanpal" userId="5db668b1-93e7-4c08-9786-4ed81315a653" providerId="ADAL" clId="{3F7A7787-00CA-42A0-97CD-637349527123}" dt="2021-07-11T13:54:11.614" v="1869"/>
          <ac:cxnSpMkLst>
            <pc:docMk/>
            <pc:sldMk cId="846681760" sldId="1708"/>
            <ac:cxnSpMk id="188" creationId="{12249BC2-3375-4609-921D-097EE8D7494A}"/>
          </ac:cxnSpMkLst>
        </pc:cxnChg>
      </pc:sldChg>
      <pc:sldChg chg="addSp delSp modSp add del mod">
        <pc:chgData name="Yash Ratanpal" userId="5db668b1-93e7-4c08-9786-4ed81315a653" providerId="ADAL" clId="{3F7A7787-00CA-42A0-97CD-637349527123}" dt="2021-07-11T13:54:11.922" v="1870" actId="2890"/>
        <pc:sldMkLst>
          <pc:docMk/>
          <pc:sldMk cId="2310524504" sldId="1709"/>
        </pc:sldMkLst>
        <pc:spChg chg="mod">
          <ac:chgData name="Yash Ratanpal" userId="5db668b1-93e7-4c08-9786-4ed81315a653" providerId="ADAL" clId="{3F7A7787-00CA-42A0-97CD-637349527123}" dt="2021-07-11T13:54:06.994" v="1859"/>
          <ac:spMkLst>
            <pc:docMk/>
            <pc:sldMk cId="2310524504" sldId="1709"/>
            <ac:spMk id="3" creationId="{00000000-0000-0000-0000-000000000000}"/>
          </ac:spMkLst>
        </pc:spChg>
        <pc:spChg chg="add del mod">
          <ac:chgData name="Yash Ratanpal" userId="5db668b1-93e7-4c08-9786-4ed81315a653" providerId="ADAL" clId="{3F7A7787-00CA-42A0-97CD-637349527123}" dt="2021-07-11T13:54:10.899" v="1867"/>
          <ac:spMkLst>
            <pc:docMk/>
            <pc:sldMk cId="2310524504" sldId="1709"/>
            <ac:spMk id="4" creationId="{10D72EA8-D1F6-4485-8745-A74698D7D3CA}"/>
          </ac:spMkLst>
        </pc:spChg>
        <pc:spChg chg="add del mod">
          <ac:chgData name="Yash Ratanpal" userId="5db668b1-93e7-4c08-9786-4ed81315a653" providerId="ADAL" clId="{3F7A7787-00CA-42A0-97CD-637349527123}" dt="2021-07-11T13:54:10.899" v="1867"/>
          <ac:spMkLst>
            <pc:docMk/>
            <pc:sldMk cId="2310524504" sldId="1709"/>
            <ac:spMk id="5" creationId="{94F26645-34E1-48FF-A940-74F6C5A87C06}"/>
          </ac:spMkLst>
        </pc:spChg>
        <pc:spChg chg="add del mod">
          <ac:chgData name="Yash Ratanpal" userId="5db668b1-93e7-4c08-9786-4ed81315a653" providerId="ADAL" clId="{3F7A7787-00CA-42A0-97CD-637349527123}" dt="2021-07-11T13:54:10.899" v="1867"/>
          <ac:spMkLst>
            <pc:docMk/>
            <pc:sldMk cId="2310524504" sldId="1709"/>
            <ac:spMk id="6" creationId="{0A23313A-D3B7-4F93-BFBF-D40FC22E70C8}"/>
          </ac:spMkLst>
        </pc:spChg>
        <pc:spChg chg="add del mod">
          <ac:chgData name="Yash Ratanpal" userId="5db668b1-93e7-4c08-9786-4ed81315a653" providerId="ADAL" clId="{3F7A7787-00CA-42A0-97CD-637349527123}" dt="2021-07-11T13:54:10.899" v="1867"/>
          <ac:spMkLst>
            <pc:docMk/>
            <pc:sldMk cId="2310524504" sldId="1709"/>
            <ac:spMk id="7" creationId="{E45AE255-AA42-4CBE-A76B-A7C878EED862}"/>
          </ac:spMkLst>
        </pc:spChg>
        <pc:spChg chg="add del mod">
          <ac:chgData name="Yash Ratanpal" userId="5db668b1-93e7-4c08-9786-4ed81315a653" providerId="ADAL" clId="{3F7A7787-00CA-42A0-97CD-637349527123}" dt="2021-07-11T13:54:10.899" v="1867"/>
          <ac:spMkLst>
            <pc:docMk/>
            <pc:sldMk cId="2310524504" sldId="1709"/>
            <ac:spMk id="8" creationId="{D2478467-6620-48B0-B7A2-13B791B5552B}"/>
          </ac:spMkLst>
        </pc:spChg>
        <pc:spChg chg="add del mod">
          <ac:chgData name="Yash Ratanpal" userId="5db668b1-93e7-4c08-9786-4ed81315a653" providerId="ADAL" clId="{3F7A7787-00CA-42A0-97CD-637349527123}" dt="2021-07-11T13:54:10.899" v="1867"/>
          <ac:spMkLst>
            <pc:docMk/>
            <pc:sldMk cId="2310524504" sldId="1709"/>
            <ac:spMk id="9" creationId="{F460DCDC-DA6E-4405-87A8-9AA146E5FD20}"/>
          </ac:spMkLst>
        </pc:spChg>
        <pc:spChg chg="add del mod">
          <ac:chgData name="Yash Ratanpal" userId="5db668b1-93e7-4c08-9786-4ed81315a653" providerId="ADAL" clId="{3F7A7787-00CA-42A0-97CD-637349527123}" dt="2021-07-11T13:54:10.899" v="1867"/>
          <ac:spMkLst>
            <pc:docMk/>
            <pc:sldMk cId="2310524504" sldId="1709"/>
            <ac:spMk id="10" creationId="{85E0594C-F343-4664-A751-741C4AFB5571}"/>
          </ac:spMkLst>
        </pc:spChg>
        <pc:spChg chg="add del mod">
          <ac:chgData name="Yash Ratanpal" userId="5db668b1-93e7-4c08-9786-4ed81315a653" providerId="ADAL" clId="{3F7A7787-00CA-42A0-97CD-637349527123}" dt="2021-07-11T13:54:10.899" v="1867"/>
          <ac:spMkLst>
            <pc:docMk/>
            <pc:sldMk cId="2310524504" sldId="1709"/>
            <ac:spMk id="11" creationId="{CD5BFBB5-C43D-4F12-A4EC-2675D5C517A6}"/>
          </ac:spMkLst>
        </pc:spChg>
        <pc:spChg chg="add del mod">
          <ac:chgData name="Yash Ratanpal" userId="5db668b1-93e7-4c08-9786-4ed81315a653" providerId="ADAL" clId="{3F7A7787-00CA-42A0-97CD-637349527123}" dt="2021-07-11T13:54:10.899" v="1867"/>
          <ac:spMkLst>
            <pc:docMk/>
            <pc:sldMk cId="2310524504" sldId="1709"/>
            <ac:spMk id="12" creationId="{31EBBE16-FAA7-4205-A731-D9206776E2BE}"/>
          </ac:spMkLst>
        </pc:spChg>
        <pc:spChg chg="mod">
          <ac:chgData name="Yash Ratanpal" userId="5db668b1-93e7-4c08-9786-4ed81315a653" providerId="ADAL" clId="{3F7A7787-00CA-42A0-97CD-637349527123}" dt="2021-07-11T13:50:23.821" v="1818"/>
          <ac:spMkLst>
            <pc:docMk/>
            <pc:sldMk cId="2310524504" sldId="1709"/>
            <ac:spMk id="14" creationId="{B8D94BDB-7B4D-40C1-A01B-89A4E6FD376E}"/>
          </ac:spMkLst>
        </pc:spChg>
        <pc:spChg chg="mod">
          <ac:chgData name="Yash Ratanpal" userId="5db668b1-93e7-4c08-9786-4ed81315a653" providerId="ADAL" clId="{3F7A7787-00CA-42A0-97CD-637349527123}" dt="2021-07-11T13:50:23.821" v="1818"/>
          <ac:spMkLst>
            <pc:docMk/>
            <pc:sldMk cId="2310524504" sldId="1709"/>
            <ac:spMk id="15" creationId="{31DE73FB-9A3B-4501-8F41-830769D0EB02}"/>
          </ac:spMkLst>
        </pc:spChg>
        <pc:spChg chg="mod">
          <ac:chgData name="Yash Ratanpal" userId="5db668b1-93e7-4c08-9786-4ed81315a653" providerId="ADAL" clId="{3F7A7787-00CA-42A0-97CD-637349527123}" dt="2021-07-11T13:50:23.821" v="1818"/>
          <ac:spMkLst>
            <pc:docMk/>
            <pc:sldMk cId="2310524504" sldId="1709"/>
            <ac:spMk id="16" creationId="{EB1B0953-BD56-4C51-9A00-2C4B1F82711A}"/>
          </ac:spMkLst>
        </pc:spChg>
        <pc:spChg chg="mod">
          <ac:chgData name="Yash Ratanpal" userId="5db668b1-93e7-4c08-9786-4ed81315a653" providerId="ADAL" clId="{3F7A7787-00CA-42A0-97CD-637349527123}" dt="2021-07-11T13:50:23.821" v="1818"/>
          <ac:spMkLst>
            <pc:docMk/>
            <pc:sldMk cId="2310524504" sldId="1709"/>
            <ac:spMk id="18" creationId="{08620544-E889-4B0A-823F-FF991B0E2B73}"/>
          </ac:spMkLst>
        </pc:spChg>
        <pc:spChg chg="mod">
          <ac:chgData name="Yash Ratanpal" userId="5db668b1-93e7-4c08-9786-4ed81315a653" providerId="ADAL" clId="{3F7A7787-00CA-42A0-97CD-637349527123}" dt="2021-07-11T13:50:23.821" v="1818"/>
          <ac:spMkLst>
            <pc:docMk/>
            <pc:sldMk cId="2310524504" sldId="1709"/>
            <ac:spMk id="19" creationId="{610BCC53-EC40-4B9B-A9EA-3FFE35636614}"/>
          </ac:spMkLst>
        </pc:spChg>
        <pc:spChg chg="mod">
          <ac:chgData name="Yash Ratanpal" userId="5db668b1-93e7-4c08-9786-4ed81315a653" providerId="ADAL" clId="{3F7A7787-00CA-42A0-97CD-637349527123}" dt="2021-07-11T13:50:23.821" v="1818"/>
          <ac:spMkLst>
            <pc:docMk/>
            <pc:sldMk cId="2310524504" sldId="1709"/>
            <ac:spMk id="20" creationId="{B5599A72-9006-4679-816C-D2DEC301496C}"/>
          </ac:spMkLst>
        </pc:spChg>
        <pc:spChg chg="add del mod">
          <ac:chgData name="Yash Ratanpal" userId="5db668b1-93e7-4c08-9786-4ed81315a653" providerId="ADAL" clId="{3F7A7787-00CA-42A0-97CD-637349527123}" dt="2021-07-11T13:54:10.899" v="1867"/>
          <ac:spMkLst>
            <pc:docMk/>
            <pc:sldMk cId="2310524504" sldId="1709"/>
            <ac:spMk id="21" creationId="{EA7A777D-059F-4894-8F7C-8F2D53A06F7F}"/>
          </ac:spMkLst>
        </pc:spChg>
        <pc:spChg chg="add del mod">
          <ac:chgData name="Yash Ratanpal" userId="5db668b1-93e7-4c08-9786-4ed81315a653" providerId="ADAL" clId="{3F7A7787-00CA-42A0-97CD-637349527123}" dt="2021-07-11T13:54:10.899" v="1867"/>
          <ac:spMkLst>
            <pc:docMk/>
            <pc:sldMk cId="2310524504" sldId="1709"/>
            <ac:spMk id="22" creationId="{5A74B7EB-B8B1-402A-A274-D73A1BD0A403}"/>
          </ac:spMkLst>
        </pc:spChg>
        <pc:spChg chg="mod">
          <ac:chgData name="Yash Ratanpal" userId="5db668b1-93e7-4c08-9786-4ed81315a653" providerId="ADAL" clId="{3F7A7787-00CA-42A0-97CD-637349527123}" dt="2021-07-11T13:50:23.821" v="1818"/>
          <ac:spMkLst>
            <pc:docMk/>
            <pc:sldMk cId="2310524504" sldId="1709"/>
            <ac:spMk id="24" creationId="{8BE873F0-31B3-42E3-862B-D5718E77B3F6}"/>
          </ac:spMkLst>
        </pc:spChg>
        <pc:spChg chg="mod">
          <ac:chgData name="Yash Ratanpal" userId="5db668b1-93e7-4c08-9786-4ed81315a653" providerId="ADAL" clId="{3F7A7787-00CA-42A0-97CD-637349527123}" dt="2021-07-11T13:50:23.821" v="1818"/>
          <ac:spMkLst>
            <pc:docMk/>
            <pc:sldMk cId="2310524504" sldId="1709"/>
            <ac:spMk id="25" creationId="{21EC0BE1-48F4-4D62-9459-4AB794C3347D}"/>
          </ac:spMkLst>
        </pc:spChg>
        <pc:spChg chg="mod">
          <ac:chgData name="Yash Ratanpal" userId="5db668b1-93e7-4c08-9786-4ed81315a653" providerId="ADAL" clId="{3F7A7787-00CA-42A0-97CD-637349527123}" dt="2021-07-11T13:50:23.821" v="1818"/>
          <ac:spMkLst>
            <pc:docMk/>
            <pc:sldMk cId="2310524504" sldId="1709"/>
            <ac:spMk id="26" creationId="{A43ECA5F-5663-4621-A09F-CABA2EB8D0C9}"/>
          </ac:spMkLst>
        </pc:spChg>
        <pc:spChg chg="mod">
          <ac:chgData name="Yash Ratanpal" userId="5db668b1-93e7-4c08-9786-4ed81315a653" providerId="ADAL" clId="{3F7A7787-00CA-42A0-97CD-637349527123}" dt="2021-07-11T13:50:23.821" v="1818"/>
          <ac:spMkLst>
            <pc:docMk/>
            <pc:sldMk cId="2310524504" sldId="1709"/>
            <ac:spMk id="28" creationId="{042B871A-8E60-4B63-950A-C9C8B694CC9D}"/>
          </ac:spMkLst>
        </pc:spChg>
        <pc:spChg chg="mod">
          <ac:chgData name="Yash Ratanpal" userId="5db668b1-93e7-4c08-9786-4ed81315a653" providerId="ADAL" clId="{3F7A7787-00CA-42A0-97CD-637349527123}" dt="2021-07-11T13:50:23.821" v="1818"/>
          <ac:spMkLst>
            <pc:docMk/>
            <pc:sldMk cId="2310524504" sldId="1709"/>
            <ac:spMk id="29" creationId="{09346A6F-4D40-4285-A8AD-F7C206CDF083}"/>
          </ac:spMkLst>
        </pc:spChg>
        <pc:spChg chg="mod">
          <ac:chgData name="Yash Ratanpal" userId="5db668b1-93e7-4c08-9786-4ed81315a653" providerId="ADAL" clId="{3F7A7787-00CA-42A0-97CD-637349527123}" dt="2021-07-11T13:50:23.821" v="1818"/>
          <ac:spMkLst>
            <pc:docMk/>
            <pc:sldMk cId="2310524504" sldId="1709"/>
            <ac:spMk id="30" creationId="{36ABA24D-EAA6-45BF-A582-764B034CC117}"/>
          </ac:spMkLst>
        </pc:spChg>
        <pc:spChg chg="add del mod">
          <ac:chgData name="Yash Ratanpal" userId="5db668b1-93e7-4c08-9786-4ed81315a653" providerId="ADAL" clId="{3F7A7787-00CA-42A0-97CD-637349527123}" dt="2021-07-11T13:54:10.899" v="1867"/>
          <ac:spMkLst>
            <pc:docMk/>
            <pc:sldMk cId="2310524504" sldId="1709"/>
            <ac:spMk id="31" creationId="{E3340A43-484C-4217-8DDF-217B2831A52D}"/>
          </ac:spMkLst>
        </pc:spChg>
        <pc:spChg chg="add del mod">
          <ac:chgData name="Yash Ratanpal" userId="5db668b1-93e7-4c08-9786-4ed81315a653" providerId="ADAL" clId="{3F7A7787-00CA-42A0-97CD-637349527123}" dt="2021-07-11T13:54:10.899" v="1867"/>
          <ac:spMkLst>
            <pc:docMk/>
            <pc:sldMk cId="2310524504" sldId="1709"/>
            <ac:spMk id="32" creationId="{3CE156C5-71C2-4F54-BEA0-A0BFFE0B1DA3}"/>
          </ac:spMkLst>
        </pc:spChg>
        <pc:grpChg chg="add del mod">
          <ac:chgData name="Yash Ratanpal" userId="5db668b1-93e7-4c08-9786-4ed81315a653" providerId="ADAL" clId="{3F7A7787-00CA-42A0-97CD-637349527123}" dt="2021-07-11T13:54:10.899" v="1867"/>
          <ac:grpSpMkLst>
            <pc:docMk/>
            <pc:sldMk cId="2310524504" sldId="1709"/>
            <ac:grpSpMk id="13" creationId="{08B228F4-CFAE-4E3D-840E-2C85D08DCA30}"/>
          </ac:grpSpMkLst>
        </pc:grpChg>
        <pc:grpChg chg="add del mod">
          <ac:chgData name="Yash Ratanpal" userId="5db668b1-93e7-4c08-9786-4ed81315a653" providerId="ADAL" clId="{3F7A7787-00CA-42A0-97CD-637349527123}" dt="2021-07-11T13:54:10.899" v="1867"/>
          <ac:grpSpMkLst>
            <pc:docMk/>
            <pc:sldMk cId="2310524504" sldId="1709"/>
            <ac:grpSpMk id="17" creationId="{9A4BFF26-7286-4BE7-844B-3C85C6A2C90C}"/>
          </ac:grpSpMkLst>
        </pc:grpChg>
        <pc:grpChg chg="add del mod">
          <ac:chgData name="Yash Ratanpal" userId="5db668b1-93e7-4c08-9786-4ed81315a653" providerId="ADAL" clId="{3F7A7787-00CA-42A0-97CD-637349527123}" dt="2021-07-11T13:54:10.899" v="1867"/>
          <ac:grpSpMkLst>
            <pc:docMk/>
            <pc:sldMk cId="2310524504" sldId="1709"/>
            <ac:grpSpMk id="23" creationId="{83443F2E-DDD9-4B11-B9B4-F0AC43A575D6}"/>
          </ac:grpSpMkLst>
        </pc:grpChg>
        <pc:grpChg chg="add del mod">
          <ac:chgData name="Yash Ratanpal" userId="5db668b1-93e7-4c08-9786-4ed81315a653" providerId="ADAL" clId="{3F7A7787-00CA-42A0-97CD-637349527123}" dt="2021-07-11T13:54:10.899" v="1867"/>
          <ac:grpSpMkLst>
            <pc:docMk/>
            <pc:sldMk cId="2310524504" sldId="1709"/>
            <ac:grpSpMk id="27" creationId="{2DFB2494-F00D-458E-99FD-39466CE00F8F}"/>
          </ac:grpSpMkLst>
        </pc:grpChg>
      </pc:sldChg>
      <pc:sldChg chg="addSp delSp modSp add del mod">
        <pc:chgData name="Yash Ratanpal" userId="5db668b1-93e7-4c08-9786-4ed81315a653" providerId="ADAL" clId="{3F7A7787-00CA-42A0-97CD-637349527123}" dt="2021-07-18T16:30:32.003" v="7492" actId="47"/>
        <pc:sldMkLst>
          <pc:docMk/>
          <pc:sldMk cId="2926816761" sldId="1709"/>
        </pc:sldMkLst>
        <pc:spChg chg="mod">
          <ac:chgData name="Yash Ratanpal" userId="5db668b1-93e7-4c08-9786-4ed81315a653" providerId="ADAL" clId="{3F7A7787-00CA-42A0-97CD-637349527123}" dt="2021-07-11T14:10:13.293" v="2430" actId="1076"/>
          <ac:spMkLst>
            <pc:docMk/>
            <pc:sldMk cId="2926816761" sldId="1709"/>
            <ac:spMk id="3" creationId="{00000000-0000-0000-0000-000000000000}"/>
          </ac:spMkLst>
        </pc:spChg>
        <pc:spChg chg="add del mod">
          <ac:chgData name="Yash Ratanpal" userId="5db668b1-93e7-4c08-9786-4ed81315a653" providerId="ADAL" clId="{3F7A7787-00CA-42A0-97CD-637349527123}" dt="2021-07-11T14:08:56.455" v="2355"/>
          <ac:spMkLst>
            <pc:docMk/>
            <pc:sldMk cId="2926816761" sldId="1709"/>
            <ac:spMk id="37" creationId="{52E420B6-3C20-4215-817E-192A5CCB69DC}"/>
          </ac:spMkLst>
        </pc:spChg>
        <pc:spChg chg="mod">
          <ac:chgData name="Yash Ratanpal" userId="5db668b1-93e7-4c08-9786-4ed81315a653" providerId="ADAL" clId="{3F7A7787-00CA-42A0-97CD-637349527123}" dt="2021-07-11T14:08:55.463" v="2354"/>
          <ac:spMkLst>
            <pc:docMk/>
            <pc:sldMk cId="2926816761" sldId="1709"/>
            <ac:spMk id="42" creationId="{899ED336-EA0F-4F0C-A868-C6947C5857E7}"/>
          </ac:spMkLst>
        </pc:spChg>
        <pc:spChg chg="mod">
          <ac:chgData name="Yash Ratanpal" userId="5db668b1-93e7-4c08-9786-4ed81315a653" providerId="ADAL" clId="{3F7A7787-00CA-42A0-97CD-637349527123}" dt="2021-07-11T14:08:55.463" v="2354"/>
          <ac:spMkLst>
            <pc:docMk/>
            <pc:sldMk cId="2926816761" sldId="1709"/>
            <ac:spMk id="43" creationId="{C3E33E0F-87EB-4494-BA0C-A8B0CEEB33D9}"/>
          </ac:spMkLst>
        </pc:spChg>
        <pc:spChg chg="mod">
          <ac:chgData name="Yash Ratanpal" userId="5db668b1-93e7-4c08-9786-4ed81315a653" providerId="ADAL" clId="{3F7A7787-00CA-42A0-97CD-637349527123}" dt="2021-07-11T14:08:55.463" v="2354"/>
          <ac:spMkLst>
            <pc:docMk/>
            <pc:sldMk cId="2926816761" sldId="1709"/>
            <ac:spMk id="51" creationId="{11C935CE-BF56-4287-8F36-F4578330C3A2}"/>
          </ac:spMkLst>
        </pc:spChg>
        <pc:spChg chg="mod">
          <ac:chgData name="Yash Ratanpal" userId="5db668b1-93e7-4c08-9786-4ed81315a653" providerId="ADAL" clId="{3F7A7787-00CA-42A0-97CD-637349527123}" dt="2021-07-11T14:08:55.463" v="2354"/>
          <ac:spMkLst>
            <pc:docMk/>
            <pc:sldMk cId="2926816761" sldId="1709"/>
            <ac:spMk id="52" creationId="{CA54BE93-C386-4EAC-90D5-F0B580B22C36}"/>
          </ac:spMkLst>
        </pc:spChg>
        <pc:spChg chg="mod">
          <ac:chgData name="Yash Ratanpal" userId="5db668b1-93e7-4c08-9786-4ed81315a653" providerId="ADAL" clId="{3F7A7787-00CA-42A0-97CD-637349527123}" dt="2021-07-11T14:08:55.463" v="2354"/>
          <ac:spMkLst>
            <pc:docMk/>
            <pc:sldMk cId="2926816761" sldId="1709"/>
            <ac:spMk id="53" creationId="{6C108B09-C46E-44AF-BD94-93641010A996}"/>
          </ac:spMkLst>
        </pc:spChg>
        <pc:spChg chg="mod">
          <ac:chgData name="Yash Ratanpal" userId="5db668b1-93e7-4c08-9786-4ed81315a653" providerId="ADAL" clId="{3F7A7787-00CA-42A0-97CD-637349527123}" dt="2021-07-11T14:08:55.463" v="2354"/>
          <ac:spMkLst>
            <pc:docMk/>
            <pc:sldMk cId="2926816761" sldId="1709"/>
            <ac:spMk id="54" creationId="{75FD99B2-8992-4F92-B9BD-2B971732FBCB}"/>
          </ac:spMkLst>
        </pc:spChg>
        <pc:spChg chg="add del mod">
          <ac:chgData name="Yash Ratanpal" userId="5db668b1-93e7-4c08-9786-4ed81315a653" providerId="ADAL" clId="{3F7A7787-00CA-42A0-97CD-637349527123}" dt="2021-07-11T14:08:56.455" v="2355"/>
          <ac:spMkLst>
            <pc:docMk/>
            <pc:sldMk cId="2926816761" sldId="1709"/>
            <ac:spMk id="55" creationId="{9B8425A6-4DE4-4BDC-90EA-174DFA09DC13}"/>
          </ac:spMkLst>
        </pc:spChg>
        <pc:spChg chg="del">
          <ac:chgData name="Yash Ratanpal" userId="5db668b1-93e7-4c08-9786-4ed81315a653" providerId="ADAL" clId="{3F7A7787-00CA-42A0-97CD-637349527123}" dt="2021-07-11T14:08:48.418" v="2353" actId="478"/>
          <ac:spMkLst>
            <pc:docMk/>
            <pc:sldMk cId="2926816761" sldId="1709"/>
            <ac:spMk id="56" creationId="{A78810D2-7A0D-44D0-9252-C63E42258E30}"/>
          </ac:spMkLst>
        </pc:spChg>
        <pc:spChg chg="add del mod">
          <ac:chgData name="Yash Ratanpal" userId="5db668b1-93e7-4c08-9786-4ed81315a653" providerId="ADAL" clId="{3F7A7787-00CA-42A0-97CD-637349527123}" dt="2021-07-11T14:08:56.455" v="2355"/>
          <ac:spMkLst>
            <pc:docMk/>
            <pc:sldMk cId="2926816761" sldId="1709"/>
            <ac:spMk id="57" creationId="{BE64FA79-D11E-4684-B694-B40E53FE6654}"/>
          </ac:spMkLst>
        </pc:spChg>
        <pc:spChg chg="mod">
          <ac:chgData name="Yash Ratanpal" userId="5db668b1-93e7-4c08-9786-4ed81315a653" providerId="ADAL" clId="{3F7A7787-00CA-42A0-97CD-637349527123}" dt="2021-07-11T14:08:55.463" v="2354"/>
          <ac:spMkLst>
            <pc:docMk/>
            <pc:sldMk cId="2926816761" sldId="1709"/>
            <ac:spMk id="59" creationId="{C844668E-51D5-4532-A7C2-8E1E4005F728}"/>
          </ac:spMkLst>
        </pc:spChg>
        <pc:spChg chg="mod">
          <ac:chgData name="Yash Ratanpal" userId="5db668b1-93e7-4c08-9786-4ed81315a653" providerId="ADAL" clId="{3F7A7787-00CA-42A0-97CD-637349527123}" dt="2021-07-11T14:08:55.463" v="2354"/>
          <ac:spMkLst>
            <pc:docMk/>
            <pc:sldMk cId="2926816761" sldId="1709"/>
            <ac:spMk id="60" creationId="{FFDE5B37-279E-4978-86AD-DB24AE654213}"/>
          </ac:spMkLst>
        </pc:spChg>
        <pc:spChg chg="mod">
          <ac:chgData name="Yash Ratanpal" userId="5db668b1-93e7-4c08-9786-4ed81315a653" providerId="ADAL" clId="{3F7A7787-00CA-42A0-97CD-637349527123}" dt="2021-07-11T14:08:55.463" v="2354"/>
          <ac:spMkLst>
            <pc:docMk/>
            <pc:sldMk cId="2926816761" sldId="1709"/>
            <ac:spMk id="62" creationId="{E1AAE9EF-7AFF-4BE5-A2A1-F2DD90F666E8}"/>
          </ac:spMkLst>
        </pc:spChg>
        <pc:spChg chg="mod">
          <ac:chgData name="Yash Ratanpal" userId="5db668b1-93e7-4c08-9786-4ed81315a653" providerId="ADAL" clId="{3F7A7787-00CA-42A0-97CD-637349527123}" dt="2021-07-11T14:08:55.463" v="2354"/>
          <ac:spMkLst>
            <pc:docMk/>
            <pc:sldMk cId="2926816761" sldId="1709"/>
            <ac:spMk id="63" creationId="{72A30DB3-FD5C-4E24-BE65-4AE63A74F68C}"/>
          </ac:spMkLst>
        </pc:spChg>
        <pc:spChg chg="mod">
          <ac:chgData name="Yash Ratanpal" userId="5db668b1-93e7-4c08-9786-4ed81315a653" providerId="ADAL" clId="{3F7A7787-00CA-42A0-97CD-637349527123}" dt="2021-07-11T14:08:55.463" v="2354"/>
          <ac:spMkLst>
            <pc:docMk/>
            <pc:sldMk cId="2926816761" sldId="1709"/>
            <ac:spMk id="65" creationId="{8A9EE539-186D-48F8-A39A-C09FA492878B}"/>
          </ac:spMkLst>
        </pc:spChg>
        <pc:spChg chg="mod">
          <ac:chgData name="Yash Ratanpal" userId="5db668b1-93e7-4c08-9786-4ed81315a653" providerId="ADAL" clId="{3F7A7787-00CA-42A0-97CD-637349527123}" dt="2021-07-11T14:08:55.463" v="2354"/>
          <ac:spMkLst>
            <pc:docMk/>
            <pc:sldMk cId="2926816761" sldId="1709"/>
            <ac:spMk id="66" creationId="{D5F59B1E-4A3A-4CAD-BD64-8AAC3E5C595B}"/>
          </ac:spMkLst>
        </pc:spChg>
        <pc:spChg chg="add del mod">
          <ac:chgData name="Yash Ratanpal" userId="5db668b1-93e7-4c08-9786-4ed81315a653" providerId="ADAL" clId="{3F7A7787-00CA-42A0-97CD-637349527123}" dt="2021-07-11T14:08:56.455" v="2355"/>
          <ac:spMkLst>
            <pc:docMk/>
            <pc:sldMk cId="2926816761" sldId="1709"/>
            <ac:spMk id="78" creationId="{CB5BCFE3-CA28-407C-8F1D-AF9DE1AC584B}"/>
          </ac:spMkLst>
        </pc:spChg>
        <pc:spChg chg="add mod">
          <ac:chgData name="Yash Ratanpal" userId="5db668b1-93e7-4c08-9786-4ed81315a653" providerId="ADAL" clId="{3F7A7787-00CA-42A0-97CD-637349527123}" dt="2021-07-11T14:09:51.056" v="2366" actId="164"/>
          <ac:spMkLst>
            <pc:docMk/>
            <pc:sldMk cId="2926816761" sldId="1709"/>
            <ac:spMk id="80" creationId="{78CE48F2-7BF1-4F28-9A6B-C88D017AD482}"/>
          </ac:spMkLst>
        </pc:spChg>
        <pc:spChg chg="mod">
          <ac:chgData name="Yash Ratanpal" userId="5db668b1-93e7-4c08-9786-4ed81315a653" providerId="ADAL" clId="{3F7A7787-00CA-42A0-97CD-637349527123}" dt="2021-07-11T14:09:27.482" v="2356"/>
          <ac:spMkLst>
            <pc:docMk/>
            <pc:sldMk cId="2926816761" sldId="1709"/>
            <ac:spMk id="85" creationId="{B294815B-8209-4FAF-ABE4-F0F264454012}"/>
          </ac:spMkLst>
        </pc:spChg>
        <pc:spChg chg="mod">
          <ac:chgData name="Yash Ratanpal" userId="5db668b1-93e7-4c08-9786-4ed81315a653" providerId="ADAL" clId="{3F7A7787-00CA-42A0-97CD-637349527123}" dt="2021-07-11T14:09:27.482" v="2356"/>
          <ac:spMkLst>
            <pc:docMk/>
            <pc:sldMk cId="2926816761" sldId="1709"/>
            <ac:spMk id="86" creationId="{249B40F9-90DC-4472-BD2A-BDC2E5B6136F}"/>
          </ac:spMkLst>
        </pc:spChg>
        <pc:spChg chg="del mod">
          <ac:chgData name="Yash Ratanpal" userId="5db668b1-93e7-4c08-9786-4ed81315a653" providerId="ADAL" clId="{3F7A7787-00CA-42A0-97CD-637349527123}" dt="2021-07-11T14:09:33.449" v="2360" actId="478"/>
          <ac:spMkLst>
            <pc:docMk/>
            <pc:sldMk cId="2926816761" sldId="1709"/>
            <ac:spMk id="87" creationId="{32CCF6C2-DA88-4C18-8F79-085DCF459FB9}"/>
          </ac:spMkLst>
        </pc:spChg>
        <pc:spChg chg="del mod">
          <ac:chgData name="Yash Ratanpal" userId="5db668b1-93e7-4c08-9786-4ed81315a653" providerId="ADAL" clId="{3F7A7787-00CA-42A0-97CD-637349527123}" dt="2021-07-11T14:09:34.651" v="2361" actId="478"/>
          <ac:spMkLst>
            <pc:docMk/>
            <pc:sldMk cId="2926816761" sldId="1709"/>
            <ac:spMk id="88" creationId="{2BDC99FE-8A82-41D7-B7CD-44BF5E47927E}"/>
          </ac:spMkLst>
        </pc:spChg>
        <pc:spChg chg="mod">
          <ac:chgData name="Yash Ratanpal" userId="5db668b1-93e7-4c08-9786-4ed81315a653" providerId="ADAL" clId="{3F7A7787-00CA-42A0-97CD-637349527123}" dt="2021-07-11T14:09:27.482" v="2356"/>
          <ac:spMkLst>
            <pc:docMk/>
            <pc:sldMk cId="2926816761" sldId="1709"/>
            <ac:spMk id="89" creationId="{111BEF20-92BB-4E3E-A029-9D4DD3B18E6F}"/>
          </ac:spMkLst>
        </pc:spChg>
        <pc:spChg chg="mod">
          <ac:chgData name="Yash Ratanpal" userId="5db668b1-93e7-4c08-9786-4ed81315a653" providerId="ADAL" clId="{3F7A7787-00CA-42A0-97CD-637349527123}" dt="2021-07-11T14:09:27.482" v="2356"/>
          <ac:spMkLst>
            <pc:docMk/>
            <pc:sldMk cId="2926816761" sldId="1709"/>
            <ac:spMk id="90" creationId="{DA819A27-7056-4B05-AFB7-48FECB203350}"/>
          </ac:spMkLst>
        </pc:spChg>
        <pc:spChg chg="add mod">
          <ac:chgData name="Yash Ratanpal" userId="5db668b1-93e7-4c08-9786-4ed81315a653" providerId="ADAL" clId="{3F7A7787-00CA-42A0-97CD-637349527123}" dt="2021-07-11T14:09:51.056" v="2366" actId="164"/>
          <ac:spMkLst>
            <pc:docMk/>
            <pc:sldMk cId="2926816761" sldId="1709"/>
            <ac:spMk id="112" creationId="{FBC134BB-A763-430E-945F-81AB55471F51}"/>
          </ac:spMkLst>
        </pc:spChg>
        <pc:spChg chg="del">
          <ac:chgData name="Yash Ratanpal" userId="5db668b1-93e7-4c08-9786-4ed81315a653" providerId="ADAL" clId="{3F7A7787-00CA-42A0-97CD-637349527123}" dt="2021-07-11T14:08:48.418" v="2353" actId="478"/>
          <ac:spMkLst>
            <pc:docMk/>
            <pc:sldMk cId="2926816761" sldId="1709"/>
            <ac:spMk id="113" creationId="{9E53CF36-5EA2-4118-A7AE-9DF0CECB9A60}"/>
          </ac:spMkLst>
        </pc:spChg>
        <pc:spChg chg="add mod">
          <ac:chgData name="Yash Ratanpal" userId="5db668b1-93e7-4c08-9786-4ed81315a653" providerId="ADAL" clId="{3F7A7787-00CA-42A0-97CD-637349527123}" dt="2021-07-11T14:09:51.056" v="2366" actId="164"/>
          <ac:spMkLst>
            <pc:docMk/>
            <pc:sldMk cId="2926816761" sldId="1709"/>
            <ac:spMk id="114" creationId="{38FE2AA0-B0CB-4105-BAA8-7B66F3350C43}"/>
          </ac:spMkLst>
        </pc:spChg>
        <pc:spChg chg="mod">
          <ac:chgData name="Yash Ratanpal" userId="5db668b1-93e7-4c08-9786-4ed81315a653" providerId="ADAL" clId="{3F7A7787-00CA-42A0-97CD-637349527123}" dt="2021-07-11T14:09:27.482" v="2356"/>
          <ac:spMkLst>
            <pc:docMk/>
            <pc:sldMk cId="2926816761" sldId="1709"/>
            <ac:spMk id="116" creationId="{C0089B11-9E07-475B-8DB0-2D6EF88E02AE}"/>
          </ac:spMkLst>
        </pc:spChg>
        <pc:spChg chg="mod">
          <ac:chgData name="Yash Ratanpal" userId="5db668b1-93e7-4c08-9786-4ed81315a653" providerId="ADAL" clId="{3F7A7787-00CA-42A0-97CD-637349527123}" dt="2021-07-11T14:09:27.482" v="2356"/>
          <ac:spMkLst>
            <pc:docMk/>
            <pc:sldMk cId="2926816761" sldId="1709"/>
            <ac:spMk id="117" creationId="{D828B93F-F328-42FB-BFEC-82C606458D29}"/>
          </ac:spMkLst>
        </pc:spChg>
        <pc:spChg chg="mod">
          <ac:chgData name="Yash Ratanpal" userId="5db668b1-93e7-4c08-9786-4ed81315a653" providerId="ADAL" clId="{3F7A7787-00CA-42A0-97CD-637349527123}" dt="2021-07-11T14:09:27.482" v="2356"/>
          <ac:spMkLst>
            <pc:docMk/>
            <pc:sldMk cId="2926816761" sldId="1709"/>
            <ac:spMk id="119" creationId="{31D59A2D-23D4-4926-811A-0B98F9D9A755}"/>
          </ac:spMkLst>
        </pc:spChg>
        <pc:spChg chg="mod">
          <ac:chgData name="Yash Ratanpal" userId="5db668b1-93e7-4c08-9786-4ed81315a653" providerId="ADAL" clId="{3F7A7787-00CA-42A0-97CD-637349527123}" dt="2021-07-11T14:09:27.482" v="2356"/>
          <ac:spMkLst>
            <pc:docMk/>
            <pc:sldMk cId="2926816761" sldId="1709"/>
            <ac:spMk id="120" creationId="{2357F446-9FF6-4FC2-8571-2AFB4AAB98A1}"/>
          </ac:spMkLst>
        </pc:spChg>
        <pc:spChg chg="mod">
          <ac:chgData name="Yash Ratanpal" userId="5db668b1-93e7-4c08-9786-4ed81315a653" providerId="ADAL" clId="{3F7A7787-00CA-42A0-97CD-637349527123}" dt="2021-07-11T14:09:27.482" v="2356"/>
          <ac:spMkLst>
            <pc:docMk/>
            <pc:sldMk cId="2926816761" sldId="1709"/>
            <ac:spMk id="122" creationId="{CA44AD27-1D00-440C-AEFA-E19E3711DF37}"/>
          </ac:spMkLst>
        </pc:spChg>
        <pc:spChg chg="mod">
          <ac:chgData name="Yash Ratanpal" userId="5db668b1-93e7-4c08-9786-4ed81315a653" providerId="ADAL" clId="{3F7A7787-00CA-42A0-97CD-637349527123}" dt="2021-07-11T14:09:27.482" v="2356"/>
          <ac:spMkLst>
            <pc:docMk/>
            <pc:sldMk cId="2926816761" sldId="1709"/>
            <ac:spMk id="123" creationId="{A6605AE2-EB06-449B-BBEE-D1F5997F4575}"/>
          </ac:spMkLst>
        </pc:spChg>
        <pc:spChg chg="add mod">
          <ac:chgData name="Yash Ratanpal" userId="5db668b1-93e7-4c08-9786-4ed81315a653" providerId="ADAL" clId="{3F7A7787-00CA-42A0-97CD-637349527123}" dt="2021-07-11T14:09:51.056" v="2366" actId="164"/>
          <ac:spMkLst>
            <pc:docMk/>
            <pc:sldMk cId="2926816761" sldId="1709"/>
            <ac:spMk id="135" creationId="{47A3DE8B-172A-493D-86D3-46C504C7AB52}"/>
          </ac:spMkLst>
        </pc:spChg>
        <pc:grpChg chg="add mod">
          <ac:chgData name="Yash Ratanpal" userId="5db668b1-93e7-4c08-9786-4ed81315a653" providerId="ADAL" clId="{3F7A7787-00CA-42A0-97CD-637349527123}" dt="2021-07-11T14:09:56.656" v="2368" actId="1076"/>
          <ac:grpSpMkLst>
            <pc:docMk/>
            <pc:sldMk cId="2926816761" sldId="1709"/>
            <ac:grpSpMk id="4" creationId="{73BB5E1B-86DD-43C7-9D66-2A605EFE2E72}"/>
          </ac:grpSpMkLst>
        </pc:grpChg>
        <pc:grpChg chg="del">
          <ac:chgData name="Yash Ratanpal" userId="5db668b1-93e7-4c08-9786-4ed81315a653" providerId="ADAL" clId="{3F7A7787-00CA-42A0-97CD-637349527123}" dt="2021-07-11T14:08:48.418" v="2353" actId="478"/>
          <ac:grpSpMkLst>
            <pc:docMk/>
            <pc:sldMk cId="2926816761" sldId="1709"/>
            <ac:grpSpMk id="6" creationId="{BBD27EF2-9C38-4AB2-99C6-19B66FC8C747}"/>
          </ac:grpSpMkLst>
        </pc:grpChg>
        <pc:grpChg chg="del">
          <ac:chgData name="Yash Ratanpal" userId="5db668b1-93e7-4c08-9786-4ed81315a653" providerId="ADAL" clId="{3F7A7787-00CA-42A0-97CD-637349527123}" dt="2021-07-11T14:08:48.418" v="2353" actId="478"/>
          <ac:grpSpMkLst>
            <pc:docMk/>
            <pc:sldMk cId="2926816761" sldId="1709"/>
            <ac:grpSpMk id="8" creationId="{3602592A-8D8D-4C2D-AE21-E33185C30A74}"/>
          </ac:grpSpMkLst>
        </pc:grpChg>
        <pc:grpChg chg="add del mod">
          <ac:chgData name="Yash Ratanpal" userId="5db668b1-93e7-4c08-9786-4ed81315a653" providerId="ADAL" clId="{3F7A7787-00CA-42A0-97CD-637349527123}" dt="2021-07-11T14:08:56.455" v="2355"/>
          <ac:grpSpMkLst>
            <pc:docMk/>
            <pc:sldMk cId="2926816761" sldId="1709"/>
            <ac:grpSpMk id="38" creationId="{DA960D3E-B765-4838-A080-25004C640C4A}"/>
          </ac:grpSpMkLst>
        </pc:grpChg>
        <pc:grpChg chg="mod">
          <ac:chgData name="Yash Ratanpal" userId="5db668b1-93e7-4c08-9786-4ed81315a653" providerId="ADAL" clId="{3F7A7787-00CA-42A0-97CD-637349527123}" dt="2021-07-11T14:08:55.463" v="2354"/>
          <ac:grpSpMkLst>
            <pc:docMk/>
            <pc:sldMk cId="2926816761" sldId="1709"/>
            <ac:grpSpMk id="39" creationId="{C3048A6D-52BC-4EB6-94F1-AB8BCCCFFD73}"/>
          </ac:grpSpMkLst>
        </pc:grpChg>
        <pc:grpChg chg="mod">
          <ac:chgData name="Yash Ratanpal" userId="5db668b1-93e7-4c08-9786-4ed81315a653" providerId="ADAL" clId="{3F7A7787-00CA-42A0-97CD-637349527123}" dt="2021-07-11T14:08:55.463" v="2354"/>
          <ac:grpSpMkLst>
            <pc:docMk/>
            <pc:sldMk cId="2926816761" sldId="1709"/>
            <ac:grpSpMk id="40" creationId="{84F17074-2F14-4978-BEFF-BD09341AE97A}"/>
          </ac:grpSpMkLst>
        </pc:grpChg>
        <pc:grpChg chg="mod">
          <ac:chgData name="Yash Ratanpal" userId="5db668b1-93e7-4c08-9786-4ed81315a653" providerId="ADAL" clId="{3F7A7787-00CA-42A0-97CD-637349527123}" dt="2021-07-11T14:08:55.463" v="2354"/>
          <ac:grpSpMkLst>
            <pc:docMk/>
            <pc:sldMk cId="2926816761" sldId="1709"/>
            <ac:grpSpMk id="41" creationId="{ADFD31F1-3639-4C0C-881E-53E6DCA2A0D1}"/>
          </ac:grpSpMkLst>
        </pc:grpChg>
        <pc:grpChg chg="add del mod">
          <ac:chgData name="Yash Ratanpal" userId="5db668b1-93e7-4c08-9786-4ed81315a653" providerId="ADAL" clId="{3F7A7787-00CA-42A0-97CD-637349527123}" dt="2021-07-11T14:08:56.455" v="2355"/>
          <ac:grpSpMkLst>
            <pc:docMk/>
            <pc:sldMk cId="2926816761" sldId="1709"/>
            <ac:grpSpMk id="58" creationId="{C74CBEED-97AB-4B2F-9C62-F087A8B94256}"/>
          </ac:grpSpMkLst>
        </pc:grpChg>
        <pc:grpChg chg="add del mod">
          <ac:chgData name="Yash Ratanpal" userId="5db668b1-93e7-4c08-9786-4ed81315a653" providerId="ADAL" clId="{3F7A7787-00CA-42A0-97CD-637349527123}" dt="2021-07-11T14:08:56.455" v="2355"/>
          <ac:grpSpMkLst>
            <pc:docMk/>
            <pc:sldMk cId="2926816761" sldId="1709"/>
            <ac:grpSpMk id="61" creationId="{730990CB-483F-4FDA-B589-1A0BE89DFD52}"/>
          </ac:grpSpMkLst>
        </pc:grpChg>
        <pc:grpChg chg="add del mod">
          <ac:chgData name="Yash Ratanpal" userId="5db668b1-93e7-4c08-9786-4ed81315a653" providerId="ADAL" clId="{3F7A7787-00CA-42A0-97CD-637349527123}" dt="2021-07-11T14:08:56.455" v="2355"/>
          <ac:grpSpMkLst>
            <pc:docMk/>
            <pc:sldMk cId="2926816761" sldId="1709"/>
            <ac:grpSpMk id="64" creationId="{F38FDA22-4586-470B-9970-CB0CF65B71E4}"/>
          </ac:grpSpMkLst>
        </pc:grpChg>
        <pc:grpChg chg="add del mod">
          <ac:chgData name="Yash Ratanpal" userId="5db668b1-93e7-4c08-9786-4ed81315a653" providerId="ADAL" clId="{3F7A7787-00CA-42A0-97CD-637349527123}" dt="2021-07-11T14:08:56.455" v="2355"/>
          <ac:grpSpMkLst>
            <pc:docMk/>
            <pc:sldMk cId="2926816761" sldId="1709"/>
            <ac:grpSpMk id="67" creationId="{C5448AF0-767C-4EAD-ACD1-3DE540A9F677}"/>
          </ac:grpSpMkLst>
        </pc:grpChg>
        <pc:grpChg chg="add del mod">
          <ac:chgData name="Yash Ratanpal" userId="5db668b1-93e7-4c08-9786-4ed81315a653" providerId="ADAL" clId="{3F7A7787-00CA-42A0-97CD-637349527123}" dt="2021-07-11T14:08:56.455" v="2355"/>
          <ac:grpSpMkLst>
            <pc:docMk/>
            <pc:sldMk cId="2926816761" sldId="1709"/>
            <ac:grpSpMk id="72" creationId="{000A9A1E-96DF-4774-A389-7FDCAFBB60AB}"/>
          </ac:grpSpMkLst>
        </pc:grpChg>
        <pc:grpChg chg="add del mod">
          <ac:chgData name="Yash Ratanpal" userId="5db668b1-93e7-4c08-9786-4ed81315a653" providerId="ADAL" clId="{3F7A7787-00CA-42A0-97CD-637349527123}" dt="2021-07-11T14:09:51.056" v="2366" actId="164"/>
          <ac:grpSpMkLst>
            <pc:docMk/>
            <pc:sldMk cId="2926816761" sldId="1709"/>
            <ac:grpSpMk id="81" creationId="{4C1B7240-AC4A-4D43-9DD9-C3B0DACCF5F3}"/>
          </ac:grpSpMkLst>
        </pc:grpChg>
        <pc:grpChg chg="mod">
          <ac:chgData name="Yash Ratanpal" userId="5db668b1-93e7-4c08-9786-4ed81315a653" providerId="ADAL" clId="{3F7A7787-00CA-42A0-97CD-637349527123}" dt="2021-07-11T14:09:27.482" v="2356"/>
          <ac:grpSpMkLst>
            <pc:docMk/>
            <pc:sldMk cId="2926816761" sldId="1709"/>
            <ac:grpSpMk id="82" creationId="{F358FDD8-C6B7-428C-9D13-7B1016B7CC1F}"/>
          </ac:grpSpMkLst>
        </pc:grpChg>
        <pc:grpChg chg="del mod">
          <ac:chgData name="Yash Ratanpal" userId="5db668b1-93e7-4c08-9786-4ed81315a653" providerId="ADAL" clId="{3F7A7787-00CA-42A0-97CD-637349527123}" dt="2021-07-11T14:09:33.449" v="2360" actId="478"/>
          <ac:grpSpMkLst>
            <pc:docMk/>
            <pc:sldMk cId="2926816761" sldId="1709"/>
            <ac:grpSpMk id="83" creationId="{D4D4FF22-AE38-4E5E-80E7-E8A2AD6CE27D}"/>
          </ac:grpSpMkLst>
        </pc:grpChg>
        <pc:grpChg chg="mod">
          <ac:chgData name="Yash Ratanpal" userId="5db668b1-93e7-4c08-9786-4ed81315a653" providerId="ADAL" clId="{3F7A7787-00CA-42A0-97CD-637349527123}" dt="2021-07-11T14:09:27.482" v="2356"/>
          <ac:grpSpMkLst>
            <pc:docMk/>
            <pc:sldMk cId="2926816761" sldId="1709"/>
            <ac:grpSpMk id="84" creationId="{B3AC09C0-E5A1-4B39-8D38-EE9346AB0423}"/>
          </ac:grpSpMkLst>
        </pc:grpChg>
        <pc:grpChg chg="add mod">
          <ac:chgData name="Yash Ratanpal" userId="5db668b1-93e7-4c08-9786-4ed81315a653" providerId="ADAL" clId="{3F7A7787-00CA-42A0-97CD-637349527123}" dt="2021-07-11T14:09:51.056" v="2366" actId="164"/>
          <ac:grpSpMkLst>
            <pc:docMk/>
            <pc:sldMk cId="2926816761" sldId="1709"/>
            <ac:grpSpMk id="115" creationId="{CD275FF6-0F1D-4B65-A3A8-A23D9EBC5FDD}"/>
          </ac:grpSpMkLst>
        </pc:grpChg>
        <pc:grpChg chg="add del mod">
          <ac:chgData name="Yash Ratanpal" userId="5db668b1-93e7-4c08-9786-4ed81315a653" providerId="ADAL" clId="{3F7A7787-00CA-42A0-97CD-637349527123}" dt="2021-07-11T14:09:30.483" v="2357" actId="478"/>
          <ac:grpSpMkLst>
            <pc:docMk/>
            <pc:sldMk cId="2926816761" sldId="1709"/>
            <ac:grpSpMk id="118" creationId="{658F3454-F1E1-4487-A97F-7C788A112432}"/>
          </ac:grpSpMkLst>
        </pc:grpChg>
        <pc:grpChg chg="add mod">
          <ac:chgData name="Yash Ratanpal" userId="5db668b1-93e7-4c08-9786-4ed81315a653" providerId="ADAL" clId="{3F7A7787-00CA-42A0-97CD-637349527123}" dt="2021-07-11T14:09:51.056" v="2366" actId="164"/>
          <ac:grpSpMkLst>
            <pc:docMk/>
            <pc:sldMk cId="2926816761" sldId="1709"/>
            <ac:grpSpMk id="121" creationId="{80DD7DAC-13CA-483A-98CC-24C933A42BF6}"/>
          </ac:grpSpMkLst>
        </pc:grpChg>
        <pc:grpChg chg="add del mod">
          <ac:chgData name="Yash Ratanpal" userId="5db668b1-93e7-4c08-9786-4ed81315a653" providerId="ADAL" clId="{3F7A7787-00CA-42A0-97CD-637349527123}" dt="2021-07-11T14:09:30.483" v="2357" actId="478"/>
          <ac:grpSpMkLst>
            <pc:docMk/>
            <pc:sldMk cId="2926816761" sldId="1709"/>
            <ac:grpSpMk id="124" creationId="{83D77F69-F0B9-402C-912D-29FD39AC1540}"/>
          </ac:grpSpMkLst>
        </pc:grpChg>
        <pc:grpChg chg="add del mod">
          <ac:chgData name="Yash Ratanpal" userId="5db668b1-93e7-4c08-9786-4ed81315a653" providerId="ADAL" clId="{3F7A7787-00CA-42A0-97CD-637349527123}" dt="2021-07-11T14:09:30.483" v="2357" actId="478"/>
          <ac:grpSpMkLst>
            <pc:docMk/>
            <pc:sldMk cId="2926816761" sldId="1709"/>
            <ac:grpSpMk id="129" creationId="{D3999CB5-D12C-4FDE-8FB8-99FEBBADC8D5}"/>
          </ac:grpSpMkLst>
        </pc:grpChg>
        <pc:picChg chg="mod">
          <ac:chgData name="Yash Ratanpal" userId="5db668b1-93e7-4c08-9786-4ed81315a653" providerId="ADAL" clId="{3F7A7787-00CA-42A0-97CD-637349527123}" dt="2021-07-11T14:08:55.463" v="2354"/>
          <ac:picMkLst>
            <pc:docMk/>
            <pc:sldMk cId="2926816761" sldId="1709"/>
            <ac:picMk id="68" creationId="{C5565108-BE7B-484A-B13F-BD53D431A77D}"/>
          </ac:picMkLst>
        </pc:picChg>
        <pc:picChg chg="mod">
          <ac:chgData name="Yash Ratanpal" userId="5db668b1-93e7-4c08-9786-4ed81315a653" providerId="ADAL" clId="{3F7A7787-00CA-42A0-97CD-637349527123}" dt="2021-07-11T14:08:55.463" v="2354"/>
          <ac:picMkLst>
            <pc:docMk/>
            <pc:sldMk cId="2926816761" sldId="1709"/>
            <ac:picMk id="69" creationId="{B342DF5F-A00F-443D-A598-15B2D9916273}"/>
          </ac:picMkLst>
        </pc:picChg>
        <pc:picChg chg="mod">
          <ac:chgData name="Yash Ratanpal" userId="5db668b1-93e7-4c08-9786-4ed81315a653" providerId="ADAL" clId="{3F7A7787-00CA-42A0-97CD-637349527123}" dt="2021-07-11T14:08:55.463" v="2354"/>
          <ac:picMkLst>
            <pc:docMk/>
            <pc:sldMk cId="2926816761" sldId="1709"/>
            <ac:picMk id="70" creationId="{B799159B-C2DF-4E03-9FA0-6FBD1B00A24B}"/>
          </ac:picMkLst>
        </pc:picChg>
        <pc:picChg chg="mod">
          <ac:chgData name="Yash Ratanpal" userId="5db668b1-93e7-4c08-9786-4ed81315a653" providerId="ADAL" clId="{3F7A7787-00CA-42A0-97CD-637349527123}" dt="2021-07-11T14:08:55.463" v="2354"/>
          <ac:picMkLst>
            <pc:docMk/>
            <pc:sldMk cId="2926816761" sldId="1709"/>
            <ac:picMk id="71" creationId="{83D57481-5F98-44FC-9EAC-65D7D4600582}"/>
          </ac:picMkLst>
        </pc:picChg>
        <pc:picChg chg="mod">
          <ac:chgData name="Yash Ratanpal" userId="5db668b1-93e7-4c08-9786-4ed81315a653" providerId="ADAL" clId="{3F7A7787-00CA-42A0-97CD-637349527123}" dt="2021-07-11T14:08:55.463" v="2354"/>
          <ac:picMkLst>
            <pc:docMk/>
            <pc:sldMk cId="2926816761" sldId="1709"/>
            <ac:picMk id="73" creationId="{77EB759E-3448-431E-A116-21DFBA48AEF5}"/>
          </ac:picMkLst>
        </pc:picChg>
        <pc:picChg chg="mod">
          <ac:chgData name="Yash Ratanpal" userId="5db668b1-93e7-4c08-9786-4ed81315a653" providerId="ADAL" clId="{3F7A7787-00CA-42A0-97CD-637349527123}" dt="2021-07-11T14:08:55.463" v="2354"/>
          <ac:picMkLst>
            <pc:docMk/>
            <pc:sldMk cId="2926816761" sldId="1709"/>
            <ac:picMk id="74" creationId="{327B1057-1BAB-4C13-9AE4-B26434655F78}"/>
          </ac:picMkLst>
        </pc:picChg>
        <pc:picChg chg="mod">
          <ac:chgData name="Yash Ratanpal" userId="5db668b1-93e7-4c08-9786-4ed81315a653" providerId="ADAL" clId="{3F7A7787-00CA-42A0-97CD-637349527123}" dt="2021-07-11T14:08:55.463" v="2354"/>
          <ac:picMkLst>
            <pc:docMk/>
            <pc:sldMk cId="2926816761" sldId="1709"/>
            <ac:picMk id="75" creationId="{8C55C4DC-6F02-4929-BFEC-C455371E8CCF}"/>
          </ac:picMkLst>
        </pc:picChg>
        <pc:picChg chg="mod">
          <ac:chgData name="Yash Ratanpal" userId="5db668b1-93e7-4c08-9786-4ed81315a653" providerId="ADAL" clId="{3F7A7787-00CA-42A0-97CD-637349527123}" dt="2021-07-11T14:08:55.463" v="2354"/>
          <ac:picMkLst>
            <pc:docMk/>
            <pc:sldMk cId="2926816761" sldId="1709"/>
            <ac:picMk id="76" creationId="{D82536FF-C26F-4CB2-B4BC-AA7DCEE8254F}"/>
          </ac:picMkLst>
        </pc:picChg>
        <pc:picChg chg="mod">
          <ac:chgData name="Yash Ratanpal" userId="5db668b1-93e7-4c08-9786-4ed81315a653" providerId="ADAL" clId="{3F7A7787-00CA-42A0-97CD-637349527123}" dt="2021-07-11T14:09:27.482" v="2356"/>
          <ac:picMkLst>
            <pc:docMk/>
            <pc:sldMk cId="2926816761" sldId="1709"/>
            <ac:picMk id="125" creationId="{F76E6BDF-576B-4B35-B0ED-9BFFDE02FF5D}"/>
          </ac:picMkLst>
        </pc:picChg>
        <pc:picChg chg="mod">
          <ac:chgData name="Yash Ratanpal" userId="5db668b1-93e7-4c08-9786-4ed81315a653" providerId="ADAL" clId="{3F7A7787-00CA-42A0-97CD-637349527123}" dt="2021-07-11T14:09:27.482" v="2356"/>
          <ac:picMkLst>
            <pc:docMk/>
            <pc:sldMk cId="2926816761" sldId="1709"/>
            <ac:picMk id="126" creationId="{BE1B0812-6099-490E-960C-0BE1427309E8}"/>
          </ac:picMkLst>
        </pc:picChg>
        <pc:picChg chg="mod">
          <ac:chgData name="Yash Ratanpal" userId="5db668b1-93e7-4c08-9786-4ed81315a653" providerId="ADAL" clId="{3F7A7787-00CA-42A0-97CD-637349527123}" dt="2021-07-11T14:09:27.482" v="2356"/>
          <ac:picMkLst>
            <pc:docMk/>
            <pc:sldMk cId="2926816761" sldId="1709"/>
            <ac:picMk id="127" creationId="{EFE9F0A1-12AB-45E6-B55D-694E6D19C862}"/>
          </ac:picMkLst>
        </pc:picChg>
        <pc:picChg chg="mod">
          <ac:chgData name="Yash Ratanpal" userId="5db668b1-93e7-4c08-9786-4ed81315a653" providerId="ADAL" clId="{3F7A7787-00CA-42A0-97CD-637349527123}" dt="2021-07-11T14:09:27.482" v="2356"/>
          <ac:picMkLst>
            <pc:docMk/>
            <pc:sldMk cId="2926816761" sldId="1709"/>
            <ac:picMk id="128" creationId="{5177F1A9-10F4-4D97-B378-8E2A4743AFBF}"/>
          </ac:picMkLst>
        </pc:picChg>
        <pc:picChg chg="mod">
          <ac:chgData name="Yash Ratanpal" userId="5db668b1-93e7-4c08-9786-4ed81315a653" providerId="ADAL" clId="{3F7A7787-00CA-42A0-97CD-637349527123}" dt="2021-07-11T14:09:27.482" v="2356"/>
          <ac:picMkLst>
            <pc:docMk/>
            <pc:sldMk cId="2926816761" sldId="1709"/>
            <ac:picMk id="130" creationId="{C33DF588-0BB2-4D9A-8C75-9AE440B90DEA}"/>
          </ac:picMkLst>
        </pc:picChg>
        <pc:picChg chg="mod">
          <ac:chgData name="Yash Ratanpal" userId="5db668b1-93e7-4c08-9786-4ed81315a653" providerId="ADAL" clId="{3F7A7787-00CA-42A0-97CD-637349527123}" dt="2021-07-11T14:09:27.482" v="2356"/>
          <ac:picMkLst>
            <pc:docMk/>
            <pc:sldMk cId="2926816761" sldId="1709"/>
            <ac:picMk id="131" creationId="{5583674E-2A81-48B8-9826-90A25038A178}"/>
          </ac:picMkLst>
        </pc:picChg>
        <pc:picChg chg="mod">
          <ac:chgData name="Yash Ratanpal" userId="5db668b1-93e7-4c08-9786-4ed81315a653" providerId="ADAL" clId="{3F7A7787-00CA-42A0-97CD-637349527123}" dt="2021-07-11T14:09:27.482" v="2356"/>
          <ac:picMkLst>
            <pc:docMk/>
            <pc:sldMk cId="2926816761" sldId="1709"/>
            <ac:picMk id="132" creationId="{F49C23E3-5A16-4ABE-9399-633AE3562551}"/>
          </ac:picMkLst>
        </pc:picChg>
        <pc:picChg chg="mod">
          <ac:chgData name="Yash Ratanpal" userId="5db668b1-93e7-4c08-9786-4ed81315a653" providerId="ADAL" clId="{3F7A7787-00CA-42A0-97CD-637349527123}" dt="2021-07-11T14:09:27.482" v="2356"/>
          <ac:picMkLst>
            <pc:docMk/>
            <pc:sldMk cId="2926816761" sldId="1709"/>
            <ac:picMk id="133" creationId="{1231D34D-B9E4-4417-959E-F3D7A58BF2CF}"/>
          </ac:picMkLst>
        </pc:picChg>
        <pc:cxnChg chg="add del mod">
          <ac:chgData name="Yash Ratanpal" userId="5db668b1-93e7-4c08-9786-4ed81315a653" providerId="ADAL" clId="{3F7A7787-00CA-42A0-97CD-637349527123}" dt="2021-07-11T14:08:56.455" v="2355"/>
          <ac:cxnSpMkLst>
            <pc:docMk/>
            <pc:sldMk cId="2926816761" sldId="1709"/>
            <ac:cxnSpMk id="36" creationId="{FC2D49F2-3B00-4E8D-800E-91F2D65B4D18}"/>
          </ac:cxnSpMkLst>
        </pc:cxnChg>
        <pc:cxnChg chg="mod">
          <ac:chgData name="Yash Ratanpal" userId="5db668b1-93e7-4c08-9786-4ed81315a653" providerId="ADAL" clId="{3F7A7787-00CA-42A0-97CD-637349527123}" dt="2021-07-11T14:08:48.418" v="2353" actId="478"/>
          <ac:cxnSpMkLst>
            <pc:docMk/>
            <pc:sldMk cId="2926816761" sldId="1709"/>
            <ac:cxnSpMk id="44" creationId="{984AB075-0379-46BB-A5D3-BED48B68861D}"/>
          </ac:cxnSpMkLst>
        </pc:cxnChg>
        <pc:cxnChg chg="add del mod">
          <ac:chgData name="Yash Ratanpal" userId="5db668b1-93e7-4c08-9786-4ed81315a653" providerId="ADAL" clId="{3F7A7787-00CA-42A0-97CD-637349527123}" dt="2021-07-11T14:08:56.455" v="2355"/>
          <ac:cxnSpMkLst>
            <pc:docMk/>
            <pc:sldMk cId="2926816761" sldId="1709"/>
            <ac:cxnSpMk id="77" creationId="{B336A3A8-2BD5-430E-85FC-4253953DEDA1}"/>
          </ac:cxnSpMkLst>
        </pc:cxnChg>
        <pc:cxnChg chg="add mod">
          <ac:chgData name="Yash Ratanpal" userId="5db668b1-93e7-4c08-9786-4ed81315a653" providerId="ADAL" clId="{3F7A7787-00CA-42A0-97CD-637349527123}" dt="2021-07-11T14:09:51.056" v="2366" actId="164"/>
          <ac:cxnSpMkLst>
            <pc:docMk/>
            <pc:sldMk cId="2926816761" sldId="1709"/>
            <ac:cxnSpMk id="79" creationId="{320C3247-D934-46D8-898A-1E0EFBFE467E}"/>
          </ac:cxnSpMkLst>
        </pc:cxnChg>
        <pc:cxnChg chg="add mod">
          <ac:chgData name="Yash Ratanpal" userId="5db668b1-93e7-4c08-9786-4ed81315a653" providerId="ADAL" clId="{3F7A7787-00CA-42A0-97CD-637349527123}" dt="2021-07-11T14:09:51.056" v="2366" actId="164"/>
          <ac:cxnSpMkLst>
            <pc:docMk/>
            <pc:sldMk cId="2926816761" sldId="1709"/>
            <ac:cxnSpMk id="134" creationId="{E8F13719-7A0D-4172-9961-98F0B15224F4}"/>
          </ac:cxnSpMkLst>
        </pc:cxnChg>
      </pc:sldChg>
      <pc:sldChg chg="addSp delSp modSp add mod">
        <pc:chgData name="Yash Ratanpal" userId="5db668b1-93e7-4c08-9786-4ed81315a653" providerId="ADAL" clId="{3F7A7787-00CA-42A0-97CD-637349527123}" dt="2021-07-18T17:29:37.506" v="8331" actId="14100"/>
        <pc:sldMkLst>
          <pc:docMk/>
          <pc:sldMk cId="1731196988" sldId="1710"/>
        </pc:sldMkLst>
        <pc:spChg chg="mod">
          <ac:chgData name="Yash Ratanpal" userId="5db668b1-93e7-4c08-9786-4ed81315a653" providerId="ADAL" clId="{3F7A7787-00CA-42A0-97CD-637349527123}" dt="2021-07-18T17:17:03.168" v="8322" actId="20577"/>
          <ac:spMkLst>
            <pc:docMk/>
            <pc:sldMk cId="1731196988" sldId="1710"/>
            <ac:spMk id="3" creationId="{00000000-0000-0000-0000-000000000000}"/>
          </ac:spMkLst>
        </pc:spChg>
        <pc:spChg chg="del">
          <ac:chgData name="Yash Ratanpal" userId="5db668b1-93e7-4c08-9786-4ed81315a653" providerId="ADAL" clId="{3F7A7787-00CA-42A0-97CD-637349527123}" dt="2021-07-11T14:17:26.871" v="2532" actId="478"/>
          <ac:spMkLst>
            <pc:docMk/>
            <pc:sldMk cId="1731196988" sldId="1710"/>
            <ac:spMk id="27" creationId="{AF1A6C06-FEC7-4915-B639-CF93AA9A6A92}"/>
          </ac:spMkLst>
        </pc:spChg>
        <pc:spChg chg="del">
          <ac:chgData name="Yash Ratanpal" userId="5db668b1-93e7-4c08-9786-4ed81315a653" providerId="ADAL" clId="{3F7A7787-00CA-42A0-97CD-637349527123}" dt="2021-07-11T14:17:26.871" v="2532" actId="478"/>
          <ac:spMkLst>
            <pc:docMk/>
            <pc:sldMk cId="1731196988" sldId="1710"/>
            <ac:spMk id="28" creationId="{E04ECF15-1F25-4C05-97E3-0686EF782997}"/>
          </ac:spMkLst>
        </pc:spChg>
        <pc:spChg chg="del">
          <ac:chgData name="Yash Ratanpal" userId="5db668b1-93e7-4c08-9786-4ed81315a653" providerId="ADAL" clId="{3F7A7787-00CA-42A0-97CD-637349527123}" dt="2021-07-11T14:17:26.871" v="2532" actId="478"/>
          <ac:spMkLst>
            <pc:docMk/>
            <pc:sldMk cId="1731196988" sldId="1710"/>
            <ac:spMk id="29" creationId="{C370C591-5E1D-48AE-8FC2-6FD7C21531A2}"/>
          </ac:spMkLst>
        </pc:spChg>
        <pc:spChg chg="del">
          <ac:chgData name="Yash Ratanpal" userId="5db668b1-93e7-4c08-9786-4ed81315a653" providerId="ADAL" clId="{3F7A7787-00CA-42A0-97CD-637349527123}" dt="2021-07-11T14:17:26.871" v="2532" actId="478"/>
          <ac:spMkLst>
            <pc:docMk/>
            <pc:sldMk cId="1731196988" sldId="1710"/>
            <ac:spMk id="30" creationId="{7D0B1533-97C7-41BF-BAAB-28404BDB666F}"/>
          </ac:spMkLst>
        </pc:spChg>
        <pc:spChg chg="del">
          <ac:chgData name="Yash Ratanpal" userId="5db668b1-93e7-4c08-9786-4ed81315a653" providerId="ADAL" clId="{3F7A7787-00CA-42A0-97CD-637349527123}" dt="2021-07-11T14:17:26.871" v="2532" actId="478"/>
          <ac:spMkLst>
            <pc:docMk/>
            <pc:sldMk cId="1731196988" sldId="1710"/>
            <ac:spMk id="31" creationId="{C24D561D-8156-4C9A-9DBE-F0FA24D403A8}"/>
          </ac:spMkLst>
        </pc:spChg>
        <pc:spChg chg="del">
          <ac:chgData name="Yash Ratanpal" userId="5db668b1-93e7-4c08-9786-4ed81315a653" providerId="ADAL" clId="{3F7A7787-00CA-42A0-97CD-637349527123}" dt="2021-07-11T14:17:26.871" v="2532" actId="478"/>
          <ac:spMkLst>
            <pc:docMk/>
            <pc:sldMk cId="1731196988" sldId="1710"/>
            <ac:spMk id="32" creationId="{785B5585-04FD-44C2-8E09-CBDBAF962558}"/>
          </ac:spMkLst>
        </pc:spChg>
        <pc:spChg chg="del">
          <ac:chgData name="Yash Ratanpal" userId="5db668b1-93e7-4c08-9786-4ed81315a653" providerId="ADAL" clId="{3F7A7787-00CA-42A0-97CD-637349527123}" dt="2021-07-11T14:17:26.871" v="2532" actId="478"/>
          <ac:spMkLst>
            <pc:docMk/>
            <pc:sldMk cId="1731196988" sldId="1710"/>
            <ac:spMk id="33" creationId="{E564FDAE-7381-49B0-8F34-85644595CD0B}"/>
          </ac:spMkLst>
        </pc:spChg>
        <pc:spChg chg="del">
          <ac:chgData name="Yash Ratanpal" userId="5db668b1-93e7-4c08-9786-4ed81315a653" providerId="ADAL" clId="{3F7A7787-00CA-42A0-97CD-637349527123}" dt="2021-07-11T14:17:26.871" v="2532" actId="478"/>
          <ac:spMkLst>
            <pc:docMk/>
            <pc:sldMk cId="1731196988" sldId="1710"/>
            <ac:spMk id="34" creationId="{37C9F6DD-257E-4771-98A1-969F7D390B34}"/>
          </ac:spMkLst>
        </pc:spChg>
        <pc:spChg chg="del">
          <ac:chgData name="Yash Ratanpal" userId="5db668b1-93e7-4c08-9786-4ed81315a653" providerId="ADAL" clId="{3F7A7787-00CA-42A0-97CD-637349527123}" dt="2021-07-11T14:17:26.871" v="2532" actId="478"/>
          <ac:spMkLst>
            <pc:docMk/>
            <pc:sldMk cId="1731196988" sldId="1710"/>
            <ac:spMk id="35" creationId="{6C8C22F4-D808-4750-BFA6-52380676CA32}"/>
          </ac:spMkLst>
        </pc:spChg>
        <pc:spChg chg="del">
          <ac:chgData name="Yash Ratanpal" userId="5db668b1-93e7-4c08-9786-4ed81315a653" providerId="ADAL" clId="{3F7A7787-00CA-42A0-97CD-637349527123}" dt="2021-07-11T14:17:26.871" v="2532" actId="478"/>
          <ac:spMkLst>
            <pc:docMk/>
            <pc:sldMk cId="1731196988" sldId="1710"/>
            <ac:spMk id="36" creationId="{3CE92C4E-96E9-45FC-B8A0-BCA888A48260}"/>
          </ac:spMkLst>
        </pc:spChg>
        <pc:spChg chg="del">
          <ac:chgData name="Yash Ratanpal" userId="5db668b1-93e7-4c08-9786-4ed81315a653" providerId="ADAL" clId="{3F7A7787-00CA-42A0-97CD-637349527123}" dt="2021-07-11T14:17:26.871" v="2532" actId="478"/>
          <ac:spMkLst>
            <pc:docMk/>
            <pc:sldMk cId="1731196988" sldId="1710"/>
            <ac:spMk id="37" creationId="{9C5618A1-CBF1-4F19-AA5E-4B897615F9A2}"/>
          </ac:spMkLst>
        </pc:spChg>
        <pc:spChg chg="del">
          <ac:chgData name="Yash Ratanpal" userId="5db668b1-93e7-4c08-9786-4ed81315a653" providerId="ADAL" clId="{3F7A7787-00CA-42A0-97CD-637349527123}" dt="2021-07-11T14:17:26.871" v="2532" actId="478"/>
          <ac:spMkLst>
            <pc:docMk/>
            <pc:sldMk cId="1731196988" sldId="1710"/>
            <ac:spMk id="38" creationId="{D941BB84-550F-4C6D-8967-37C392F4EA0B}"/>
          </ac:spMkLst>
        </pc:spChg>
        <pc:spChg chg="del">
          <ac:chgData name="Yash Ratanpal" userId="5db668b1-93e7-4c08-9786-4ed81315a653" providerId="ADAL" clId="{3F7A7787-00CA-42A0-97CD-637349527123}" dt="2021-07-11T14:17:26.871" v="2532" actId="478"/>
          <ac:spMkLst>
            <pc:docMk/>
            <pc:sldMk cId="1731196988" sldId="1710"/>
            <ac:spMk id="39" creationId="{05903D31-812F-424F-BB7E-C4D349F4BF02}"/>
          </ac:spMkLst>
        </pc:spChg>
        <pc:spChg chg="del">
          <ac:chgData name="Yash Ratanpal" userId="5db668b1-93e7-4c08-9786-4ed81315a653" providerId="ADAL" clId="{3F7A7787-00CA-42A0-97CD-637349527123}" dt="2021-07-11T14:17:26.871" v="2532" actId="478"/>
          <ac:spMkLst>
            <pc:docMk/>
            <pc:sldMk cId="1731196988" sldId="1710"/>
            <ac:spMk id="40" creationId="{C09B462C-D4DC-4720-8E16-BE1D36738E99}"/>
          </ac:spMkLst>
        </pc:spChg>
        <pc:spChg chg="del">
          <ac:chgData name="Yash Ratanpal" userId="5db668b1-93e7-4c08-9786-4ed81315a653" providerId="ADAL" clId="{3F7A7787-00CA-42A0-97CD-637349527123}" dt="2021-07-11T14:17:26.871" v="2532" actId="478"/>
          <ac:spMkLst>
            <pc:docMk/>
            <pc:sldMk cId="1731196988" sldId="1710"/>
            <ac:spMk id="41" creationId="{AF7DE2F2-0E49-45AE-A663-7D6541F1447B}"/>
          </ac:spMkLst>
        </pc:spChg>
        <pc:spChg chg="del">
          <ac:chgData name="Yash Ratanpal" userId="5db668b1-93e7-4c08-9786-4ed81315a653" providerId="ADAL" clId="{3F7A7787-00CA-42A0-97CD-637349527123}" dt="2021-07-11T14:17:26.871" v="2532" actId="478"/>
          <ac:spMkLst>
            <pc:docMk/>
            <pc:sldMk cId="1731196988" sldId="1710"/>
            <ac:spMk id="42" creationId="{C4C52B3B-B82B-4DCC-AA7C-D75B8F7F7BC3}"/>
          </ac:spMkLst>
        </pc:spChg>
        <pc:spChg chg="del">
          <ac:chgData name="Yash Ratanpal" userId="5db668b1-93e7-4c08-9786-4ed81315a653" providerId="ADAL" clId="{3F7A7787-00CA-42A0-97CD-637349527123}" dt="2021-07-11T14:17:26.871" v="2532" actId="478"/>
          <ac:spMkLst>
            <pc:docMk/>
            <pc:sldMk cId="1731196988" sldId="1710"/>
            <ac:spMk id="43" creationId="{AF11A804-C198-47B8-96CA-EDE010EE5444}"/>
          </ac:spMkLst>
        </pc:spChg>
        <pc:spChg chg="del">
          <ac:chgData name="Yash Ratanpal" userId="5db668b1-93e7-4c08-9786-4ed81315a653" providerId="ADAL" clId="{3F7A7787-00CA-42A0-97CD-637349527123}" dt="2021-07-11T14:17:26.871" v="2532" actId="478"/>
          <ac:spMkLst>
            <pc:docMk/>
            <pc:sldMk cId="1731196988" sldId="1710"/>
            <ac:spMk id="44" creationId="{2A9F6315-1257-4A17-8373-E516705A9A45}"/>
          </ac:spMkLst>
        </pc:spChg>
        <pc:spChg chg="del">
          <ac:chgData name="Yash Ratanpal" userId="5db668b1-93e7-4c08-9786-4ed81315a653" providerId="ADAL" clId="{3F7A7787-00CA-42A0-97CD-637349527123}" dt="2021-07-11T14:17:26.871" v="2532" actId="478"/>
          <ac:spMkLst>
            <pc:docMk/>
            <pc:sldMk cId="1731196988" sldId="1710"/>
            <ac:spMk id="45" creationId="{A2E56934-D816-4F30-9BCE-22CA3D6533C4}"/>
          </ac:spMkLst>
        </pc:spChg>
        <pc:spChg chg="del">
          <ac:chgData name="Yash Ratanpal" userId="5db668b1-93e7-4c08-9786-4ed81315a653" providerId="ADAL" clId="{3F7A7787-00CA-42A0-97CD-637349527123}" dt="2021-07-11T14:17:26.871" v="2532" actId="478"/>
          <ac:spMkLst>
            <pc:docMk/>
            <pc:sldMk cId="1731196988" sldId="1710"/>
            <ac:spMk id="46" creationId="{4E9FEFAB-82A6-41C4-A14F-812D4E779BA9}"/>
          </ac:spMkLst>
        </pc:spChg>
        <pc:spChg chg="del">
          <ac:chgData name="Yash Ratanpal" userId="5db668b1-93e7-4c08-9786-4ed81315a653" providerId="ADAL" clId="{3F7A7787-00CA-42A0-97CD-637349527123}" dt="2021-07-11T14:17:26.871" v="2532" actId="478"/>
          <ac:spMkLst>
            <pc:docMk/>
            <pc:sldMk cId="1731196988" sldId="1710"/>
            <ac:spMk id="47" creationId="{CEA80238-1A24-47C0-8D31-10161CE26099}"/>
          </ac:spMkLst>
        </pc:spChg>
        <pc:spChg chg="del">
          <ac:chgData name="Yash Ratanpal" userId="5db668b1-93e7-4c08-9786-4ed81315a653" providerId="ADAL" clId="{3F7A7787-00CA-42A0-97CD-637349527123}" dt="2021-07-11T14:17:26.871" v="2532" actId="478"/>
          <ac:spMkLst>
            <pc:docMk/>
            <pc:sldMk cId="1731196988" sldId="1710"/>
            <ac:spMk id="48" creationId="{49934D2E-B5C4-407E-BAD9-CE18483F8F7A}"/>
          </ac:spMkLst>
        </pc:spChg>
        <pc:spChg chg="del">
          <ac:chgData name="Yash Ratanpal" userId="5db668b1-93e7-4c08-9786-4ed81315a653" providerId="ADAL" clId="{3F7A7787-00CA-42A0-97CD-637349527123}" dt="2021-07-11T14:17:26.871" v="2532" actId="478"/>
          <ac:spMkLst>
            <pc:docMk/>
            <pc:sldMk cId="1731196988" sldId="1710"/>
            <ac:spMk id="49" creationId="{52ED1E5B-0BEC-4543-902F-D98B1862D758}"/>
          </ac:spMkLst>
        </pc:spChg>
        <pc:spChg chg="del">
          <ac:chgData name="Yash Ratanpal" userId="5db668b1-93e7-4c08-9786-4ed81315a653" providerId="ADAL" clId="{3F7A7787-00CA-42A0-97CD-637349527123}" dt="2021-07-11T14:17:26.871" v="2532" actId="478"/>
          <ac:spMkLst>
            <pc:docMk/>
            <pc:sldMk cId="1731196988" sldId="1710"/>
            <ac:spMk id="50" creationId="{C2CE3415-D697-4221-B0EC-B0735F2B6FB5}"/>
          </ac:spMkLst>
        </pc:spChg>
        <pc:spChg chg="del">
          <ac:chgData name="Yash Ratanpal" userId="5db668b1-93e7-4c08-9786-4ed81315a653" providerId="ADAL" clId="{3F7A7787-00CA-42A0-97CD-637349527123}" dt="2021-07-11T14:17:26.871" v="2532" actId="478"/>
          <ac:spMkLst>
            <pc:docMk/>
            <pc:sldMk cId="1731196988" sldId="1710"/>
            <ac:spMk id="51" creationId="{CCB76BF9-0CEB-4FE6-BB88-3C3FD4CFB2B3}"/>
          </ac:spMkLst>
        </pc:spChg>
        <pc:spChg chg="del">
          <ac:chgData name="Yash Ratanpal" userId="5db668b1-93e7-4c08-9786-4ed81315a653" providerId="ADAL" clId="{3F7A7787-00CA-42A0-97CD-637349527123}" dt="2021-07-11T14:17:26.871" v="2532" actId="478"/>
          <ac:spMkLst>
            <pc:docMk/>
            <pc:sldMk cId="1731196988" sldId="1710"/>
            <ac:spMk id="52" creationId="{5378E4B8-994E-47AC-B7FD-27A006AF3354}"/>
          </ac:spMkLst>
        </pc:spChg>
        <pc:spChg chg="del">
          <ac:chgData name="Yash Ratanpal" userId="5db668b1-93e7-4c08-9786-4ed81315a653" providerId="ADAL" clId="{3F7A7787-00CA-42A0-97CD-637349527123}" dt="2021-07-11T14:17:26.871" v="2532" actId="478"/>
          <ac:spMkLst>
            <pc:docMk/>
            <pc:sldMk cId="1731196988" sldId="1710"/>
            <ac:spMk id="53" creationId="{AE4534D6-4938-461A-B000-7C0AEA7F8C90}"/>
          </ac:spMkLst>
        </pc:spChg>
        <pc:spChg chg="del">
          <ac:chgData name="Yash Ratanpal" userId="5db668b1-93e7-4c08-9786-4ed81315a653" providerId="ADAL" clId="{3F7A7787-00CA-42A0-97CD-637349527123}" dt="2021-07-11T14:17:26.871" v="2532" actId="478"/>
          <ac:spMkLst>
            <pc:docMk/>
            <pc:sldMk cId="1731196988" sldId="1710"/>
            <ac:spMk id="54" creationId="{0A35EAA0-0743-440D-B4F4-E601D22279A6}"/>
          </ac:spMkLst>
        </pc:spChg>
        <pc:spChg chg="del">
          <ac:chgData name="Yash Ratanpal" userId="5db668b1-93e7-4c08-9786-4ed81315a653" providerId="ADAL" clId="{3F7A7787-00CA-42A0-97CD-637349527123}" dt="2021-07-11T14:17:26.871" v="2532" actId="478"/>
          <ac:spMkLst>
            <pc:docMk/>
            <pc:sldMk cId="1731196988" sldId="1710"/>
            <ac:spMk id="55" creationId="{D6FC3068-FD75-4FEC-BB33-6CC78B8F0DBD}"/>
          </ac:spMkLst>
        </pc:spChg>
        <pc:spChg chg="del">
          <ac:chgData name="Yash Ratanpal" userId="5db668b1-93e7-4c08-9786-4ed81315a653" providerId="ADAL" clId="{3F7A7787-00CA-42A0-97CD-637349527123}" dt="2021-07-11T14:17:26.871" v="2532" actId="478"/>
          <ac:spMkLst>
            <pc:docMk/>
            <pc:sldMk cId="1731196988" sldId="1710"/>
            <ac:spMk id="56" creationId="{A331E935-166A-4923-B3E1-093BD66E3E8F}"/>
          </ac:spMkLst>
        </pc:spChg>
        <pc:spChg chg="del">
          <ac:chgData name="Yash Ratanpal" userId="5db668b1-93e7-4c08-9786-4ed81315a653" providerId="ADAL" clId="{3F7A7787-00CA-42A0-97CD-637349527123}" dt="2021-07-11T14:17:26.871" v="2532" actId="478"/>
          <ac:spMkLst>
            <pc:docMk/>
            <pc:sldMk cId="1731196988" sldId="1710"/>
            <ac:spMk id="57" creationId="{71B2D321-ABFB-4887-962C-AEB386CD525B}"/>
          </ac:spMkLst>
        </pc:spChg>
        <pc:spChg chg="del">
          <ac:chgData name="Yash Ratanpal" userId="5db668b1-93e7-4c08-9786-4ed81315a653" providerId="ADAL" clId="{3F7A7787-00CA-42A0-97CD-637349527123}" dt="2021-07-11T14:17:26.871" v="2532" actId="478"/>
          <ac:spMkLst>
            <pc:docMk/>
            <pc:sldMk cId="1731196988" sldId="1710"/>
            <ac:spMk id="58" creationId="{D80D4171-4F84-4DDA-A0AC-CCF8DCF245AA}"/>
          </ac:spMkLst>
        </pc:spChg>
        <pc:spChg chg="del">
          <ac:chgData name="Yash Ratanpal" userId="5db668b1-93e7-4c08-9786-4ed81315a653" providerId="ADAL" clId="{3F7A7787-00CA-42A0-97CD-637349527123}" dt="2021-07-11T14:17:26.871" v="2532" actId="478"/>
          <ac:spMkLst>
            <pc:docMk/>
            <pc:sldMk cId="1731196988" sldId="1710"/>
            <ac:spMk id="59" creationId="{BB62081D-2E23-4163-B86F-76BBA3604D9E}"/>
          </ac:spMkLst>
        </pc:spChg>
        <pc:spChg chg="add del mod">
          <ac:chgData name="Yash Ratanpal" userId="5db668b1-93e7-4c08-9786-4ed81315a653" providerId="ADAL" clId="{3F7A7787-00CA-42A0-97CD-637349527123}" dt="2021-07-11T14:17:30.649" v="2534"/>
          <ac:spMkLst>
            <pc:docMk/>
            <pc:sldMk cId="1731196988" sldId="1710"/>
            <ac:spMk id="60" creationId="{830FA991-708B-4EA2-A4D7-8AAF2DD884C2}"/>
          </ac:spMkLst>
        </pc:spChg>
        <pc:spChg chg="mod">
          <ac:chgData name="Yash Ratanpal" userId="5db668b1-93e7-4c08-9786-4ed81315a653" providerId="ADAL" clId="{3F7A7787-00CA-42A0-97CD-637349527123}" dt="2021-07-11T14:17:29.600" v="2533"/>
          <ac:spMkLst>
            <pc:docMk/>
            <pc:sldMk cId="1731196988" sldId="1710"/>
            <ac:spMk id="62" creationId="{DD4887BE-C905-43E2-B832-C0C94AA4D90D}"/>
          </ac:spMkLst>
        </pc:spChg>
        <pc:spChg chg="mod">
          <ac:chgData name="Yash Ratanpal" userId="5db668b1-93e7-4c08-9786-4ed81315a653" providerId="ADAL" clId="{3F7A7787-00CA-42A0-97CD-637349527123}" dt="2021-07-11T14:17:29.600" v="2533"/>
          <ac:spMkLst>
            <pc:docMk/>
            <pc:sldMk cId="1731196988" sldId="1710"/>
            <ac:spMk id="63" creationId="{D71B34CF-C3AD-4A04-8B82-0463313C0812}"/>
          </ac:spMkLst>
        </pc:spChg>
        <pc:spChg chg="mod">
          <ac:chgData name="Yash Ratanpal" userId="5db668b1-93e7-4c08-9786-4ed81315a653" providerId="ADAL" clId="{3F7A7787-00CA-42A0-97CD-637349527123}" dt="2021-07-11T14:17:29.600" v="2533"/>
          <ac:spMkLst>
            <pc:docMk/>
            <pc:sldMk cId="1731196988" sldId="1710"/>
            <ac:spMk id="64" creationId="{9C8DCECB-19C8-4534-B405-5679A377FC16}"/>
          </ac:spMkLst>
        </pc:spChg>
        <pc:spChg chg="mod">
          <ac:chgData name="Yash Ratanpal" userId="5db668b1-93e7-4c08-9786-4ed81315a653" providerId="ADAL" clId="{3F7A7787-00CA-42A0-97CD-637349527123}" dt="2021-07-11T14:17:29.600" v="2533"/>
          <ac:spMkLst>
            <pc:docMk/>
            <pc:sldMk cId="1731196988" sldId="1710"/>
            <ac:spMk id="65" creationId="{68C7CBA7-6A5A-4462-8B57-5E95983A9F11}"/>
          </ac:spMkLst>
        </pc:spChg>
        <pc:spChg chg="mod">
          <ac:chgData name="Yash Ratanpal" userId="5db668b1-93e7-4c08-9786-4ed81315a653" providerId="ADAL" clId="{3F7A7787-00CA-42A0-97CD-637349527123}" dt="2021-07-11T14:17:29.600" v="2533"/>
          <ac:spMkLst>
            <pc:docMk/>
            <pc:sldMk cId="1731196988" sldId="1710"/>
            <ac:spMk id="66" creationId="{9941AC8D-23C7-40AC-B2BD-5BE51956AE03}"/>
          </ac:spMkLst>
        </pc:spChg>
        <pc:spChg chg="mod">
          <ac:chgData name="Yash Ratanpal" userId="5db668b1-93e7-4c08-9786-4ed81315a653" providerId="ADAL" clId="{3F7A7787-00CA-42A0-97CD-637349527123}" dt="2021-07-11T14:17:29.600" v="2533"/>
          <ac:spMkLst>
            <pc:docMk/>
            <pc:sldMk cId="1731196988" sldId="1710"/>
            <ac:spMk id="67" creationId="{E569365E-6946-4D01-9E92-B97CFC8A7E2F}"/>
          </ac:spMkLst>
        </pc:spChg>
        <pc:spChg chg="mod">
          <ac:chgData name="Yash Ratanpal" userId="5db668b1-93e7-4c08-9786-4ed81315a653" providerId="ADAL" clId="{3F7A7787-00CA-42A0-97CD-637349527123}" dt="2021-07-11T14:17:29.600" v="2533"/>
          <ac:spMkLst>
            <pc:docMk/>
            <pc:sldMk cId="1731196988" sldId="1710"/>
            <ac:spMk id="68" creationId="{9E8F7A13-20BD-46F3-8C77-132F3CF4A041}"/>
          </ac:spMkLst>
        </pc:spChg>
        <pc:spChg chg="mod">
          <ac:chgData name="Yash Ratanpal" userId="5db668b1-93e7-4c08-9786-4ed81315a653" providerId="ADAL" clId="{3F7A7787-00CA-42A0-97CD-637349527123}" dt="2021-07-11T14:17:29.600" v="2533"/>
          <ac:spMkLst>
            <pc:docMk/>
            <pc:sldMk cId="1731196988" sldId="1710"/>
            <ac:spMk id="69" creationId="{795DB59C-A89D-40D3-8B7D-CC7A1D22245D}"/>
          </ac:spMkLst>
        </pc:spChg>
        <pc:spChg chg="mod">
          <ac:chgData name="Yash Ratanpal" userId="5db668b1-93e7-4c08-9786-4ed81315a653" providerId="ADAL" clId="{3F7A7787-00CA-42A0-97CD-637349527123}" dt="2021-07-11T14:17:29.600" v="2533"/>
          <ac:spMkLst>
            <pc:docMk/>
            <pc:sldMk cId="1731196988" sldId="1710"/>
            <ac:spMk id="70" creationId="{37CF7608-B846-491D-922E-81A0D5A2E7D7}"/>
          </ac:spMkLst>
        </pc:spChg>
        <pc:spChg chg="mod">
          <ac:chgData name="Yash Ratanpal" userId="5db668b1-93e7-4c08-9786-4ed81315a653" providerId="ADAL" clId="{3F7A7787-00CA-42A0-97CD-637349527123}" dt="2021-07-11T14:17:29.600" v="2533"/>
          <ac:spMkLst>
            <pc:docMk/>
            <pc:sldMk cId="1731196988" sldId="1710"/>
            <ac:spMk id="71" creationId="{591789A8-EF1A-431D-8D69-255407193FC3}"/>
          </ac:spMkLst>
        </pc:spChg>
        <pc:spChg chg="mod">
          <ac:chgData name="Yash Ratanpal" userId="5db668b1-93e7-4c08-9786-4ed81315a653" providerId="ADAL" clId="{3F7A7787-00CA-42A0-97CD-637349527123}" dt="2021-07-11T14:17:29.600" v="2533"/>
          <ac:spMkLst>
            <pc:docMk/>
            <pc:sldMk cId="1731196988" sldId="1710"/>
            <ac:spMk id="72" creationId="{8CBDF894-6878-47FD-A7D7-A8AFBBB4D7F5}"/>
          </ac:spMkLst>
        </pc:spChg>
        <pc:spChg chg="mod">
          <ac:chgData name="Yash Ratanpal" userId="5db668b1-93e7-4c08-9786-4ed81315a653" providerId="ADAL" clId="{3F7A7787-00CA-42A0-97CD-637349527123}" dt="2021-07-11T14:17:29.600" v="2533"/>
          <ac:spMkLst>
            <pc:docMk/>
            <pc:sldMk cId="1731196988" sldId="1710"/>
            <ac:spMk id="73" creationId="{3E954FEE-68B9-4957-94E0-3A171CCAC102}"/>
          </ac:spMkLst>
        </pc:spChg>
        <pc:spChg chg="mod">
          <ac:chgData name="Yash Ratanpal" userId="5db668b1-93e7-4c08-9786-4ed81315a653" providerId="ADAL" clId="{3F7A7787-00CA-42A0-97CD-637349527123}" dt="2021-07-11T14:17:29.600" v="2533"/>
          <ac:spMkLst>
            <pc:docMk/>
            <pc:sldMk cId="1731196988" sldId="1710"/>
            <ac:spMk id="74" creationId="{F5524CE9-F7D0-42AC-9EBB-1480D1B5938F}"/>
          </ac:spMkLst>
        </pc:spChg>
        <pc:spChg chg="mod">
          <ac:chgData name="Yash Ratanpal" userId="5db668b1-93e7-4c08-9786-4ed81315a653" providerId="ADAL" clId="{3F7A7787-00CA-42A0-97CD-637349527123}" dt="2021-07-11T14:17:29.600" v="2533"/>
          <ac:spMkLst>
            <pc:docMk/>
            <pc:sldMk cId="1731196988" sldId="1710"/>
            <ac:spMk id="75" creationId="{D7504D0D-CBB2-4E6D-BB8B-6B722B073273}"/>
          </ac:spMkLst>
        </pc:spChg>
        <pc:spChg chg="mod">
          <ac:chgData name="Yash Ratanpal" userId="5db668b1-93e7-4c08-9786-4ed81315a653" providerId="ADAL" clId="{3F7A7787-00CA-42A0-97CD-637349527123}" dt="2021-07-11T14:17:29.600" v="2533"/>
          <ac:spMkLst>
            <pc:docMk/>
            <pc:sldMk cId="1731196988" sldId="1710"/>
            <ac:spMk id="76" creationId="{80AC398B-1381-4DC5-8AA7-3500F17814FB}"/>
          </ac:spMkLst>
        </pc:spChg>
        <pc:spChg chg="mod">
          <ac:chgData name="Yash Ratanpal" userId="5db668b1-93e7-4c08-9786-4ed81315a653" providerId="ADAL" clId="{3F7A7787-00CA-42A0-97CD-637349527123}" dt="2021-07-11T14:17:29.600" v="2533"/>
          <ac:spMkLst>
            <pc:docMk/>
            <pc:sldMk cId="1731196988" sldId="1710"/>
            <ac:spMk id="77" creationId="{DCC05DFF-3822-43F6-A611-0206CB8FBE1F}"/>
          </ac:spMkLst>
        </pc:spChg>
        <pc:spChg chg="mod">
          <ac:chgData name="Yash Ratanpal" userId="5db668b1-93e7-4c08-9786-4ed81315a653" providerId="ADAL" clId="{3F7A7787-00CA-42A0-97CD-637349527123}" dt="2021-07-11T14:17:29.600" v="2533"/>
          <ac:spMkLst>
            <pc:docMk/>
            <pc:sldMk cId="1731196988" sldId="1710"/>
            <ac:spMk id="78" creationId="{53220642-6F06-42EB-8981-BB298770ED45}"/>
          </ac:spMkLst>
        </pc:spChg>
        <pc:spChg chg="mod">
          <ac:chgData name="Yash Ratanpal" userId="5db668b1-93e7-4c08-9786-4ed81315a653" providerId="ADAL" clId="{3F7A7787-00CA-42A0-97CD-637349527123}" dt="2021-07-11T14:17:29.600" v="2533"/>
          <ac:spMkLst>
            <pc:docMk/>
            <pc:sldMk cId="1731196988" sldId="1710"/>
            <ac:spMk id="79" creationId="{F73353AF-4BF0-41ED-AD92-884C23B0F17C}"/>
          </ac:spMkLst>
        </pc:spChg>
        <pc:spChg chg="add del mod">
          <ac:chgData name="Yash Ratanpal" userId="5db668b1-93e7-4c08-9786-4ed81315a653" providerId="ADAL" clId="{3F7A7787-00CA-42A0-97CD-637349527123}" dt="2021-07-11T14:17:30.649" v="2534"/>
          <ac:spMkLst>
            <pc:docMk/>
            <pc:sldMk cId="1731196988" sldId="1710"/>
            <ac:spMk id="80" creationId="{AA98C2D2-ACC6-48F2-97FE-4A1861EE16BA}"/>
          </ac:spMkLst>
        </pc:spChg>
        <pc:spChg chg="add del mod">
          <ac:chgData name="Yash Ratanpal" userId="5db668b1-93e7-4c08-9786-4ed81315a653" providerId="ADAL" clId="{3F7A7787-00CA-42A0-97CD-637349527123}" dt="2021-07-11T14:17:33.257" v="2536"/>
          <ac:spMkLst>
            <pc:docMk/>
            <pc:sldMk cId="1731196988" sldId="1710"/>
            <ac:spMk id="81" creationId="{2A89FF03-F44C-4931-8275-DBCFE20DB29C}"/>
          </ac:spMkLst>
        </pc:spChg>
        <pc:spChg chg="mod">
          <ac:chgData name="Yash Ratanpal" userId="5db668b1-93e7-4c08-9786-4ed81315a653" providerId="ADAL" clId="{3F7A7787-00CA-42A0-97CD-637349527123}" dt="2021-07-11T14:17:32.269" v="2535"/>
          <ac:spMkLst>
            <pc:docMk/>
            <pc:sldMk cId="1731196988" sldId="1710"/>
            <ac:spMk id="83" creationId="{4D84B289-874B-4500-ABDD-EEBA58C81451}"/>
          </ac:spMkLst>
        </pc:spChg>
        <pc:spChg chg="mod">
          <ac:chgData name="Yash Ratanpal" userId="5db668b1-93e7-4c08-9786-4ed81315a653" providerId="ADAL" clId="{3F7A7787-00CA-42A0-97CD-637349527123}" dt="2021-07-11T14:17:32.269" v="2535"/>
          <ac:spMkLst>
            <pc:docMk/>
            <pc:sldMk cId="1731196988" sldId="1710"/>
            <ac:spMk id="84" creationId="{A2C4EC0C-5C9B-41D4-8E3D-F1EDDDC01BC3}"/>
          </ac:spMkLst>
        </pc:spChg>
        <pc:spChg chg="mod">
          <ac:chgData name="Yash Ratanpal" userId="5db668b1-93e7-4c08-9786-4ed81315a653" providerId="ADAL" clId="{3F7A7787-00CA-42A0-97CD-637349527123}" dt="2021-07-11T14:17:32.269" v="2535"/>
          <ac:spMkLst>
            <pc:docMk/>
            <pc:sldMk cId="1731196988" sldId="1710"/>
            <ac:spMk id="85" creationId="{0C312386-22DD-4FCF-B7C9-669EB789A2FB}"/>
          </ac:spMkLst>
        </pc:spChg>
        <pc:spChg chg="mod">
          <ac:chgData name="Yash Ratanpal" userId="5db668b1-93e7-4c08-9786-4ed81315a653" providerId="ADAL" clId="{3F7A7787-00CA-42A0-97CD-637349527123}" dt="2021-07-11T14:17:32.269" v="2535"/>
          <ac:spMkLst>
            <pc:docMk/>
            <pc:sldMk cId="1731196988" sldId="1710"/>
            <ac:spMk id="86" creationId="{A363F004-D343-4968-B3A8-C8A1E2053023}"/>
          </ac:spMkLst>
        </pc:spChg>
        <pc:spChg chg="mod">
          <ac:chgData name="Yash Ratanpal" userId="5db668b1-93e7-4c08-9786-4ed81315a653" providerId="ADAL" clId="{3F7A7787-00CA-42A0-97CD-637349527123}" dt="2021-07-11T14:17:32.269" v="2535"/>
          <ac:spMkLst>
            <pc:docMk/>
            <pc:sldMk cId="1731196988" sldId="1710"/>
            <ac:spMk id="87" creationId="{641B5D38-8DE4-4DB9-82A1-A8FBD5A0A176}"/>
          </ac:spMkLst>
        </pc:spChg>
        <pc:spChg chg="mod">
          <ac:chgData name="Yash Ratanpal" userId="5db668b1-93e7-4c08-9786-4ed81315a653" providerId="ADAL" clId="{3F7A7787-00CA-42A0-97CD-637349527123}" dt="2021-07-11T14:17:32.269" v="2535"/>
          <ac:spMkLst>
            <pc:docMk/>
            <pc:sldMk cId="1731196988" sldId="1710"/>
            <ac:spMk id="88" creationId="{FB521B22-A0A5-4C81-8FB3-4A71307CBD0B}"/>
          </ac:spMkLst>
        </pc:spChg>
        <pc:spChg chg="mod">
          <ac:chgData name="Yash Ratanpal" userId="5db668b1-93e7-4c08-9786-4ed81315a653" providerId="ADAL" clId="{3F7A7787-00CA-42A0-97CD-637349527123}" dt="2021-07-11T14:17:32.269" v="2535"/>
          <ac:spMkLst>
            <pc:docMk/>
            <pc:sldMk cId="1731196988" sldId="1710"/>
            <ac:spMk id="89" creationId="{D2FAC508-3757-4001-994C-882E14AE21E7}"/>
          </ac:spMkLst>
        </pc:spChg>
        <pc:spChg chg="mod">
          <ac:chgData name="Yash Ratanpal" userId="5db668b1-93e7-4c08-9786-4ed81315a653" providerId="ADAL" clId="{3F7A7787-00CA-42A0-97CD-637349527123}" dt="2021-07-11T14:17:32.269" v="2535"/>
          <ac:spMkLst>
            <pc:docMk/>
            <pc:sldMk cId="1731196988" sldId="1710"/>
            <ac:spMk id="90" creationId="{FFDFCC09-4D76-4543-A671-A02D573F3849}"/>
          </ac:spMkLst>
        </pc:spChg>
        <pc:spChg chg="mod">
          <ac:chgData name="Yash Ratanpal" userId="5db668b1-93e7-4c08-9786-4ed81315a653" providerId="ADAL" clId="{3F7A7787-00CA-42A0-97CD-637349527123}" dt="2021-07-11T14:17:32.269" v="2535"/>
          <ac:spMkLst>
            <pc:docMk/>
            <pc:sldMk cId="1731196988" sldId="1710"/>
            <ac:spMk id="91" creationId="{0A04A337-20B4-4E16-AA4B-9F8C43352B14}"/>
          </ac:spMkLst>
        </pc:spChg>
        <pc:spChg chg="mod">
          <ac:chgData name="Yash Ratanpal" userId="5db668b1-93e7-4c08-9786-4ed81315a653" providerId="ADAL" clId="{3F7A7787-00CA-42A0-97CD-637349527123}" dt="2021-07-11T14:17:32.269" v="2535"/>
          <ac:spMkLst>
            <pc:docMk/>
            <pc:sldMk cId="1731196988" sldId="1710"/>
            <ac:spMk id="92" creationId="{682DE846-21BE-4A57-A16B-574BC1FAF1CA}"/>
          </ac:spMkLst>
        </pc:spChg>
        <pc:spChg chg="mod">
          <ac:chgData name="Yash Ratanpal" userId="5db668b1-93e7-4c08-9786-4ed81315a653" providerId="ADAL" clId="{3F7A7787-00CA-42A0-97CD-637349527123}" dt="2021-07-11T14:17:32.269" v="2535"/>
          <ac:spMkLst>
            <pc:docMk/>
            <pc:sldMk cId="1731196988" sldId="1710"/>
            <ac:spMk id="93" creationId="{F8151FE8-B07F-4B3B-BA21-63D0BE34198E}"/>
          </ac:spMkLst>
        </pc:spChg>
        <pc:spChg chg="mod">
          <ac:chgData name="Yash Ratanpal" userId="5db668b1-93e7-4c08-9786-4ed81315a653" providerId="ADAL" clId="{3F7A7787-00CA-42A0-97CD-637349527123}" dt="2021-07-11T14:17:32.269" v="2535"/>
          <ac:spMkLst>
            <pc:docMk/>
            <pc:sldMk cId="1731196988" sldId="1710"/>
            <ac:spMk id="94" creationId="{DBC092F4-0799-4ED0-9937-E65F480E0977}"/>
          </ac:spMkLst>
        </pc:spChg>
        <pc:spChg chg="mod">
          <ac:chgData name="Yash Ratanpal" userId="5db668b1-93e7-4c08-9786-4ed81315a653" providerId="ADAL" clId="{3F7A7787-00CA-42A0-97CD-637349527123}" dt="2021-07-11T14:17:32.269" v="2535"/>
          <ac:spMkLst>
            <pc:docMk/>
            <pc:sldMk cId="1731196988" sldId="1710"/>
            <ac:spMk id="95" creationId="{490D0ADC-CC40-4845-9FD9-D9D28F0624B2}"/>
          </ac:spMkLst>
        </pc:spChg>
        <pc:spChg chg="mod">
          <ac:chgData name="Yash Ratanpal" userId="5db668b1-93e7-4c08-9786-4ed81315a653" providerId="ADAL" clId="{3F7A7787-00CA-42A0-97CD-637349527123}" dt="2021-07-11T14:17:32.269" v="2535"/>
          <ac:spMkLst>
            <pc:docMk/>
            <pc:sldMk cId="1731196988" sldId="1710"/>
            <ac:spMk id="96" creationId="{183B9557-237B-4016-A366-DAD451C01516}"/>
          </ac:spMkLst>
        </pc:spChg>
        <pc:spChg chg="mod">
          <ac:chgData name="Yash Ratanpal" userId="5db668b1-93e7-4c08-9786-4ed81315a653" providerId="ADAL" clId="{3F7A7787-00CA-42A0-97CD-637349527123}" dt="2021-07-11T14:17:32.269" v="2535"/>
          <ac:spMkLst>
            <pc:docMk/>
            <pc:sldMk cId="1731196988" sldId="1710"/>
            <ac:spMk id="97" creationId="{5EF45AD6-02AE-4AF3-BE82-3928FDAAD029}"/>
          </ac:spMkLst>
        </pc:spChg>
        <pc:spChg chg="mod">
          <ac:chgData name="Yash Ratanpal" userId="5db668b1-93e7-4c08-9786-4ed81315a653" providerId="ADAL" clId="{3F7A7787-00CA-42A0-97CD-637349527123}" dt="2021-07-11T14:17:32.269" v="2535"/>
          <ac:spMkLst>
            <pc:docMk/>
            <pc:sldMk cId="1731196988" sldId="1710"/>
            <ac:spMk id="98" creationId="{55579F5A-8D23-4389-81C6-A5ED320C9F9D}"/>
          </ac:spMkLst>
        </pc:spChg>
        <pc:spChg chg="mod">
          <ac:chgData name="Yash Ratanpal" userId="5db668b1-93e7-4c08-9786-4ed81315a653" providerId="ADAL" clId="{3F7A7787-00CA-42A0-97CD-637349527123}" dt="2021-07-11T14:17:32.269" v="2535"/>
          <ac:spMkLst>
            <pc:docMk/>
            <pc:sldMk cId="1731196988" sldId="1710"/>
            <ac:spMk id="99" creationId="{8297453D-965D-4BF6-9254-A280EE4FB28E}"/>
          </ac:spMkLst>
        </pc:spChg>
        <pc:spChg chg="mod">
          <ac:chgData name="Yash Ratanpal" userId="5db668b1-93e7-4c08-9786-4ed81315a653" providerId="ADAL" clId="{3F7A7787-00CA-42A0-97CD-637349527123}" dt="2021-07-11T14:17:32.269" v="2535"/>
          <ac:spMkLst>
            <pc:docMk/>
            <pc:sldMk cId="1731196988" sldId="1710"/>
            <ac:spMk id="100" creationId="{ADFA8E65-5C9C-48D2-A5F2-F9408FD3BFE0}"/>
          </ac:spMkLst>
        </pc:spChg>
        <pc:spChg chg="add del mod">
          <ac:chgData name="Yash Ratanpal" userId="5db668b1-93e7-4c08-9786-4ed81315a653" providerId="ADAL" clId="{3F7A7787-00CA-42A0-97CD-637349527123}" dt="2021-07-11T14:17:33.257" v="2536"/>
          <ac:spMkLst>
            <pc:docMk/>
            <pc:sldMk cId="1731196988" sldId="1710"/>
            <ac:spMk id="101" creationId="{76ED1C97-16ED-4EED-867B-FF270DCF644F}"/>
          </ac:spMkLst>
        </pc:spChg>
        <pc:spChg chg="add del mod">
          <ac:chgData name="Yash Ratanpal" userId="5db668b1-93e7-4c08-9786-4ed81315a653" providerId="ADAL" clId="{3F7A7787-00CA-42A0-97CD-637349527123}" dt="2021-07-11T14:17:39.176" v="2538"/>
          <ac:spMkLst>
            <pc:docMk/>
            <pc:sldMk cId="1731196988" sldId="1710"/>
            <ac:spMk id="102" creationId="{EA1692AE-A98D-419E-A664-B11E3035D8A8}"/>
          </ac:spMkLst>
        </pc:spChg>
        <pc:spChg chg="mod">
          <ac:chgData name="Yash Ratanpal" userId="5db668b1-93e7-4c08-9786-4ed81315a653" providerId="ADAL" clId="{3F7A7787-00CA-42A0-97CD-637349527123}" dt="2021-07-11T14:17:37.652" v="2537"/>
          <ac:spMkLst>
            <pc:docMk/>
            <pc:sldMk cId="1731196988" sldId="1710"/>
            <ac:spMk id="104" creationId="{01BD3F80-B9FA-4581-A453-35C74B5CEE20}"/>
          </ac:spMkLst>
        </pc:spChg>
        <pc:spChg chg="mod">
          <ac:chgData name="Yash Ratanpal" userId="5db668b1-93e7-4c08-9786-4ed81315a653" providerId="ADAL" clId="{3F7A7787-00CA-42A0-97CD-637349527123}" dt="2021-07-11T14:17:37.652" v="2537"/>
          <ac:spMkLst>
            <pc:docMk/>
            <pc:sldMk cId="1731196988" sldId="1710"/>
            <ac:spMk id="105" creationId="{B96C746E-8936-4B89-B78C-78C71146B467}"/>
          </ac:spMkLst>
        </pc:spChg>
        <pc:spChg chg="mod">
          <ac:chgData name="Yash Ratanpal" userId="5db668b1-93e7-4c08-9786-4ed81315a653" providerId="ADAL" clId="{3F7A7787-00CA-42A0-97CD-637349527123}" dt="2021-07-11T14:17:37.652" v="2537"/>
          <ac:spMkLst>
            <pc:docMk/>
            <pc:sldMk cId="1731196988" sldId="1710"/>
            <ac:spMk id="106" creationId="{71ED1D78-32E3-4C98-99E2-3D8970196426}"/>
          </ac:spMkLst>
        </pc:spChg>
        <pc:spChg chg="mod">
          <ac:chgData name="Yash Ratanpal" userId="5db668b1-93e7-4c08-9786-4ed81315a653" providerId="ADAL" clId="{3F7A7787-00CA-42A0-97CD-637349527123}" dt="2021-07-11T14:17:37.652" v="2537"/>
          <ac:spMkLst>
            <pc:docMk/>
            <pc:sldMk cId="1731196988" sldId="1710"/>
            <ac:spMk id="107" creationId="{53D89E2C-4740-4DE7-A172-6F31F0585466}"/>
          </ac:spMkLst>
        </pc:spChg>
        <pc:spChg chg="mod">
          <ac:chgData name="Yash Ratanpal" userId="5db668b1-93e7-4c08-9786-4ed81315a653" providerId="ADAL" clId="{3F7A7787-00CA-42A0-97CD-637349527123}" dt="2021-07-11T14:17:37.652" v="2537"/>
          <ac:spMkLst>
            <pc:docMk/>
            <pc:sldMk cId="1731196988" sldId="1710"/>
            <ac:spMk id="108" creationId="{84366684-BC11-4A7B-9EEA-11889549D9D0}"/>
          </ac:spMkLst>
        </pc:spChg>
        <pc:spChg chg="mod">
          <ac:chgData name="Yash Ratanpal" userId="5db668b1-93e7-4c08-9786-4ed81315a653" providerId="ADAL" clId="{3F7A7787-00CA-42A0-97CD-637349527123}" dt="2021-07-11T14:17:37.652" v="2537"/>
          <ac:spMkLst>
            <pc:docMk/>
            <pc:sldMk cId="1731196988" sldId="1710"/>
            <ac:spMk id="109" creationId="{422BD121-B7C5-481E-B731-8EF41DA82A09}"/>
          </ac:spMkLst>
        </pc:spChg>
        <pc:spChg chg="mod">
          <ac:chgData name="Yash Ratanpal" userId="5db668b1-93e7-4c08-9786-4ed81315a653" providerId="ADAL" clId="{3F7A7787-00CA-42A0-97CD-637349527123}" dt="2021-07-11T14:17:37.652" v="2537"/>
          <ac:spMkLst>
            <pc:docMk/>
            <pc:sldMk cId="1731196988" sldId="1710"/>
            <ac:spMk id="110" creationId="{9AD6D0B4-0352-4D43-AE9B-3733BE16B08A}"/>
          </ac:spMkLst>
        </pc:spChg>
        <pc:spChg chg="mod">
          <ac:chgData name="Yash Ratanpal" userId="5db668b1-93e7-4c08-9786-4ed81315a653" providerId="ADAL" clId="{3F7A7787-00CA-42A0-97CD-637349527123}" dt="2021-07-11T14:17:37.652" v="2537"/>
          <ac:spMkLst>
            <pc:docMk/>
            <pc:sldMk cId="1731196988" sldId="1710"/>
            <ac:spMk id="111" creationId="{E96DC53E-0041-4CFB-9602-E096B3B105D7}"/>
          </ac:spMkLst>
        </pc:spChg>
        <pc:spChg chg="mod">
          <ac:chgData name="Yash Ratanpal" userId="5db668b1-93e7-4c08-9786-4ed81315a653" providerId="ADAL" clId="{3F7A7787-00CA-42A0-97CD-637349527123}" dt="2021-07-11T14:17:37.652" v="2537"/>
          <ac:spMkLst>
            <pc:docMk/>
            <pc:sldMk cId="1731196988" sldId="1710"/>
            <ac:spMk id="112" creationId="{D1DFBD11-2A94-4C76-9920-2DAB100A425A}"/>
          </ac:spMkLst>
        </pc:spChg>
        <pc:spChg chg="mod">
          <ac:chgData name="Yash Ratanpal" userId="5db668b1-93e7-4c08-9786-4ed81315a653" providerId="ADAL" clId="{3F7A7787-00CA-42A0-97CD-637349527123}" dt="2021-07-11T14:17:37.652" v="2537"/>
          <ac:spMkLst>
            <pc:docMk/>
            <pc:sldMk cId="1731196988" sldId="1710"/>
            <ac:spMk id="113" creationId="{B3916FDB-9C1C-4308-8B3F-8F147255F816}"/>
          </ac:spMkLst>
        </pc:spChg>
        <pc:spChg chg="mod">
          <ac:chgData name="Yash Ratanpal" userId="5db668b1-93e7-4c08-9786-4ed81315a653" providerId="ADAL" clId="{3F7A7787-00CA-42A0-97CD-637349527123}" dt="2021-07-11T14:17:37.652" v="2537"/>
          <ac:spMkLst>
            <pc:docMk/>
            <pc:sldMk cId="1731196988" sldId="1710"/>
            <ac:spMk id="114" creationId="{3A67451C-CA3C-4B7B-A7DF-0CEBB748302E}"/>
          </ac:spMkLst>
        </pc:spChg>
        <pc:spChg chg="mod">
          <ac:chgData name="Yash Ratanpal" userId="5db668b1-93e7-4c08-9786-4ed81315a653" providerId="ADAL" clId="{3F7A7787-00CA-42A0-97CD-637349527123}" dt="2021-07-11T14:17:37.652" v="2537"/>
          <ac:spMkLst>
            <pc:docMk/>
            <pc:sldMk cId="1731196988" sldId="1710"/>
            <ac:spMk id="115" creationId="{5F4DAC3C-7F86-4CA4-BD3A-09E27E19A7D3}"/>
          </ac:spMkLst>
        </pc:spChg>
        <pc:spChg chg="mod">
          <ac:chgData name="Yash Ratanpal" userId="5db668b1-93e7-4c08-9786-4ed81315a653" providerId="ADAL" clId="{3F7A7787-00CA-42A0-97CD-637349527123}" dt="2021-07-11T14:17:37.652" v="2537"/>
          <ac:spMkLst>
            <pc:docMk/>
            <pc:sldMk cId="1731196988" sldId="1710"/>
            <ac:spMk id="116" creationId="{F9E1A67E-8E67-472A-A24B-DC2346A7BE36}"/>
          </ac:spMkLst>
        </pc:spChg>
        <pc:spChg chg="mod">
          <ac:chgData name="Yash Ratanpal" userId="5db668b1-93e7-4c08-9786-4ed81315a653" providerId="ADAL" clId="{3F7A7787-00CA-42A0-97CD-637349527123}" dt="2021-07-11T14:17:37.652" v="2537"/>
          <ac:spMkLst>
            <pc:docMk/>
            <pc:sldMk cId="1731196988" sldId="1710"/>
            <ac:spMk id="117" creationId="{8E7173DD-1F08-4CC5-81BD-69BA2824A0D2}"/>
          </ac:spMkLst>
        </pc:spChg>
        <pc:spChg chg="mod">
          <ac:chgData name="Yash Ratanpal" userId="5db668b1-93e7-4c08-9786-4ed81315a653" providerId="ADAL" clId="{3F7A7787-00CA-42A0-97CD-637349527123}" dt="2021-07-11T14:17:37.652" v="2537"/>
          <ac:spMkLst>
            <pc:docMk/>
            <pc:sldMk cId="1731196988" sldId="1710"/>
            <ac:spMk id="118" creationId="{1737909A-0E2D-4F21-B505-CB51C25C7F64}"/>
          </ac:spMkLst>
        </pc:spChg>
        <pc:spChg chg="mod">
          <ac:chgData name="Yash Ratanpal" userId="5db668b1-93e7-4c08-9786-4ed81315a653" providerId="ADAL" clId="{3F7A7787-00CA-42A0-97CD-637349527123}" dt="2021-07-11T14:17:37.652" v="2537"/>
          <ac:spMkLst>
            <pc:docMk/>
            <pc:sldMk cId="1731196988" sldId="1710"/>
            <ac:spMk id="119" creationId="{4852D80C-0088-442F-8B64-9354B2D0843E}"/>
          </ac:spMkLst>
        </pc:spChg>
        <pc:spChg chg="mod">
          <ac:chgData name="Yash Ratanpal" userId="5db668b1-93e7-4c08-9786-4ed81315a653" providerId="ADAL" clId="{3F7A7787-00CA-42A0-97CD-637349527123}" dt="2021-07-11T14:17:37.652" v="2537"/>
          <ac:spMkLst>
            <pc:docMk/>
            <pc:sldMk cId="1731196988" sldId="1710"/>
            <ac:spMk id="120" creationId="{A09405FF-C460-4A4B-907E-F6ED87F21125}"/>
          </ac:spMkLst>
        </pc:spChg>
        <pc:spChg chg="mod">
          <ac:chgData name="Yash Ratanpal" userId="5db668b1-93e7-4c08-9786-4ed81315a653" providerId="ADAL" clId="{3F7A7787-00CA-42A0-97CD-637349527123}" dt="2021-07-11T14:17:37.652" v="2537"/>
          <ac:spMkLst>
            <pc:docMk/>
            <pc:sldMk cId="1731196988" sldId="1710"/>
            <ac:spMk id="121" creationId="{A2B3469E-B5E9-4296-9824-A17E2D039FE8}"/>
          </ac:spMkLst>
        </pc:spChg>
        <pc:spChg chg="add del mod">
          <ac:chgData name="Yash Ratanpal" userId="5db668b1-93e7-4c08-9786-4ed81315a653" providerId="ADAL" clId="{3F7A7787-00CA-42A0-97CD-637349527123}" dt="2021-07-11T14:17:39.176" v="2538"/>
          <ac:spMkLst>
            <pc:docMk/>
            <pc:sldMk cId="1731196988" sldId="1710"/>
            <ac:spMk id="122" creationId="{0B8EC890-BBE9-4A66-A62E-50E64BC5603B}"/>
          </ac:spMkLst>
        </pc:spChg>
        <pc:spChg chg="add del mod">
          <ac:chgData name="Yash Ratanpal" userId="5db668b1-93e7-4c08-9786-4ed81315a653" providerId="ADAL" clId="{3F7A7787-00CA-42A0-97CD-637349527123}" dt="2021-07-11T14:17:43.552" v="2542"/>
          <ac:spMkLst>
            <pc:docMk/>
            <pc:sldMk cId="1731196988" sldId="1710"/>
            <ac:spMk id="123" creationId="{69B1FE86-C357-4CF9-9B09-DE2AE346E24E}"/>
          </ac:spMkLst>
        </pc:spChg>
        <pc:spChg chg="mod">
          <ac:chgData name="Yash Ratanpal" userId="5db668b1-93e7-4c08-9786-4ed81315a653" providerId="ADAL" clId="{3F7A7787-00CA-42A0-97CD-637349527123}" dt="2021-07-11T14:17:40.290" v="2539"/>
          <ac:spMkLst>
            <pc:docMk/>
            <pc:sldMk cId="1731196988" sldId="1710"/>
            <ac:spMk id="125" creationId="{616060EA-74F9-4B80-9D19-801794B61D38}"/>
          </ac:spMkLst>
        </pc:spChg>
        <pc:spChg chg="mod">
          <ac:chgData name="Yash Ratanpal" userId="5db668b1-93e7-4c08-9786-4ed81315a653" providerId="ADAL" clId="{3F7A7787-00CA-42A0-97CD-637349527123}" dt="2021-07-11T14:17:40.290" v="2539"/>
          <ac:spMkLst>
            <pc:docMk/>
            <pc:sldMk cId="1731196988" sldId="1710"/>
            <ac:spMk id="126" creationId="{AE79EB68-350C-42C1-BF3C-B927FCE192AF}"/>
          </ac:spMkLst>
        </pc:spChg>
        <pc:spChg chg="mod">
          <ac:chgData name="Yash Ratanpal" userId="5db668b1-93e7-4c08-9786-4ed81315a653" providerId="ADAL" clId="{3F7A7787-00CA-42A0-97CD-637349527123}" dt="2021-07-11T14:17:40.290" v="2539"/>
          <ac:spMkLst>
            <pc:docMk/>
            <pc:sldMk cId="1731196988" sldId="1710"/>
            <ac:spMk id="127" creationId="{1992DF36-F9B8-4A13-A53A-A543F35169E4}"/>
          </ac:spMkLst>
        </pc:spChg>
        <pc:spChg chg="mod">
          <ac:chgData name="Yash Ratanpal" userId="5db668b1-93e7-4c08-9786-4ed81315a653" providerId="ADAL" clId="{3F7A7787-00CA-42A0-97CD-637349527123}" dt="2021-07-11T14:17:40.290" v="2539"/>
          <ac:spMkLst>
            <pc:docMk/>
            <pc:sldMk cId="1731196988" sldId="1710"/>
            <ac:spMk id="128" creationId="{24C84CA2-BDD4-4244-A195-CCAEB730F37F}"/>
          </ac:spMkLst>
        </pc:spChg>
        <pc:spChg chg="mod">
          <ac:chgData name="Yash Ratanpal" userId="5db668b1-93e7-4c08-9786-4ed81315a653" providerId="ADAL" clId="{3F7A7787-00CA-42A0-97CD-637349527123}" dt="2021-07-11T14:17:40.290" v="2539"/>
          <ac:spMkLst>
            <pc:docMk/>
            <pc:sldMk cId="1731196988" sldId="1710"/>
            <ac:spMk id="129" creationId="{E02EBD46-9CB6-4581-B6A2-DE27723B12FE}"/>
          </ac:spMkLst>
        </pc:spChg>
        <pc:spChg chg="mod">
          <ac:chgData name="Yash Ratanpal" userId="5db668b1-93e7-4c08-9786-4ed81315a653" providerId="ADAL" clId="{3F7A7787-00CA-42A0-97CD-637349527123}" dt="2021-07-11T14:17:40.290" v="2539"/>
          <ac:spMkLst>
            <pc:docMk/>
            <pc:sldMk cId="1731196988" sldId="1710"/>
            <ac:spMk id="130" creationId="{AE3BF73B-E4DE-420F-9B67-C7F95B59D388}"/>
          </ac:spMkLst>
        </pc:spChg>
        <pc:spChg chg="mod">
          <ac:chgData name="Yash Ratanpal" userId="5db668b1-93e7-4c08-9786-4ed81315a653" providerId="ADAL" clId="{3F7A7787-00CA-42A0-97CD-637349527123}" dt="2021-07-11T14:17:40.290" v="2539"/>
          <ac:spMkLst>
            <pc:docMk/>
            <pc:sldMk cId="1731196988" sldId="1710"/>
            <ac:spMk id="131" creationId="{64F7766A-EA09-4D53-BCF4-91CC581BA804}"/>
          </ac:spMkLst>
        </pc:spChg>
        <pc:spChg chg="mod">
          <ac:chgData name="Yash Ratanpal" userId="5db668b1-93e7-4c08-9786-4ed81315a653" providerId="ADAL" clId="{3F7A7787-00CA-42A0-97CD-637349527123}" dt="2021-07-11T14:17:40.290" v="2539"/>
          <ac:spMkLst>
            <pc:docMk/>
            <pc:sldMk cId="1731196988" sldId="1710"/>
            <ac:spMk id="132" creationId="{E6EDC0C4-35E7-42DE-9E03-A31F8440672D}"/>
          </ac:spMkLst>
        </pc:spChg>
        <pc:spChg chg="mod">
          <ac:chgData name="Yash Ratanpal" userId="5db668b1-93e7-4c08-9786-4ed81315a653" providerId="ADAL" clId="{3F7A7787-00CA-42A0-97CD-637349527123}" dt="2021-07-11T14:17:40.290" v="2539"/>
          <ac:spMkLst>
            <pc:docMk/>
            <pc:sldMk cId="1731196988" sldId="1710"/>
            <ac:spMk id="133" creationId="{0381D03C-B702-45DD-AEF3-E85873F84C07}"/>
          </ac:spMkLst>
        </pc:spChg>
        <pc:spChg chg="mod">
          <ac:chgData name="Yash Ratanpal" userId="5db668b1-93e7-4c08-9786-4ed81315a653" providerId="ADAL" clId="{3F7A7787-00CA-42A0-97CD-637349527123}" dt="2021-07-11T14:17:40.290" v="2539"/>
          <ac:spMkLst>
            <pc:docMk/>
            <pc:sldMk cId="1731196988" sldId="1710"/>
            <ac:spMk id="134" creationId="{4AA14419-AD06-4EFB-BDBE-C881C660E645}"/>
          </ac:spMkLst>
        </pc:spChg>
        <pc:spChg chg="mod">
          <ac:chgData name="Yash Ratanpal" userId="5db668b1-93e7-4c08-9786-4ed81315a653" providerId="ADAL" clId="{3F7A7787-00CA-42A0-97CD-637349527123}" dt="2021-07-11T14:17:40.290" v="2539"/>
          <ac:spMkLst>
            <pc:docMk/>
            <pc:sldMk cId="1731196988" sldId="1710"/>
            <ac:spMk id="135" creationId="{FE152F51-4984-4ADC-83B8-7CA2EFA0ECC6}"/>
          </ac:spMkLst>
        </pc:spChg>
        <pc:spChg chg="mod">
          <ac:chgData name="Yash Ratanpal" userId="5db668b1-93e7-4c08-9786-4ed81315a653" providerId="ADAL" clId="{3F7A7787-00CA-42A0-97CD-637349527123}" dt="2021-07-11T14:17:40.290" v="2539"/>
          <ac:spMkLst>
            <pc:docMk/>
            <pc:sldMk cId="1731196988" sldId="1710"/>
            <ac:spMk id="136" creationId="{8A96B246-8ECD-4CD7-9B47-0D84E01FAC19}"/>
          </ac:spMkLst>
        </pc:spChg>
        <pc:spChg chg="mod">
          <ac:chgData name="Yash Ratanpal" userId="5db668b1-93e7-4c08-9786-4ed81315a653" providerId="ADAL" clId="{3F7A7787-00CA-42A0-97CD-637349527123}" dt="2021-07-11T14:17:40.290" v="2539"/>
          <ac:spMkLst>
            <pc:docMk/>
            <pc:sldMk cId="1731196988" sldId="1710"/>
            <ac:spMk id="137" creationId="{ADC39B43-BB1F-45D4-B9B0-4C8589EADD15}"/>
          </ac:spMkLst>
        </pc:spChg>
        <pc:spChg chg="mod">
          <ac:chgData name="Yash Ratanpal" userId="5db668b1-93e7-4c08-9786-4ed81315a653" providerId="ADAL" clId="{3F7A7787-00CA-42A0-97CD-637349527123}" dt="2021-07-11T14:17:40.290" v="2539"/>
          <ac:spMkLst>
            <pc:docMk/>
            <pc:sldMk cId="1731196988" sldId="1710"/>
            <ac:spMk id="138" creationId="{1405B94D-695E-493E-8A87-9FFDC01A3A81}"/>
          </ac:spMkLst>
        </pc:spChg>
        <pc:spChg chg="mod">
          <ac:chgData name="Yash Ratanpal" userId="5db668b1-93e7-4c08-9786-4ed81315a653" providerId="ADAL" clId="{3F7A7787-00CA-42A0-97CD-637349527123}" dt="2021-07-11T14:17:40.290" v="2539"/>
          <ac:spMkLst>
            <pc:docMk/>
            <pc:sldMk cId="1731196988" sldId="1710"/>
            <ac:spMk id="139" creationId="{0BBFF064-5E99-4B7D-A7EE-A0C11D41C14F}"/>
          </ac:spMkLst>
        </pc:spChg>
        <pc:spChg chg="mod">
          <ac:chgData name="Yash Ratanpal" userId="5db668b1-93e7-4c08-9786-4ed81315a653" providerId="ADAL" clId="{3F7A7787-00CA-42A0-97CD-637349527123}" dt="2021-07-11T14:17:40.290" v="2539"/>
          <ac:spMkLst>
            <pc:docMk/>
            <pc:sldMk cId="1731196988" sldId="1710"/>
            <ac:spMk id="140" creationId="{6900CFEB-EDA1-4B47-AA4E-ED4B705ABF16}"/>
          </ac:spMkLst>
        </pc:spChg>
        <pc:spChg chg="mod">
          <ac:chgData name="Yash Ratanpal" userId="5db668b1-93e7-4c08-9786-4ed81315a653" providerId="ADAL" clId="{3F7A7787-00CA-42A0-97CD-637349527123}" dt="2021-07-11T14:17:40.290" v="2539"/>
          <ac:spMkLst>
            <pc:docMk/>
            <pc:sldMk cId="1731196988" sldId="1710"/>
            <ac:spMk id="141" creationId="{BEC990B1-57A2-41C6-B035-1841A18F2AA1}"/>
          </ac:spMkLst>
        </pc:spChg>
        <pc:spChg chg="mod">
          <ac:chgData name="Yash Ratanpal" userId="5db668b1-93e7-4c08-9786-4ed81315a653" providerId="ADAL" clId="{3F7A7787-00CA-42A0-97CD-637349527123}" dt="2021-07-11T14:17:40.290" v="2539"/>
          <ac:spMkLst>
            <pc:docMk/>
            <pc:sldMk cId="1731196988" sldId="1710"/>
            <ac:spMk id="142" creationId="{3B78C336-CCC6-407E-A052-C63B6114015F}"/>
          </ac:spMkLst>
        </pc:spChg>
        <pc:spChg chg="add del mod">
          <ac:chgData name="Yash Ratanpal" userId="5db668b1-93e7-4c08-9786-4ed81315a653" providerId="ADAL" clId="{3F7A7787-00CA-42A0-97CD-637349527123}" dt="2021-07-11T14:17:43.552" v="2542"/>
          <ac:spMkLst>
            <pc:docMk/>
            <pc:sldMk cId="1731196988" sldId="1710"/>
            <ac:spMk id="143" creationId="{FA4B21CD-9196-47FD-8EA4-380B09B23EFA}"/>
          </ac:spMkLst>
        </pc:spChg>
        <pc:spChg chg="add mod">
          <ac:chgData name="Yash Ratanpal" userId="5db668b1-93e7-4c08-9786-4ed81315a653" providerId="ADAL" clId="{3F7A7787-00CA-42A0-97CD-637349527123}" dt="2021-07-11T14:17:51.398" v="2544" actId="1076"/>
          <ac:spMkLst>
            <pc:docMk/>
            <pc:sldMk cId="1731196988" sldId="1710"/>
            <ac:spMk id="144" creationId="{4F88608A-C458-4D79-A468-9B74953A8C65}"/>
          </ac:spMkLst>
        </pc:spChg>
        <pc:spChg chg="mod">
          <ac:chgData name="Yash Ratanpal" userId="5db668b1-93e7-4c08-9786-4ed81315a653" providerId="ADAL" clId="{3F7A7787-00CA-42A0-97CD-637349527123}" dt="2021-07-18T17:17:19.017" v="8327" actId="207"/>
          <ac:spMkLst>
            <pc:docMk/>
            <pc:sldMk cId="1731196988" sldId="1710"/>
            <ac:spMk id="146" creationId="{13969BBD-D4ED-4D3A-BC06-7AAAE4D1C26D}"/>
          </ac:spMkLst>
        </pc:spChg>
        <pc:spChg chg="mod">
          <ac:chgData name="Yash Ratanpal" userId="5db668b1-93e7-4c08-9786-4ed81315a653" providerId="ADAL" clId="{3F7A7787-00CA-42A0-97CD-637349527123}" dt="2021-07-18T17:17:18.393" v="8326" actId="207"/>
          <ac:spMkLst>
            <pc:docMk/>
            <pc:sldMk cId="1731196988" sldId="1710"/>
            <ac:spMk id="147" creationId="{6C7858E4-45D2-4A14-92E0-8BAC87EC5DDA}"/>
          </ac:spMkLst>
        </pc:spChg>
        <pc:spChg chg="mod">
          <ac:chgData name="Yash Ratanpal" userId="5db668b1-93e7-4c08-9786-4ed81315a653" providerId="ADAL" clId="{3F7A7787-00CA-42A0-97CD-637349527123}" dt="2021-07-18T17:17:16.266" v="8324" actId="207"/>
          <ac:spMkLst>
            <pc:docMk/>
            <pc:sldMk cId="1731196988" sldId="1710"/>
            <ac:spMk id="148" creationId="{E8BA97BB-4813-4377-B54E-C595487858FC}"/>
          </ac:spMkLst>
        </pc:spChg>
        <pc:spChg chg="mod">
          <ac:chgData name="Yash Ratanpal" userId="5db668b1-93e7-4c08-9786-4ed81315a653" providerId="ADAL" clId="{3F7A7787-00CA-42A0-97CD-637349527123}" dt="2021-07-11T14:17:47.683" v="2543"/>
          <ac:spMkLst>
            <pc:docMk/>
            <pc:sldMk cId="1731196988" sldId="1710"/>
            <ac:spMk id="149" creationId="{315E95FD-2B37-4BCD-B595-5B847C85AB4E}"/>
          </ac:spMkLst>
        </pc:spChg>
        <pc:spChg chg="mod">
          <ac:chgData name="Yash Ratanpal" userId="5db668b1-93e7-4c08-9786-4ed81315a653" providerId="ADAL" clId="{3F7A7787-00CA-42A0-97CD-637349527123}" dt="2021-07-18T17:17:17.684" v="8325" actId="207"/>
          <ac:spMkLst>
            <pc:docMk/>
            <pc:sldMk cId="1731196988" sldId="1710"/>
            <ac:spMk id="150" creationId="{C503B24A-05BC-4ED5-B4D9-B9EC2A2C7E78}"/>
          </ac:spMkLst>
        </pc:spChg>
        <pc:spChg chg="mod">
          <ac:chgData name="Yash Ratanpal" userId="5db668b1-93e7-4c08-9786-4ed81315a653" providerId="ADAL" clId="{3F7A7787-00CA-42A0-97CD-637349527123}" dt="2021-07-11T14:17:47.683" v="2543"/>
          <ac:spMkLst>
            <pc:docMk/>
            <pc:sldMk cId="1731196988" sldId="1710"/>
            <ac:spMk id="151" creationId="{B8778CC7-180B-491A-9444-421E68185079}"/>
          </ac:spMkLst>
        </pc:spChg>
        <pc:spChg chg="mod">
          <ac:chgData name="Yash Ratanpal" userId="5db668b1-93e7-4c08-9786-4ed81315a653" providerId="ADAL" clId="{3F7A7787-00CA-42A0-97CD-637349527123}" dt="2021-07-11T14:17:47.683" v="2543"/>
          <ac:spMkLst>
            <pc:docMk/>
            <pc:sldMk cId="1731196988" sldId="1710"/>
            <ac:spMk id="152" creationId="{5153EBDF-663E-4546-B29E-9587C7223D3D}"/>
          </ac:spMkLst>
        </pc:spChg>
        <pc:spChg chg="mod">
          <ac:chgData name="Yash Ratanpal" userId="5db668b1-93e7-4c08-9786-4ed81315a653" providerId="ADAL" clId="{3F7A7787-00CA-42A0-97CD-637349527123}" dt="2021-07-11T14:17:47.683" v="2543"/>
          <ac:spMkLst>
            <pc:docMk/>
            <pc:sldMk cId="1731196988" sldId="1710"/>
            <ac:spMk id="153" creationId="{20F21290-7CBA-42A5-BDA6-4B5AEEC0A074}"/>
          </ac:spMkLst>
        </pc:spChg>
        <pc:spChg chg="mod">
          <ac:chgData name="Yash Ratanpal" userId="5db668b1-93e7-4c08-9786-4ed81315a653" providerId="ADAL" clId="{3F7A7787-00CA-42A0-97CD-637349527123}" dt="2021-07-11T14:17:47.683" v="2543"/>
          <ac:spMkLst>
            <pc:docMk/>
            <pc:sldMk cId="1731196988" sldId="1710"/>
            <ac:spMk id="154" creationId="{549EAC1E-FE17-4EE9-9D85-B2248CEB139C}"/>
          </ac:spMkLst>
        </pc:spChg>
        <pc:spChg chg="mod">
          <ac:chgData name="Yash Ratanpal" userId="5db668b1-93e7-4c08-9786-4ed81315a653" providerId="ADAL" clId="{3F7A7787-00CA-42A0-97CD-637349527123}" dt="2021-07-11T14:17:47.683" v="2543"/>
          <ac:spMkLst>
            <pc:docMk/>
            <pc:sldMk cId="1731196988" sldId="1710"/>
            <ac:spMk id="155" creationId="{E92EB2FD-5356-49EE-AC7E-9C41F457F452}"/>
          </ac:spMkLst>
        </pc:spChg>
        <pc:spChg chg="mod">
          <ac:chgData name="Yash Ratanpal" userId="5db668b1-93e7-4c08-9786-4ed81315a653" providerId="ADAL" clId="{3F7A7787-00CA-42A0-97CD-637349527123}" dt="2021-07-11T14:17:47.683" v="2543"/>
          <ac:spMkLst>
            <pc:docMk/>
            <pc:sldMk cId="1731196988" sldId="1710"/>
            <ac:spMk id="156" creationId="{AD6FD6A0-FC86-454C-8287-2A0F22CFB165}"/>
          </ac:spMkLst>
        </pc:spChg>
        <pc:spChg chg="mod">
          <ac:chgData name="Yash Ratanpal" userId="5db668b1-93e7-4c08-9786-4ed81315a653" providerId="ADAL" clId="{3F7A7787-00CA-42A0-97CD-637349527123}" dt="2021-07-11T14:17:47.683" v="2543"/>
          <ac:spMkLst>
            <pc:docMk/>
            <pc:sldMk cId="1731196988" sldId="1710"/>
            <ac:spMk id="157" creationId="{2EDB25AE-C652-4D3C-9452-7EF7F3A0F86C}"/>
          </ac:spMkLst>
        </pc:spChg>
        <pc:spChg chg="mod">
          <ac:chgData name="Yash Ratanpal" userId="5db668b1-93e7-4c08-9786-4ed81315a653" providerId="ADAL" clId="{3F7A7787-00CA-42A0-97CD-637349527123}" dt="2021-07-18T17:17:19.565" v="8328" actId="207"/>
          <ac:spMkLst>
            <pc:docMk/>
            <pc:sldMk cId="1731196988" sldId="1710"/>
            <ac:spMk id="158" creationId="{3D10F117-8391-400C-A50D-55A26A78A725}"/>
          </ac:spMkLst>
        </pc:spChg>
        <pc:spChg chg="mod">
          <ac:chgData name="Yash Ratanpal" userId="5db668b1-93e7-4c08-9786-4ed81315a653" providerId="ADAL" clId="{3F7A7787-00CA-42A0-97CD-637349527123}" dt="2021-07-11T14:17:47.683" v="2543"/>
          <ac:spMkLst>
            <pc:docMk/>
            <pc:sldMk cId="1731196988" sldId="1710"/>
            <ac:spMk id="159" creationId="{7866C994-67A8-4C93-A73F-193F160C2E45}"/>
          </ac:spMkLst>
        </pc:spChg>
        <pc:spChg chg="mod">
          <ac:chgData name="Yash Ratanpal" userId="5db668b1-93e7-4c08-9786-4ed81315a653" providerId="ADAL" clId="{3F7A7787-00CA-42A0-97CD-637349527123}" dt="2021-07-11T14:17:47.683" v="2543"/>
          <ac:spMkLst>
            <pc:docMk/>
            <pc:sldMk cId="1731196988" sldId="1710"/>
            <ac:spMk id="160" creationId="{6D2A8BBF-0CD4-4D28-9AFB-3E38D22C02CC}"/>
          </ac:spMkLst>
        </pc:spChg>
        <pc:spChg chg="mod">
          <ac:chgData name="Yash Ratanpal" userId="5db668b1-93e7-4c08-9786-4ed81315a653" providerId="ADAL" clId="{3F7A7787-00CA-42A0-97CD-637349527123}" dt="2021-07-11T14:17:47.683" v="2543"/>
          <ac:spMkLst>
            <pc:docMk/>
            <pc:sldMk cId="1731196988" sldId="1710"/>
            <ac:spMk id="161" creationId="{A98B1800-AEC0-472C-8393-7F3EC919A12F}"/>
          </ac:spMkLst>
        </pc:spChg>
        <pc:spChg chg="mod">
          <ac:chgData name="Yash Ratanpal" userId="5db668b1-93e7-4c08-9786-4ed81315a653" providerId="ADAL" clId="{3F7A7787-00CA-42A0-97CD-637349527123}" dt="2021-07-11T14:17:47.683" v="2543"/>
          <ac:spMkLst>
            <pc:docMk/>
            <pc:sldMk cId="1731196988" sldId="1710"/>
            <ac:spMk id="162" creationId="{0A381D9A-2F08-4E8B-BA72-B8A5B509305E}"/>
          </ac:spMkLst>
        </pc:spChg>
        <pc:spChg chg="mod">
          <ac:chgData name="Yash Ratanpal" userId="5db668b1-93e7-4c08-9786-4ed81315a653" providerId="ADAL" clId="{3F7A7787-00CA-42A0-97CD-637349527123}" dt="2021-07-11T14:17:47.683" v="2543"/>
          <ac:spMkLst>
            <pc:docMk/>
            <pc:sldMk cId="1731196988" sldId="1710"/>
            <ac:spMk id="163" creationId="{0945EE5D-1884-49F5-A5B1-8B8F8D36ED3A}"/>
          </ac:spMkLst>
        </pc:spChg>
        <pc:spChg chg="add mod">
          <ac:chgData name="Yash Ratanpal" userId="5db668b1-93e7-4c08-9786-4ed81315a653" providerId="ADAL" clId="{3F7A7787-00CA-42A0-97CD-637349527123}" dt="2021-07-18T17:17:11.996" v="8323" actId="207"/>
          <ac:spMkLst>
            <pc:docMk/>
            <pc:sldMk cId="1731196988" sldId="1710"/>
            <ac:spMk id="164" creationId="{7F9C84A1-B52A-4264-8EB5-7ACBA4988BC3}"/>
          </ac:spMkLst>
        </pc:spChg>
        <pc:spChg chg="add mod">
          <ac:chgData name="Yash Ratanpal" userId="5db668b1-93e7-4c08-9786-4ed81315a653" providerId="ADAL" clId="{3F7A7787-00CA-42A0-97CD-637349527123}" dt="2021-07-11T14:17:51.398" v="2544" actId="1076"/>
          <ac:spMkLst>
            <pc:docMk/>
            <pc:sldMk cId="1731196988" sldId="1710"/>
            <ac:spMk id="165" creationId="{39E4CAAD-C74C-44A7-A52B-786F2E6BE058}"/>
          </ac:spMkLst>
        </pc:spChg>
        <pc:grpChg chg="add del mod">
          <ac:chgData name="Yash Ratanpal" userId="5db668b1-93e7-4c08-9786-4ed81315a653" providerId="ADAL" clId="{3F7A7787-00CA-42A0-97CD-637349527123}" dt="2021-07-11T14:17:30.649" v="2534"/>
          <ac:grpSpMkLst>
            <pc:docMk/>
            <pc:sldMk cId="1731196988" sldId="1710"/>
            <ac:grpSpMk id="61" creationId="{D4F87588-A197-4D08-AFF5-8A28D22D7C80}"/>
          </ac:grpSpMkLst>
        </pc:grpChg>
        <pc:grpChg chg="add del mod">
          <ac:chgData name="Yash Ratanpal" userId="5db668b1-93e7-4c08-9786-4ed81315a653" providerId="ADAL" clId="{3F7A7787-00CA-42A0-97CD-637349527123}" dt="2021-07-11T14:17:33.257" v="2536"/>
          <ac:grpSpMkLst>
            <pc:docMk/>
            <pc:sldMk cId="1731196988" sldId="1710"/>
            <ac:grpSpMk id="82" creationId="{85E49428-61C0-4BFA-AC35-8BD5E19B71C0}"/>
          </ac:grpSpMkLst>
        </pc:grpChg>
        <pc:grpChg chg="add del mod">
          <ac:chgData name="Yash Ratanpal" userId="5db668b1-93e7-4c08-9786-4ed81315a653" providerId="ADAL" clId="{3F7A7787-00CA-42A0-97CD-637349527123}" dt="2021-07-11T14:17:39.176" v="2538"/>
          <ac:grpSpMkLst>
            <pc:docMk/>
            <pc:sldMk cId="1731196988" sldId="1710"/>
            <ac:grpSpMk id="103" creationId="{94850659-A340-4351-9CC4-435B80A26407}"/>
          </ac:grpSpMkLst>
        </pc:grpChg>
        <pc:grpChg chg="add del mod">
          <ac:chgData name="Yash Ratanpal" userId="5db668b1-93e7-4c08-9786-4ed81315a653" providerId="ADAL" clId="{3F7A7787-00CA-42A0-97CD-637349527123}" dt="2021-07-11T14:17:43.552" v="2542"/>
          <ac:grpSpMkLst>
            <pc:docMk/>
            <pc:sldMk cId="1731196988" sldId="1710"/>
            <ac:grpSpMk id="124" creationId="{915C24F4-193A-4653-B9BE-DD1B349DA36E}"/>
          </ac:grpSpMkLst>
        </pc:grpChg>
        <pc:grpChg chg="add mod">
          <ac:chgData name="Yash Ratanpal" userId="5db668b1-93e7-4c08-9786-4ed81315a653" providerId="ADAL" clId="{3F7A7787-00CA-42A0-97CD-637349527123}" dt="2021-07-18T17:29:37.506" v="8331" actId="14100"/>
          <ac:grpSpMkLst>
            <pc:docMk/>
            <pc:sldMk cId="1731196988" sldId="1710"/>
            <ac:grpSpMk id="145" creationId="{BD51CD96-E3AF-4D78-A0A9-D82BB8B2A1D9}"/>
          </ac:grpSpMkLst>
        </pc:grpChg>
      </pc:sldChg>
      <pc:sldChg chg="addSp delSp modSp add mod ord modAnim">
        <pc:chgData name="Yash Ratanpal" userId="5db668b1-93e7-4c08-9786-4ed81315a653" providerId="ADAL" clId="{3F7A7787-00CA-42A0-97CD-637349527123}" dt="2021-07-11T14:23:41.791" v="2918" actId="1076"/>
        <pc:sldMkLst>
          <pc:docMk/>
          <pc:sldMk cId="3498122450" sldId="1711"/>
        </pc:sldMkLst>
        <pc:spChg chg="mod">
          <ac:chgData name="Yash Ratanpal" userId="5db668b1-93e7-4c08-9786-4ed81315a653" providerId="ADAL" clId="{3F7A7787-00CA-42A0-97CD-637349527123}" dt="2021-07-11T14:23:41.791" v="2918" actId="1076"/>
          <ac:spMkLst>
            <pc:docMk/>
            <pc:sldMk cId="3498122450" sldId="1711"/>
            <ac:spMk id="3" creationId="{00000000-0000-0000-0000-000000000000}"/>
          </ac:spMkLst>
        </pc:spChg>
        <pc:spChg chg="add mod">
          <ac:chgData name="Yash Ratanpal" userId="5db668b1-93e7-4c08-9786-4ed81315a653" providerId="ADAL" clId="{3F7A7787-00CA-42A0-97CD-637349527123}" dt="2021-07-11T14:23:29.244" v="2889" actId="1076"/>
          <ac:spMkLst>
            <pc:docMk/>
            <pc:sldMk cId="3498122450" sldId="1711"/>
            <ac:spMk id="26" creationId="{DD14CBED-85FF-4763-BC3D-3665FA99B975}"/>
          </ac:spMkLst>
        </pc:spChg>
        <pc:spChg chg="add mod">
          <ac:chgData name="Yash Ratanpal" userId="5db668b1-93e7-4c08-9786-4ed81315a653" providerId="ADAL" clId="{3F7A7787-00CA-42A0-97CD-637349527123}" dt="2021-07-11T14:23:29.244" v="2889" actId="1076"/>
          <ac:spMkLst>
            <pc:docMk/>
            <pc:sldMk cId="3498122450" sldId="1711"/>
            <ac:spMk id="27" creationId="{A98D67C4-6BB9-4137-B1A3-A0E08B5ACAD1}"/>
          </ac:spMkLst>
        </pc:spChg>
        <pc:spChg chg="add mod">
          <ac:chgData name="Yash Ratanpal" userId="5db668b1-93e7-4c08-9786-4ed81315a653" providerId="ADAL" clId="{3F7A7787-00CA-42A0-97CD-637349527123}" dt="2021-07-11T14:23:29.244" v="2889" actId="1076"/>
          <ac:spMkLst>
            <pc:docMk/>
            <pc:sldMk cId="3498122450" sldId="1711"/>
            <ac:spMk id="28" creationId="{B6618856-F41E-44D0-B4DE-66AC592C9350}"/>
          </ac:spMkLst>
        </pc:spChg>
        <pc:spChg chg="add mod">
          <ac:chgData name="Yash Ratanpal" userId="5db668b1-93e7-4c08-9786-4ed81315a653" providerId="ADAL" clId="{3F7A7787-00CA-42A0-97CD-637349527123}" dt="2021-07-11T14:23:29.244" v="2889" actId="1076"/>
          <ac:spMkLst>
            <pc:docMk/>
            <pc:sldMk cId="3498122450" sldId="1711"/>
            <ac:spMk id="29" creationId="{EA551B8A-CDE3-4187-851F-AC775894ACF7}"/>
          </ac:spMkLst>
        </pc:spChg>
        <pc:spChg chg="add mod">
          <ac:chgData name="Yash Ratanpal" userId="5db668b1-93e7-4c08-9786-4ed81315a653" providerId="ADAL" clId="{3F7A7787-00CA-42A0-97CD-637349527123}" dt="2021-07-11T14:23:29.244" v="2889" actId="1076"/>
          <ac:spMkLst>
            <pc:docMk/>
            <pc:sldMk cId="3498122450" sldId="1711"/>
            <ac:spMk id="30" creationId="{A191D14B-186B-44DA-A3B1-D2C4E1984826}"/>
          </ac:spMkLst>
        </pc:spChg>
        <pc:spChg chg="add mod">
          <ac:chgData name="Yash Ratanpal" userId="5db668b1-93e7-4c08-9786-4ed81315a653" providerId="ADAL" clId="{3F7A7787-00CA-42A0-97CD-637349527123}" dt="2021-07-11T14:23:29.244" v="2889" actId="1076"/>
          <ac:spMkLst>
            <pc:docMk/>
            <pc:sldMk cId="3498122450" sldId="1711"/>
            <ac:spMk id="31" creationId="{F06FA59F-3F19-4B33-A808-946EFAADDA48}"/>
          </ac:spMkLst>
        </pc:spChg>
        <pc:spChg chg="add mod">
          <ac:chgData name="Yash Ratanpal" userId="5db668b1-93e7-4c08-9786-4ed81315a653" providerId="ADAL" clId="{3F7A7787-00CA-42A0-97CD-637349527123}" dt="2021-07-11T14:23:29.244" v="2889" actId="1076"/>
          <ac:spMkLst>
            <pc:docMk/>
            <pc:sldMk cId="3498122450" sldId="1711"/>
            <ac:spMk id="32" creationId="{5D280A1A-D69B-471B-8FFA-83742B7E43AB}"/>
          </ac:spMkLst>
        </pc:spChg>
        <pc:spChg chg="add mod">
          <ac:chgData name="Yash Ratanpal" userId="5db668b1-93e7-4c08-9786-4ed81315a653" providerId="ADAL" clId="{3F7A7787-00CA-42A0-97CD-637349527123}" dt="2021-07-11T14:23:29.244" v="2889" actId="1076"/>
          <ac:spMkLst>
            <pc:docMk/>
            <pc:sldMk cId="3498122450" sldId="1711"/>
            <ac:spMk id="33" creationId="{98AA9603-6A31-423D-9C6D-79FBABF71838}"/>
          </ac:spMkLst>
        </pc:spChg>
        <pc:spChg chg="add mod">
          <ac:chgData name="Yash Ratanpal" userId="5db668b1-93e7-4c08-9786-4ed81315a653" providerId="ADAL" clId="{3F7A7787-00CA-42A0-97CD-637349527123}" dt="2021-07-11T14:23:29.244" v="2889" actId="1076"/>
          <ac:spMkLst>
            <pc:docMk/>
            <pc:sldMk cId="3498122450" sldId="1711"/>
            <ac:spMk id="34" creationId="{3702C8E0-3679-41D8-AD7B-E281AB0FB9D3}"/>
          </ac:spMkLst>
        </pc:spChg>
        <pc:spChg chg="add mod">
          <ac:chgData name="Yash Ratanpal" userId="5db668b1-93e7-4c08-9786-4ed81315a653" providerId="ADAL" clId="{3F7A7787-00CA-42A0-97CD-637349527123}" dt="2021-07-11T14:23:29.244" v="2889" actId="1076"/>
          <ac:spMkLst>
            <pc:docMk/>
            <pc:sldMk cId="3498122450" sldId="1711"/>
            <ac:spMk id="35" creationId="{53AFA658-CC48-4F95-ADA2-76302EB0AD9D}"/>
          </ac:spMkLst>
        </pc:spChg>
        <pc:spChg chg="add mod">
          <ac:chgData name="Yash Ratanpal" userId="5db668b1-93e7-4c08-9786-4ed81315a653" providerId="ADAL" clId="{3F7A7787-00CA-42A0-97CD-637349527123}" dt="2021-07-11T14:23:29.244" v="2889" actId="1076"/>
          <ac:spMkLst>
            <pc:docMk/>
            <pc:sldMk cId="3498122450" sldId="1711"/>
            <ac:spMk id="36" creationId="{8F5B180F-B819-4AA4-A716-DF78BB224CA1}"/>
          </ac:spMkLst>
        </pc:spChg>
        <pc:spChg chg="add mod">
          <ac:chgData name="Yash Ratanpal" userId="5db668b1-93e7-4c08-9786-4ed81315a653" providerId="ADAL" clId="{3F7A7787-00CA-42A0-97CD-637349527123}" dt="2021-07-11T14:23:29.244" v="2889" actId="1076"/>
          <ac:spMkLst>
            <pc:docMk/>
            <pc:sldMk cId="3498122450" sldId="1711"/>
            <ac:spMk id="37" creationId="{D780DEE7-2C45-4BF0-B4F1-E13EAB1D6D0F}"/>
          </ac:spMkLst>
        </pc:spChg>
        <pc:spChg chg="add mod">
          <ac:chgData name="Yash Ratanpal" userId="5db668b1-93e7-4c08-9786-4ed81315a653" providerId="ADAL" clId="{3F7A7787-00CA-42A0-97CD-637349527123}" dt="2021-07-11T14:23:29.244" v="2889" actId="1076"/>
          <ac:spMkLst>
            <pc:docMk/>
            <pc:sldMk cId="3498122450" sldId="1711"/>
            <ac:spMk id="38" creationId="{FEA97BE2-84A3-4CC3-95AC-DCD86871E944}"/>
          </ac:spMkLst>
        </pc:spChg>
        <pc:spChg chg="add mod">
          <ac:chgData name="Yash Ratanpal" userId="5db668b1-93e7-4c08-9786-4ed81315a653" providerId="ADAL" clId="{3F7A7787-00CA-42A0-97CD-637349527123}" dt="2021-07-11T14:23:29.244" v="2889" actId="1076"/>
          <ac:spMkLst>
            <pc:docMk/>
            <pc:sldMk cId="3498122450" sldId="1711"/>
            <ac:spMk id="39" creationId="{385BAF6A-6041-4D09-8B43-4AF7A5758279}"/>
          </ac:spMkLst>
        </pc:spChg>
        <pc:spChg chg="add mod">
          <ac:chgData name="Yash Ratanpal" userId="5db668b1-93e7-4c08-9786-4ed81315a653" providerId="ADAL" clId="{3F7A7787-00CA-42A0-97CD-637349527123}" dt="2021-07-11T14:23:29.244" v="2889" actId="1076"/>
          <ac:spMkLst>
            <pc:docMk/>
            <pc:sldMk cId="3498122450" sldId="1711"/>
            <ac:spMk id="40" creationId="{216FCCAD-1C59-4DB2-956E-26A2A2561611}"/>
          </ac:spMkLst>
        </pc:spChg>
        <pc:spChg chg="add mod">
          <ac:chgData name="Yash Ratanpal" userId="5db668b1-93e7-4c08-9786-4ed81315a653" providerId="ADAL" clId="{3F7A7787-00CA-42A0-97CD-637349527123}" dt="2021-07-11T14:23:29.244" v="2889" actId="1076"/>
          <ac:spMkLst>
            <pc:docMk/>
            <pc:sldMk cId="3498122450" sldId="1711"/>
            <ac:spMk id="41" creationId="{726147A0-7B56-4179-9055-E7AB6516E3BE}"/>
          </ac:spMkLst>
        </pc:spChg>
        <pc:spChg chg="add mod">
          <ac:chgData name="Yash Ratanpal" userId="5db668b1-93e7-4c08-9786-4ed81315a653" providerId="ADAL" clId="{3F7A7787-00CA-42A0-97CD-637349527123}" dt="2021-07-11T14:23:29.244" v="2889" actId="1076"/>
          <ac:spMkLst>
            <pc:docMk/>
            <pc:sldMk cId="3498122450" sldId="1711"/>
            <ac:spMk id="42" creationId="{4537A498-E82A-4C24-897F-83026723C333}"/>
          </ac:spMkLst>
        </pc:spChg>
        <pc:spChg chg="del">
          <ac:chgData name="Yash Ratanpal" userId="5db668b1-93e7-4c08-9786-4ed81315a653" providerId="ADAL" clId="{3F7A7787-00CA-42A0-97CD-637349527123}" dt="2021-07-11T14:18:06.366" v="2548" actId="478"/>
          <ac:spMkLst>
            <pc:docMk/>
            <pc:sldMk cId="3498122450" sldId="1711"/>
            <ac:spMk id="144" creationId="{4F88608A-C458-4D79-A468-9B74953A8C65}"/>
          </ac:spMkLst>
        </pc:spChg>
        <pc:spChg chg="del">
          <ac:chgData name="Yash Ratanpal" userId="5db668b1-93e7-4c08-9786-4ed81315a653" providerId="ADAL" clId="{3F7A7787-00CA-42A0-97CD-637349527123}" dt="2021-07-11T14:18:06.366" v="2548" actId="478"/>
          <ac:spMkLst>
            <pc:docMk/>
            <pc:sldMk cId="3498122450" sldId="1711"/>
            <ac:spMk id="164" creationId="{7F9C84A1-B52A-4264-8EB5-7ACBA4988BC3}"/>
          </ac:spMkLst>
        </pc:spChg>
        <pc:spChg chg="del">
          <ac:chgData name="Yash Ratanpal" userId="5db668b1-93e7-4c08-9786-4ed81315a653" providerId="ADAL" clId="{3F7A7787-00CA-42A0-97CD-637349527123}" dt="2021-07-11T14:18:06.366" v="2548" actId="478"/>
          <ac:spMkLst>
            <pc:docMk/>
            <pc:sldMk cId="3498122450" sldId="1711"/>
            <ac:spMk id="165" creationId="{39E4CAAD-C74C-44A7-A52B-786F2E6BE058}"/>
          </ac:spMkLst>
        </pc:spChg>
        <pc:grpChg chg="del">
          <ac:chgData name="Yash Ratanpal" userId="5db668b1-93e7-4c08-9786-4ed81315a653" providerId="ADAL" clId="{3F7A7787-00CA-42A0-97CD-637349527123}" dt="2021-07-11T14:18:06.366" v="2548" actId="478"/>
          <ac:grpSpMkLst>
            <pc:docMk/>
            <pc:sldMk cId="3498122450" sldId="1711"/>
            <ac:grpSpMk id="145" creationId="{BD51CD96-E3AF-4D78-A0A9-D82BB8B2A1D9}"/>
          </ac:grpSpMkLst>
        </pc:grpChg>
      </pc:sldChg>
      <pc:sldChg chg="addSp delSp modSp add mod modAnim">
        <pc:chgData name="Yash Ratanpal" userId="5db668b1-93e7-4c08-9786-4ed81315a653" providerId="ADAL" clId="{3F7A7787-00CA-42A0-97CD-637349527123}" dt="2021-07-25T07:17:28.630" v="9171" actId="403"/>
        <pc:sldMkLst>
          <pc:docMk/>
          <pc:sldMk cId="3413008602" sldId="1712"/>
        </pc:sldMkLst>
        <pc:spChg chg="mod">
          <ac:chgData name="Yash Ratanpal" userId="5db668b1-93e7-4c08-9786-4ed81315a653" providerId="ADAL" clId="{3F7A7787-00CA-42A0-97CD-637349527123}" dt="2021-07-18T17:29:59.589" v="8335" actId="20577"/>
          <ac:spMkLst>
            <pc:docMk/>
            <pc:sldMk cId="3413008602" sldId="1712"/>
            <ac:spMk id="3" creationId="{00000000-0000-0000-0000-000000000000}"/>
          </ac:spMkLst>
        </pc:spChg>
        <pc:spChg chg="add del mod">
          <ac:chgData name="Yash Ratanpal" userId="5db668b1-93e7-4c08-9786-4ed81315a653" providerId="ADAL" clId="{3F7A7787-00CA-42A0-97CD-637349527123}" dt="2021-07-11T14:18:44.186" v="2613"/>
          <ac:spMkLst>
            <pc:docMk/>
            <pc:sldMk cId="3413008602" sldId="1712"/>
            <ac:spMk id="4" creationId="{6B7D6EBC-EE6D-4585-B078-A1C5D7A2BDA5}"/>
          </ac:spMkLst>
        </pc:spChg>
        <pc:spChg chg="mod">
          <ac:chgData name="Yash Ratanpal" userId="5db668b1-93e7-4c08-9786-4ed81315a653" providerId="ADAL" clId="{3F7A7787-00CA-42A0-97CD-637349527123}" dt="2021-07-11T14:18:43.199" v="2612"/>
          <ac:spMkLst>
            <pc:docMk/>
            <pc:sldMk cId="3413008602" sldId="1712"/>
            <ac:spMk id="6" creationId="{5E129B47-9A57-4DC9-A3AB-75EEDA93BA2F}"/>
          </ac:spMkLst>
        </pc:spChg>
        <pc:spChg chg="mod">
          <ac:chgData name="Yash Ratanpal" userId="5db668b1-93e7-4c08-9786-4ed81315a653" providerId="ADAL" clId="{3F7A7787-00CA-42A0-97CD-637349527123}" dt="2021-07-11T14:18:43.199" v="2612"/>
          <ac:spMkLst>
            <pc:docMk/>
            <pc:sldMk cId="3413008602" sldId="1712"/>
            <ac:spMk id="7" creationId="{5B69194B-5A35-4285-92AE-17D91BDB18BD}"/>
          </ac:spMkLst>
        </pc:spChg>
        <pc:spChg chg="add del mod">
          <ac:chgData name="Yash Ratanpal" userId="5db668b1-93e7-4c08-9786-4ed81315a653" providerId="ADAL" clId="{3F7A7787-00CA-42A0-97CD-637349527123}" dt="2021-07-11T14:18:44.186" v="2613"/>
          <ac:spMkLst>
            <pc:docMk/>
            <pc:sldMk cId="3413008602" sldId="1712"/>
            <ac:spMk id="8" creationId="{3AC1B7C2-118C-4E80-86BD-8AD13AF58AAB}"/>
          </ac:spMkLst>
        </pc:spChg>
        <pc:spChg chg="mod">
          <ac:chgData name="Yash Ratanpal" userId="5db668b1-93e7-4c08-9786-4ed81315a653" providerId="ADAL" clId="{3F7A7787-00CA-42A0-97CD-637349527123}" dt="2021-07-11T14:18:43.199" v="2612"/>
          <ac:spMkLst>
            <pc:docMk/>
            <pc:sldMk cId="3413008602" sldId="1712"/>
            <ac:spMk id="11" creationId="{9A7969D9-FAAB-4734-A379-CF26ECB54673}"/>
          </ac:spMkLst>
        </pc:spChg>
        <pc:spChg chg="mod">
          <ac:chgData name="Yash Ratanpal" userId="5db668b1-93e7-4c08-9786-4ed81315a653" providerId="ADAL" clId="{3F7A7787-00CA-42A0-97CD-637349527123}" dt="2021-07-11T14:18:43.199" v="2612"/>
          <ac:spMkLst>
            <pc:docMk/>
            <pc:sldMk cId="3413008602" sldId="1712"/>
            <ac:spMk id="12" creationId="{3B2A70D6-58CB-48D9-93B0-B93D07B21971}"/>
          </ac:spMkLst>
        </pc:spChg>
        <pc:spChg chg="mod">
          <ac:chgData name="Yash Ratanpal" userId="5db668b1-93e7-4c08-9786-4ed81315a653" providerId="ADAL" clId="{3F7A7787-00CA-42A0-97CD-637349527123}" dt="2021-07-11T14:18:43.199" v="2612"/>
          <ac:spMkLst>
            <pc:docMk/>
            <pc:sldMk cId="3413008602" sldId="1712"/>
            <ac:spMk id="13" creationId="{FCB14B8B-5E13-4CAD-A930-E2F9307AEC7C}"/>
          </ac:spMkLst>
        </pc:spChg>
        <pc:spChg chg="mod">
          <ac:chgData name="Yash Ratanpal" userId="5db668b1-93e7-4c08-9786-4ed81315a653" providerId="ADAL" clId="{3F7A7787-00CA-42A0-97CD-637349527123}" dt="2021-07-11T14:18:43.199" v="2612"/>
          <ac:spMkLst>
            <pc:docMk/>
            <pc:sldMk cId="3413008602" sldId="1712"/>
            <ac:spMk id="14" creationId="{D073028E-479C-4462-B675-BA48C6548DC4}"/>
          </ac:spMkLst>
        </pc:spChg>
        <pc:spChg chg="mod">
          <ac:chgData name="Yash Ratanpal" userId="5db668b1-93e7-4c08-9786-4ed81315a653" providerId="ADAL" clId="{3F7A7787-00CA-42A0-97CD-637349527123}" dt="2021-07-11T14:18:43.199" v="2612"/>
          <ac:spMkLst>
            <pc:docMk/>
            <pc:sldMk cId="3413008602" sldId="1712"/>
            <ac:spMk id="15" creationId="{D8C625A1-7583-418D-A88E-7C67EA2670A3}"/>
          </ac:spMkLst>
        </pc:spChg>
        <pc:spChg chg="mod">
          <ac:chgData name="Yash Ratanpal" userId="5db668b1-93e7-4c08-9786-4ed81315a653" providerId="ADAL" clId="{3F7A7787-00CA-42A0-97CD-637349527123}" dt="2021-07-11T14:18:43.199" v="2612"/>
          <ac:spMkLst>
            <pc:docMk/>
            <pc:sldMk cId="3413008602" sldId="1712"/>
            <ac:spMk id="16" creationId="{9D49CB01-A379-411C-B4EA-2A779F9CE403}"/>
          </ac:spMkLst>
        </pc:spChg>
        <pc:spChg chg="mod">
          <ac:chgData name="Yash Ratanpal" userId="5db668b1-93e7-4c08-9786-4ed81315a653" providerId="ADAL" clId="{3F7A7787-00CA-42A0-97CD-637349527123}" dt="2021-07-11T14:18:43.199" v="2612"/>
          <ac:spMkLst>
            <pc:docMk/>
            <pc:sldMk cId="3413008602" sldId="1712"/>
            <ac:spMk id="17" creationId="{A6CC9E57-55A2-4B92-A4F3-8719F52A285C}"/>
          </ac:spMkLst>
        </pc:spChg>
        <pc:spChg chg="mod">
          <ac:chgData name="Yash Ratanpal" userId="5db668b1-93e7-4c08-9786-4ed81315a653" providerId="ADAL" clId="{3F7A7787-00CA-42A0-97CD-637349527123}" dt="2021-07-11T14:18:43.199" v="2612"/>
          <ac:spMkLst>
            <pc:docMk/>
            <pc:sldMk cId="3413008602" sldId="1712"/>
            <ac:spMk id="18" creationId="{F3AD8A25-1BD4-4598-BD67-63FDE1F37A51}"/>
          </ac:spMkLst>
        </pc:spChg>
        <pc:spChg chg="mod">
          <ac:chgData name="Yash Ratanpal" userId="5db668b1-93e7-4c08-9786-4ed81315a653" providerId="ADAL" clId="{3F7A7787-00CA-42A0-97CD-637349527123}" dt="2021-07-11T14:18:43.199" v="2612"/>
          <ac:spMkLst>
            <pc:docMk/>
            <pc:sldMk cId="3413008602" sldId="1712"/>
            <ac:spMk id="19" creationId="{C9A93393-320E-4F2F-A81B-CF2DB10A5142}"/>
          </ac:spMkLst>
        </pc:spChg>
        <pc:spChg chg="mod">
          <ac:chgData name="Yash Ratanpal" userId="5db668b1-93e7-4c08-9786-4ed81315a653" providerId="ADAL" clId="{3F7A7787-00CA-42A0-97CD-637349527123}" dt="2021-07-11T14:18:43.199" v="2612"/>
          <ac:spMkLst>
            <pc:docMk/>
            <pc:sldMk cId="3413008602" sldId="1712"/>
            <ac:spMk id="20" creationId="{BD7CD1B3-F155-44DA-B8EC-6A549153CE3A}"/>
          </ac:spMkLst>
        </pc:spChg>
        <pc:spChg chg="mod">
          <ac:chgData name="Yash Ratanpal" userId="5db668b1-93e7-4c08-9786-4ed81315a653" providerId="ADAL" clId="{3F7A7787-00CA-42A0-97CD-637349527123}" dt="2021-07-11T14:18:43.199" v="2612"/>
          <ac:spMkLst>
            <pc:docMk/>
            <pc:sldMk cId="3413008602" sldId="1712"/>
            <ac:spMk id="21" creationId="{ED73299E-B17F-43F5-9AB1-F545851F92EC}"/>
          </ac:spMkLst>
        </pc:spChg>
        <pc:spChg chg="mod">
          <ac:chgData name="Yash Ratanpal" userId="5db668b1-93e7-4c08-9786-4ed81315a653" providerId="ADAL" clId="{3F7A7787-00CA-42A0-97CD-637349527123}" dt="2021-07-11T14:18:43.199" v="2612"/>
          <ac:spMkLst>
            <pc:docMk/>
            <pc:sldMk cId="3413008602" sldId="1712"/>
            <ac:spMk id="22" creationId="{168C188A-6843-4DC3-A73F-6C56DA04C434}"/>
          </ac:spMkLst>
        </pc:spChg>
        <pc:spChg chg="add mod">
          <ac:chgData name="Yash Ratanpal" userId="5db668b1-93e7-4c08-9786-4ed81315a653" providerId="ADAL" clId="{3F7A7787-00CA-42A0-97CD-637349527123}" dt="2021-07-25T07:17:28.630" v="9171" actId="403"/>
          <ac:spMkLst>
            <pc:docMk/>
            <pc:sldMk cId="3413008602" sldId="1712"/>
            <ac:spMk id="24" creationId="{EB3818DC-FFE8-457E-8B24-6DC41AA1DD2F}"/>
          </ac:spMkLst>
        </pc:spChg>
        <pc:spChg chg="mod">
          <ac:chgData name="Yash Ratanpal" userId="5db668b1-93e7-4c08-9786-4ed81315a653" providerId="ADAL" clId="{3F7A7787-00CA-42A0-97CD-637349527123}" dt="2021-07-18T17:17:42.180" v="8330" actId="207"/>
          <ac:spMkLst>
            <pc:docMk/>
            <pc:sldMk cId="3413008602" sldId="1712"/>
            <ac:spMk id="26" creationId="{EB22053A-55AC-437C-9A08-C95BEA919E9B}"/>
          </ac:spMkLst>
        </pc:spChg>
        <pc:spChg chg="mod">
          <ac:chgData name="Yash Ratanpal" userId="5db668b1-93e7-4c08-9786-4ed81315a653" providerId="ADAL" clId="{3F7A7787-00CA-42A0-97CD-637349527123}" dt="2021-07-11T14:18:45.856" v="2614"/>
          <ac:spMkLst>
            <pc:docMk/>
            <pc:sldMk cId="3413008602" sldId="1712"/>
            <ac:spMk id="27" creationId="{CF861375-267B-4F2B-99ED-DFCF7F79B4C2}"/>
          </ac:spMkLst>
        </pc:spChg>
        <pc:spChg chg="add mod">
          <ac:chgData name="Yash Ratanpal" userId="5db668b1-93e7-4c08-9786-4ed81315a653" providerId="ADAL" clId="{3F7A7787-00CA-42A0-97CD-637349527123}" dt="2021-07-11T14:33:28.264" v="3109" actId="164"/>
          <ac:spMkLst>
            <pc:docMk/>
            <pc:sldMk cId="3413008602" sldId="1712"/>
            <ac:spMk id="28" creationId="{8C3E7B96-3703-4FBF-84DF-5D7114C640F7}"/>
          </ac:spMkLst>
        </pc:spChg>
        <pc:spChg chg="mod">
          <ac:chgData name="Yash Ratanpal" userId="5db668b1-93e7-4c08-9786-4ed81315a653" providerId="ADAL" clId="{3F7A7787-00CA-42A0-97CD-637349527123}" dt="2021-07-11T14:18:45.856" v="2614"/>
          <ac:spMkLst>
            <pc:docMk/>
            <pc:sldMk cId="3413008602" sldId="1712"/>
            <ac:spMk id="31" creationId="{F3F48C6B-5A4F-412A-923C-20DE914B00F7}"/>
          </ac:spMkLst>
        </pc:spChg>
        <pc:spChg chg="mod">
          <ac:chgData name="Yash Ratanpal" userId="5db668b1-93e7-4c08-9786-4ed81315a653" providerId="ADAL" clId="{3F7A7787-00CA-42A0-97CD-637349527123}" dt="2021-07-11T14:18:45.856" v="2614"/>
          <ac:spMkLst>
            <pc:docMk/>
            <pc:sldMk cId="3413008602" sldId="1712"/>
            <ac:spMk id="32" creationId="{FAD69AC0-6DF4-410A-A140-5A59BF321779}"/>
          </ac:spMkLst>
        </pc:spChg>
        <pc:spChg chg="mod">
          <ac:chgData name="Yash Ratanpal" userId="5db668b1-93e7-4c08-9786-4ed81315a653" providerId="ADAL" clId="{3F7A7787-00CA-42A0-97CD-637349527123}" dt="2021-07-11T14:18:45.856" v="2614"/>
          <ac:spMkLst>
            <pc:docMk/>
            <pc:sldMk cId="3413008602" sldId="1712"/>
            <ac:spMk id="33" creationId="{19B6D1C6-29CD-4D70-9A6E-250A10B9CE26}"/>
          </ac:spMkLst>
        </pc:spChg>
        <pc:spChg chg="mod">
          <ac:chgData name="Yash Ratanpal" userId="5db668b1-93e7-4c08-9786-4ed81315a653" providerId="ADAL" clId="{3F7A7787-00CA-42A0-97CD-637349527123}" dt="2021-07-11T14:18:45.856" v="2614"/>
          <ac:spMkLst>
            <pc:docMk/>
            <pc:sldMk cId="3413008602" sldId="1712"/>
            <ac:spMk id="34" creationId="{64ED84D5-2D62-4C50-9622-FA86071C9DC6}"/>
          </ac:spMkLst>
        </pc:spChg>
        <pc:spChg chg="mod">
          <ac:chgData name="Yash Ratanpal" userId="5db668b1-93e7-4c08-9786-4ed81315a653" providerId="ADAL" clId="{3F7A7787-00CA-42A0-97CD-637349527123}" dt="2021-07-11T14:18:45.856" v="2614"/>
          <ac:spMkLst>
            <pc:docMk/>
            <pc:sldMk cId="3413008602" sldId="1712"/>
            <ac:spMk id="35" creationId="{DB7D7DA9-A075-4718-9716-C28080BD3000}"/>
          </ac:spMkLst>
        </pc:spChg>
        <pc:spChg chg="mod">
          <ac:chgData name="Yash Ratanpal" userId="5db668b1-93e7-4c08-9786-4ed81315a653" providerId="ADAL" clId="{3F7A7787-00CA-42A0-97CD-637349527123}" dt="2021-07-11T14:18:45.856" v="2614"/>
          <ac:spMkLst>
            <pc:docMk/>
            <pc:sldMk cId="3413008602" sldId="1712"/>
            <ac:spMk id="36" creationId="{42AA1961-0E5C-4EE6-BC84-AAE87978ED24}"/>
          </ac:spMkLst>
        </pc:spChg>
        <pc:spChg chg="mod">
          <ac:chgData name="Yash Ratanpal" userId="5db668b1-93e7-4c08-9786-4ed81315a653" providerId="ADAL" clId="{3F7A7787-00CA-42A0-97CD-637349527123}" dt="2021-07-11T14:18:45.856" v="2614"/>
          <ac:spMkLst>
            <pc:docMk/>
            <pc:sldMk cId="3413008602" sldId="1712"/>
            <ac:spMk id="37" creationId="{1E780DD5-69F8-4589-BF33-76A04EC4F700}"/>
          </ac:spMkLst>
        </pc:spChg>
        <pc:spChg chg="mod">
          <ac:chgData name="Yash Ratanpal" userId="5db668b1-93e7-4c08-9786-4ed81315a653" providerId="ADAL" clId="{3F7A7787-00CA-42A0-97CD-637349527123}" dt="2021-07-11T14:18:45.856" v="2614"/>
          <ac:spMkLst>
            <pc:docMk/>
            <pc:sldMk cId="3413008602" sldId="1712"/>
            <ac:spMk id="38" creationId="{35007344-A998-42D2-89F5-385BFDDF4AFE}"/>
          </ac:spMkLst>
        </pc:spChg>
        <pc:spChg chg="mod">
          <ac:chgData name="Yash Ratanpal" userId="5db668b1-93e7-4c08-9786-4ed81315a653" providerId="ADAL" clId="{3F7A7787-00CA-42A0-97CD-637349527123}" dt="2021-07-11T14:18:45.856" v="2614"/>
          <ac:spMkLst>
            <pc:docMk/>
            <pc:sldMk cId="3413008602" sldId="1712"/>
            <ac:spMk id="39" creationId="{8357B115-39DA-43F1-9B1D-FD9825289F7E}"/>
          </ac:spMkLst>
        </pc:spChg>
        <pc:spChg chg="mod">
          <ac:chgData name="Yash Ratanpal" userId="5db668b1-93e7-4c08-9786-4ed81315a653" providerId="ADAL" clId="{3F7A7787-00CA-42A0-97CD-637349527123}" dt="2021-07-11T14:18:45.856" v="2614"/>
          <ac:spMkLst>
            <pc:docMk/>
            <pc:sldMk cId="3413008602" sldId="1712"/>
            <ac:spMk id="40" creationId="{35C18B47-26F2-4D78-852D-5D82351079C8}"/>
          </ac:spMkLst>
        </pc:spChg>
        <pc:spChg chg="mod">
          <ac:chgData name="Yash Ratanpal" userId="5db668b1-93e7-4c08-9786-4ed81315a653" providerId="ADAL" clId="{3F7A7787-00CA-42A0-97CD-637349527123}" dt="2021-07-11T14:18:45.856" v="2614"/>
          <ac:spMkLst>
            <pc:docMk/>
            <pc:sldMk cId="3413008602" sldId="1712"/>
            <ac:spMk id="41" creationId="{D43064BE-5BA9-4670-8BFD-EDA80068F39F}"/>
          </ac:spMkLst>
        </pc:spChg>
        <pc:spChg chg="mod">
          <ac:chgData name="Yash Ratanpal" userId="5db668b1-93e7-4c08-9786-4ed81315a653" providerId="ADAL" clId="{3F7A7787-00CA-42A0-97CD-637349527123}" dt="2021-07-11T14:18:45.856" v="2614"/>
          <ac:spMkLst>
            <pc:docMk/>
            <pc:sldMk cId="3413008602" sldId="1712"/>
            <ac:spMk id="42" creationId="{3DFABC3D-7668-4DDD-915C-55E635DED6A9}"/>
          </ac:spMkLst>
        </pc:spChg>
        <pc:grpChg chg="add del mod">
          <ac:chgData name="Yash Ratanpal" userId="5db668b1-93e7-4c08-9786-4ed81315a653" providerId="ADAL" clId="{3F7A7787-00CA-42A0-97CD-637349527123}" dt="2021-07-11T14:18:44.186" v="2613"/>
          <ac:grpSpMkLst>
            <pc:docMk/>
            <pc:sldMk cId="3413008602" sldId="1712"/>
            <ac:grpSpMk id="5" creationId="{167A6F70-6906-405E-9D47-607F98A8A77D}"/>
          </ac:grpSpMkLst>
        </pc:grpChg>
        <pc:grpChg chg="add del mod">
          <ac:chgData name="Yash Ratanpal" userId="5db668b1-93e7-4c08-9786-4ed81315a653" providerId="ADAL" clId="{3F7A7787-00CA-42A0-97CD-637349527123}" dt="2021-07-11T14:18:44.186" v="2613"/>
          <ac:grpSpMkLst>
            <pc:docMk/>
            <pc:sldMk cId="3413008602" sldId="1712"/>
            <ac:grpSpMk id="10" creationId="{B1066BCF-173C-401D-8E0E-1512142186E9}"/>
          </ac:grpSpMkLst>
        </pc:grpChg>
        <pc:grpChg chg="add mod">
          <ac:chgData name="Yash Ratanpal" userId="5db668b1-93e7-4c08-9786-4ed81315a653" providerId="ADAL" clId="{3F7A7787-00CA-42A0-97CD-637349527123}" dt="2021-07-11T14:33:28.264" v="3109" actId="164"/>
          <ac:grpSpMkLst>
            <pc:docMk/>
            <pc:sldMk cId="3413008602" sldId="1712"/>
            <ac:grpSpMk id="25" creationId="{D376140C-B4C2-4D4A-A9B3-E32C1FB6CA1B}"/>
          </ac:grpSpMkLst>
        </pc:grpChg>
        <pc:grpChg chg="add mod">
          <ac:chgData name="Yash Ratanpal" userId="5db668b1-93e7-4c08-9786-4ed81315a653" providerId="ADAL" clId="{3F7A7787-00CA-42A0-97CD-637349527123}" dt="2021-07-11T14:33:28.264" v="3109" actId="164"/>
          <ac:grpSpMkLst>
            <pc:docMk/>
            <pc:sldMk cId="3413008602" sldId="1712"/>
            <ac:grpSpMk id="30" creationId="{8B623FBA-DD1B-47DF-9210-AF07777601C2}"/>
          </ac:grpSpMkLst>
        </pc:grpChg>
        <pc:grpChg chg="add mod">
          <ac:chgData name="Yash Ratanpal" userId="5db668b1-93e7-4c08-9786-4ed81315a653" providerId="ADAL" clId="{3F7A7787-00CA-42A0-97CD-637349527123}" dt="2021-07-11T14:33:29.890" v="3110" actId="14100"/>
          <ac:grpSpMkLst>
            <pc:docMk/>
            <pc:sldMk cId="3413008602" sldId="1712"/>
            <ac:grpSpMk id="44" creationId="{6805D841-338E-4EDC-9FB2-EDC150083FE5}"/>
          </ac:grpSpMkLst>
        </pc:grpChg>
        <pc:graphicFrameChg chg="add del mod">
          <ac:chgData name="Yash Ratanpal" userId="5db668b1-93e7-4c08-9786-4ed81315a653" providerId="ADAL" clId="{3F7A7787-00CA-42A0-97CD-637349527123}" dt="2021-07-11T14:18:44.186" v="2613"/>
          <ac:graphicFrameMkLst>
            <pc:docMk/>
            <pc:sldMk cId="3413008602" sldId="1712"/>
            <ac:graphicFrameMk id="23" creationId="{C04F8828-B4B3-407F-9054-B94B4672623C}"/>
          </ac:graphicFrameMkLst>
        </pc:graphicFrameChg>
        <pc:graphicFrameChg chg="add mod">
          <ac:chgData name="Yash Ratanpal" userId="5db668b1-93e7-4c08-9786-4ed81315a653" providerId="ADAL" clId="{3F7A7787-00CA-42A0-97CD-637349527123}" dt="2021-07-11T14:33:28.264" v="3109" actId="164"/>
          <ac:graphicFrameMkLst>
            <pc:docMk/>
            <pc:sldMk cId="3413008602" sldId="1712"/>
            <ac:graphicFrameMk id="43" creationId="{2C4EF820-238F-4607-910A-60242C9751F4}"/>
          </ac:graphicFrameMkLst>
        </pc:graphicFrameChg>
        <pc:cxnChg chg="add del mod">
          <ac:chgData name="Yash Ratanpal" userId="5db668b1-93e7-4c08-9786-4ed81315a653" providerId="ADAL" clId="{3F7A7787-00CA-42A0-97CD-637349527123}" dt="2021-07-11T14:18:44.186" v="2613"/>
          <ac:cxnSpMkLst>
            <pc:docMk/>
            <pc:sldMk cId="3413008602" sldId="1712"/>
            <ac:cxnSpMk id="9" creationId="{E95E92C1-B789-4B38-884B-41E9064FF549}"/>
          </ac:cxnSpMkLst>
        </pc:cxnChg>
        <pc:cxnChg chg="add mod">
          <ac:chgData name="Yash Ratanpal" userId="5db668b1-93e7-4c08-9786-4ed81315a653" providerId="ADAL" clId="{3F7A7787-00CA-42A0-97CD-637349527123}" dt="2021-07-11T14:33:28.264" v="3109" actId="164"/>
          <ac:cxnSpMkLst>
            <pc:docMk/>
            <pc:sldMk cId="3413008602" sldId="1712"/>
            <ac:cxnSpMk id="29" creationId="{737AABC2-746B-4951-A97E-6F7F2A20AA7E}"/>
          </ac:cxnSpMkLst>
        </pc:cxnChg>
      </pc:sldChg>
      <pc:sldChg chg="addSp delSp modSp add del mod">
        <pc:chgData name="Yash Ratanpal" userId="5db668b1-93e7-4c08-9786-4ed81315a653" providerId="ADAL" clId="{3F7A7787-00CA-42A0-97CD-637349527123}" dt="2021-07-18T14:51:09.186" v="3610" actId="47"/>
        <pc:sldMkLst>
          <pc:docMk/>
          <pc:sldMk cId="324735168" sldId="1713"/>
        </pc:sldMkLst>
        <pc:spChg chg="mod">
          <ac:chgData name="Yash Ratanpal" userId="5db668b1-93e7-4c08-9786-4ed81315a653" providerId="ADAL" clId="{3F7A7787-00CA-42A0-97CD-637349527123}" dt="2021-07-11T14:21:26.562" v="2794" actId="1076"/>
          <ac:spMkLst>
            <pc:docMk/>
            <pc:sldMk cId="324735168" sldId="1713"/>
            <ac:spMk id="3" creationId="{00000000-0000-0000-0000-000000000000}"/>
          </ac:spMkLst>
        </pc:spChg>
        <pc:spChg chg="mod">
          <ac:chgData name="Yash Ratanpal" userId="5db668b1-93e7-4c08-9786-4ed81315a653" providerId="ADAL" clId="{3F7A7787-00CA-42A0-97CD-637349527123}" dt="2021-07-11T14:21:18.245" v="2792"/>
          <ac:spMkLst>
            <pc:docMk/>
            <pc:sldMk cId="324735168" sldId="1713"/>
            <ac:spMk id="68" creationId="{81EB5EE3-0816-4678-82D2-0A913959F7FB}"/>
          </ac:spMkLst>
        </pc:spChg>
        <pc:spChg chg="mod">
          <ac:chgData name="Yash Ratanpal" userId="5db668b1-93e7-4c08-9786-4ed81315a653" providerId="ADAL" clId="{3F7A7787-00CA-42A0-97CD-637349527123}" dt="2021-07-11T14:21:18.245" v="2792"/>
          <ac:spMkLst>
            <pc:docMk/>
            <pc:sldMk cId="324735168" sldId="1713"/>
            <ac:spMk id="69" creationId="{2682E806-805D-455B-A051-014D4E84B8FF}"/>
          </ac:spMkLst>
        </pc:spChg>
        <pc:spChg chg="mod">
          <ac:chgData name="Yash Ratanpal" userId="5db668b1-93e7-4c08-9786-4ed81315a653" providerId="ADAL" clId="{3F7A7787-00CA-42A0-97CD-637349527123}" dt="2021-07-11T14:21:18.245" v="2792"/>
          <ac:spMkLst>
            <pc:docMk/>
            <pc:sldMk cId="324735168" sldId="1713"/>
            <ac:spMk id="70" creationId="{9CE1A7F5-A360-47AF-BDF5-03A0C480E266}"/>
          </ac:spMkLst>
        </pc:spChg>
        <pc:spChg chg="mod">
          <ac:chgData name="Yash Ratanpal" userId="5db668b1-93e7-4c08-9786-4ed81315a653" providerId="ADAL" clId="{3F7A7787-00CA-42A0-97CD-637349527123}" dt="2021-07-11T14:21:18.245" v="2792"/>
          <ac:spMkLst>
            <pc:docMk/>
            <pc:sldMk cId="324735168" sldId="1713"/>
            <ac:spMk id="71" creationId="{15B46879-E3DB-4B42-955D-C7DEA7045B32}"/>
          </ac:spMkLst>
        </pc:spChg>
        <pc:spChg chg="mod">
          <ac:chgData name="Yash Ratanpal" userId="5db668b1-93e7-4c08-9786-4ed81315a653" providerId="ADAL" clId="{3F7A7787-00CA-42A0-97CD-637349527123}" dt="2021-07-11T14:21:18.245" v="2792"/>
          <ac:spMkLst>
            <pc:docMk/>
            <pc:sldMk cId="324735168" sldId="1713"/>
            <ac:spMk id="72" creationId="{791E5165-3C12-458A-BD14-41E9FB8554B7}"/>
          </ac:spMkLst>
        </pc:spChg>
        <pc:spChg chg="mod">
          <ac:chgData name="Yash Ratanpal" userId="5db668b1-93e7-4c08-9786-4ed81315a653" providerId="ADAL" clId="{3F7A7787-00CA-42A0-97CD-637349527123}" dt="2021-07-11T14:21:18.245" v="2792"/>
          <ac:spMkLst>
            <pc:docMk/>
            <pc:sldMk cId="324735168" sldId="1713"/>
            <ac:spMk id="73" creationId="{D9175A99-36FD-4A05-9486-1698FDA1139B}"/>
          </ac:spMkLst>
        </pc:spChg>
        <pc:spChg chg="mod">
          <ac:chgData name="Yash Ratanpal" userId="5db668b1-93e7-4c08-9786-4ed81315a653" providerId="ADAL" clId="{3F7A7787-00CA-42A0-97CD-637349527123}" dt="2021-07-11T14:21:18.245" v="2792"/>
          <ac:spMkLst>
            <pc:docMk/>
            <pc:sldMk cId="324735168" sldId="1713"/>
            <ac:spMk id="74" creationId="{2C60AB16-1F44-414E-804D-3B5C2DE9FE51}"/>
          </ac:spMkLst>
        </pc:spChg>
        <pc:spChg chg="mod">
          <ac:chgData name="Yash Ratanpal" userId="5db668b1-93e7-4c08-9786-4ed81315a653" providerId="ADAL" clId="{3F7A7787-00CA-42A0-97CD-637349527123}" dt="2021-07-11T14:21:18.245" v="2792"/>
          <ac:spMkLst>
            <pc:docMk/>
            <pc:sldMk cId="324735168" sldId="1713"/>
            <ac:spMk id="75" creationId="{E0F67D83-5500-454C-8240-D5DC21560145}"/>
          </ac:spMkLst>
        </pc:spChg>
        <pc:spChg chg="mod">
          <ac:chgData name="Yash Ratanpal" userId="5db668b1-93e7-4c08-9786-4ed81315a653" providerId="ADAL" clId="{3F7A7787-00CA-42A0-97CD-637349527123}" dt="2021-07-11T14:21:18.245" v="2792"/>
          <ac:spMkLst>
            <pc:docMk/>
            <pc:sldMk cId="324735168" sldId="1713"/>
            <ac:spMk id="76" creationId="{E77FE068-C2C8-4EA6-A877-8A606EDA8B5F}"/>
          </ac:spMkLst>
        </pc:spChg>
        <pc:spChg chg="mod">
          <ac:chgData name="Yash Ratanpal" userId="5db668b1-93e7-4c08-9786-4ed81315a653" providerId="ADAL" clId="{3F7A7787-00CA-42A0-97CD-637349527123}" dt="2021-07-11T14:21:18.245" v="2792"/>
          <ac:spMkLst>
            <pc:docMk/>
            <pc:sldMk cId="324735168" sldId="1713"/>
            <ac:spMk id="77" creationId="{7E09553F-8C5F-431E-A6BE-8950FAA57D1F}"/>
          </ac:spMkLst>
        </pc:spChg>
        <pc:spChg chg="mod">
          <ac:chgData name="Yash Ratanpal" userId="5db668b1-93e7-4c08-9786-4ed81315a653" providerId="ADAL" clId="{3F7A7787-00CA-42A0-97CD-637349527123}" dt="2021-07-11T14:21:18.245" v="2792"/>
          <ac:spMkLst>
            <pc:docMk/>
            <pc:sldMk cId="324735168" sldId="1713"/>
            <ac:spMk id="78" creationId="{D784D677-8763-4048-94D5-FB10D407C54A}"/>
          </ac:spMkLst>
        </pc:spChg>
        <pc:spChg chg="mod">
          <ac:chgData name="Yash Ratanpal" userId="5db668b1-93e7-4c08-9786-4ed81315a653" providerId="ADAL" clId="{3F7A7787-00CA-42A0-97CD-637349527123}" dt="2021-07-11T14:21:18.245" v="2792"/>
          <ac:spMkLst>
            <pc:docMk/>
            <pc:sldMk cId="324735168" sldId="1713"/>
            <ac:spMk id="79" creationId="{6CB51CC4-7AA8-4298-AED1-D3C63E004574}"/>
          </ac:spMkLst>
        </pc:spChg>
        <pc:spChg chg="add mod">
          <ac:chgData name="Yash Ratanpal" userId="5db668b1-93e7-4c08-9786-4ed81315a653" providerId="ADAL" clId="{3F7A7787-00CA-42A0-97CD-637349527123}" dt="2021-07-11T14:21:21.854" v="2793" actId="1076"/>
          <ac:spMkLst>
            <pc:docMk/>
            <pc:sldMk cId="324735168" sldId="1713"/>
            <ac:spMk id="80" creationId="{07F33804-A405-4673-9013-C12907A4710B}"/>
          </ac:spMkLst>
        </pc:spChg>
        <pc:spChg chg="add mod">
          <ac:chgData name="Yash Ratanpal" userId="5db668b1-93e7-4c08-9786-4ed81315a653" providerId="ADAL" clId="{3F7A7787-00CA-42A0-97CD-637349527123}" dt="2021-07-11T14:21:21.854" v="2793" actId="1076"/>
          <ac:spMkLst>
            <pc:docMk/>
            <pc:sldMk cId="324735168" sldId="1713"/>
            <ac:spMk id="81" creationId="{29A2BAB6-31B7-44F0-AF71-401944DDED1D}"/>
          </ac:spMkLst>
        </pc:spChg>
        <pc:spChg chg="mod">
          <ac:chgData name="Yash Ratanpal" userId="5db668b1-93e7-4c08-9786-4ed81315a653" providerId="ADAL" clId="{3F7A7787-00CA-42A0-97CD-637349527123}" dt="2021-07-11T14:21:18.245" v="2792"/>
          <ac:spMkLst>
            <pc:docMk/>
            <pc:sldMk cId="324735168" sldId="1713"/>
            <ac:spMk id="83" creationId="{E5F2FDC8-FD11-435B-A4A7-8E8DD3A1BF4D}"/>
          </ac:spMkLst>
        </pc:spChg>
        <pc:spChg chg="mod">
          <ac:chgData name="Yash Ratanpal" userId="5db668b1-93e7-4c08-9786-4ed81315a653" providerId="ADAL" clId="{3F7A7787-00CA-42A0-97CD-637349527123}" dt="2021-07-11T14:21:18.245" v="2792"/>
          <ac:spMkLst>
            <pc:docMk/>
            <pc:sldMk cId="324735168" sldId="1713"/>
            <ac:spMk id="84" creationId="{51C37187-4273-45A5-9F58-444B1FB89E66}"/>
          </ac:spMkLst>
        </pc:spChg>
        <pc:spChg chg="mod">
          <ac:chgData name="Yash Ratanpal" userId="5db668b1-93e7-4c08-9786-4ed81315a653" providerId="ADAL" clId="{3F7A7787-00CA-42A0-97CD-637349527123}" dt="2021-07-11T14:21:18.245" v="2792"/>
          <ac:spMkLst>
            <pc:docMk/>
            <pc:sldMk cId="324735168" sldId="1713"/>
            <ac:spMk id="85" creationId="{A6556AA6-035B-4067-8192-119D219B2FDC}"/>
          </ac:spMkLst>
        </pc:spChg>
        <pc:spChg chg="mod">
          <ac:chgData name="Yash Ratanpal" userId="5db668b1-93e7-4c08-9786-4ed81315a653" providerId="ADAL" clId="{3F7A7787-00CA-42A0-97CD-637349527123}" dt="2021-07-11T14:21:18.245" v="2792"/>
          <ac:spMkLst>
            <pc:docMk/>
            <pc:sldMk cId="324735168" sldId="1713"/>
            <ac:spMk id="86" creationId="{5D899B27-3BD3-4527-BF9A-FBF5809EA56A}"/>
          </ac:spMkLst>
        </pc:spChg>
        <pc:spChg chg="mod">
          <ac:chgData name="Yash Ratanpal" userId="5db668b1-93e7-4c08-9786-4ed81315a653" providerId="ADAL" clId="{3F7A7787-00CA-42A0-97CD-637349527123}" dt="2021-07-11T14:21:18.245" v="2792"/>
          <ac:spMkLst>
            <pc:docMk/>
            <pc:sldMk cId="324735168" sldId="1713"/>
            <ac:spMk id="87" creationId="{051006D3-B8D5-4C5A-9FA2-61B20CE05CC6}"/>
          </ac:spMkLst>
        </pc:spChg>
        <pc:spChg chg="mod">
          <ac:chgData name="Yash Ratanpal" userId="5db668b1-93e7-4c08-9786-4ed81315a653" providerId="ADAL" clId="{3F7A7787-00CA-42A0-97CD-637349527123}" dt="2021-07-11T14:21:18.245" v="2792"/>
          <ac:spMkLst>
            <pc:docMk/>
            <pc:sldMk cId="324735168" sldId="1713"/>
            <ac:spMk id="88" creationId="{8F29CF79-FA7B-4C4E-A15D-038663BA9735}"/>
          </ac:spMkLst>
        </pc:spChg>
        <pc:spChg chg="mod">
          <ac:chgData name="Yash Ratanpal" userId="5db668b1-93e7-4c08-9786-4ed81315a653" providerId="ADAL" clId="{3F7A7787-00CA-42A0-97CD-637349527123}" dt="2021-07-11T14:21:18.245" v="2792"/>
          <ac:spMkLst>
            <pc:docMk/>
            <pc:sldMk cId="324735168" sldId="1713"/>
            <ac:spMk id="89" creationId="{1E55A989-C3A8-4C83-A238-42D94F964061}"/>
          </ac:spMkLst>
        </pc:spChg>
        <pc:spChg chg="mod">
          <ac:chgData name="Yash Ratanpal" userId="5db668b1-93e7-4c08-9786-4ed81315a653" providerId="ADAL" clId="{3F7A7787-00CA-42A0-97CD-637349527123}" dt="2021-07-11T14:21:18.245" v="2792"/>
          <ac:spMkLst>
            <pc:docMk/>
            <pc:sldMk cId="324735168" sldId="1713"/>
            <ac:spMk id="90" creationId="{B1C01757-2749-47A3-9ECE-CCA97CD36D2C}"/>
          </ac:spMkLst>
        </pc:spChg>
        <pc:spChg chg="mod">
          <ac:chgData name="Yash Ratanpal" userId="5db668b1-93e7-4c08-9786-4ed81315a653" providerId="ADAL" clId="{3F7A7787-00CA-42A0-97CD-637349527123}" dt="2021-07-11T14:21:18.245" v="2792"/>
          <ac:spMkLst>
            <pc:docMk/>
            <pc:sldMk cId="324735168" sldId="1713"/>
            <ac:spMk id="91" creationId="{913E06F5-7916-4065-AD90-38C269BB40F5}"/>
          </ac:spMkLst>
        </pc:spChg>
        <pc:spChg chg="mod">
          <ac:chgData name="Yash Ratanpal" userId="5db668b1-93e7-4c08-9786-4ed81315a653" providerId="ADAL" clId="{3F7A7787-00CA-42A0-97CD-637349527123}" dt="2021-07-11T14:21:18.245" v="2792"/>
          <ac:spMkLst>
            <pc:docMk/>
            <pc:sldMk cId="324735168" sldId="1713"/>
            <ac:spMk id="92" creationId="{A121743D-5DA8-4178-A543-DC80FE25F67C}"/>
          </ac:spMkLst>
        </pc:spChg>
        <pc:spChg chg="mod">
          <ac:chgData name="Yash Ratanpal" userId="5db668b1-93e7-4c08-9786-4ed81315a653" providerId="ADAL" clId="{3F7A7787-00CA-42A0-97CD-637349527123}" dt="2021-07-11T14:21:18.245" v="2792"/>
          <ac:spMkLst>
            <pc:docMk/>
            <pc:sldMk cId="324735168" sldId="1713"/>
            <ac:spMk id="93" creationId="{4A0F2F6A-39BC-4978-9659-6BD504D81403}"/>
          </ac:spMkLst>
        </pc:spChg>
        <pc:spChg chg="mod">
          <ac:chgData name="Yash Ratanpal" userId="5db668b1-93e7-4c08-9786-4ed81315a653" providerId="ADAL" clId="{3F7A7787-00CA-42A0-97CD-637349527123}" dt="2021-07-11T14:21:18.245" v="2792"/>
          <ac:spMkLst>
            <pc:docMk/>
            <pc:sldMk cId="324735168" sldId="1713"/>
            <ac:spMk id="94" creationId="{5841471E-556F-41B0-9436-3517849A9F69}"/>
          </ac:spMkLst>
        </pc:spChg>
        <pc:spChg chg="mod">
          <ac:chgData name="Yash Ratanpal" userId="5db668b1-93e7-4c08-9786-4ed81315a653" providerId="ADAL" clId="{3F7A7787-00CA-42A0-97CD-637349527123}" dt="2021-07-11T14:21:18.245" v="2792"/>
          <ac:spMkLst>
            <pc:docMk/>
            <pc:sldMk cId="324735168" sldId="1713"/>
            <ac:spMk id="97" creationId="{28A54F29-E2C8-4080-9017-C8D5882CD052}"/>
          </ac:spMkLst>
        </pc:spChg>
        <pc:spChg chg="mod">
          <ac:chgData name="Yash Ratanpal" userId="5db668b1-93e7-4c08-9786-4ed81315a653" providerId="ADAL" clId="{3F7A7787-00CA-42A0-97CD-637349527123}" dt="2021-07-11T14:21:18.245" v="2792"/>
          <ac:spMkLst>
            <pc:docMk/>
            <pc:sldMk cId="324735168" sldId="1713"/>
            <ac:spMk id="101" creationId="{71417CAF-8438-466A-BA39-7E77BDEE6586}"/>
          </ac:spMkLst>
        </pc:spChg>
        <pc:grpChg chg="del">
          <ac:chgData name="Yash Ratanpal" userId="5db668b1-93e7-4c08-9786-4ed81315a653" providerId="ADAL" clId="{3F7A7787-00CA-42A0-97CD-637349527123}" dt="2021-07-11T14:21:10.008" v="2791" actId="478"/>
          <ac:grpSpMkLst>
            <pc:docMk/>
            <pc:sldMk cId="324735168" sldId="1713"/>
            <ac:grpSpMk id="4" creationId="{EA00DBC6-6C4A-4CEC-88FF-62C5530F1D29}"/>
          </ac:grpSpMkLst>
        </pc:grpChg>
        <pc:grpChg chg="add mod">
          <ac:chgData name="Yash Ratanpal" userId="5db668b1-93e7-4c08-9786-4ed81315a653" providerId="ADAL" clId="{3F7A7787-00CA-42A0-97CD-637349527123}" dt="2021-07-11T14:21:21.854" v="2793" actId="1076"/>
          <ac:grpSpMkLst>
            <pc:docMk/>
            <pc:sldMk cId="324735168" sldId="1713"/>
            <ac:grpSpMk id="67" creationId="{3863BB2F-707F-47C2-8089-DE40763748E0}"/>
          </ac:grpSpMkLst>
        </pc:grpChg>
        <pc:grpChg chg="add mod">
          <ac:chgData name="Yash Ratanpal" userId="5db668b1-93e7-4c08-9786-4ed81315a653" providerId="ADAL" clId="{3F7A7787-00CA-42A0-97CD-637349527123}" dt="2021-07-11T14:21:21.854" v="2793" actId="1076"/>
          <ac:grpSpMkLst>
            <pc:docMk/>
            <pc:sldMk cId="324735168" sldId="1713"/>
            <ac:grpSpMk id="82" creationId="{FFE33F58-C6DE-44E5-B3BB-4E82F3B20C88}"/>
          </ac:grpSpMkLst>
        </pc:grpChg>
        <pc:grpChg chg="add mod">
          <ac:chgData name="Yash Ratanpal" userId="5db668b1-93e7-4c08-9786-4ed81315a653" providerId="ADAL" clId="{3F7A7787-00CA-42A0-97CD-637349527123}" dt="2021-07-11T14:21:21.854" v="2793" actId="1076"/>
          <ac:grpSpMkLst>
            <pc:docMk/>
            <pc:sldMk cId="324735168" sldId="1713"/>
            <ac:grpSpMk id="95" creationId="{EA90757D-2053-497F-9103-CBD3D457B05B}"/>
          </ac:grpSpMkLst>
        </pc:grpChg>
        <pc:grpChg chg="add mod">
          <ac:chgData name="Yash Ratanpal" userId="5db668b1-93e7-4c08-9786-4ed81315a653" providerId="ADAL" clId="{3F7A7787-00CA-42A0-97CD-637349527123}" dt="2021-07-11T14:21:21.854" v="2793" actId="1076"/>
          <ac:grpSpMkLst>
            <pc:docMk/>
            <pc:sldMk cId="324735168" sldId="1713"/>
            <ac:grpSpMk id="99" creationId="{76B520CE-1437-4476-81ED-9C2789196CED}"/>
          </ac:grpSpMkLst>
        </pc:grpChg>
        <pc:cxnChg chg="mod">
          <ac:chgData name="Yash Ratanpal" userId="5db668b1-93e7-4c08-9786-4ed81315a653" providerId="ADAL" clId="{3F7A7787-00CA-42A0-97CD-637349527123}" dt="2021-07-11T14:21:18.245" v="2792"/>
          <ac:cxnSpMkLst>
            <pc:docMk/>
            <pc:sldMk cId="324735168" sldId="1713"/>
            <ac:cxnSpMk id="96" creationId="{69F59497-0B07-4C2C-A376-4B0065C96546}"/>
          </ac:cxnSpMkLst>
        </pc:cxnChg>
        <pc:cxnChg chg="mod">
          <ac:chgData name="Yash Ratanpal" userId="5db668b1-93e7-4c08-9786-4ed81315a653" providerId="ADAL" clId="{3F7A7787-00CA-42A0-97CD-637349527123}" dt="2021-07-11T14:21:18.245" v="2792"/>
          <ac:cxnSpMkLst>
            <pc:docMk/>
            <pc:sldMk cId="324735168" sldId="1713"/>
            <ac:cxnSpMk id="98" creationId="{418B114A-16D4-402C-BDA5-D80A15DBA09A}"/>
          </ac:cxnSpMkLst>
        </pc:cxnChg>
        <pc:cxnChg chg="mod">
          <ac:chgData name="Yash Ratanpal" userId="5db668b1-93e7-4c08-9786-4ed81315a653" providerId="ADAL" clId="{3F7A7787-00CA-42A0-97CD-637349527123}" dt="2021-07-11T14:21:18.245" v="2792"/>
          <ac:cxnSpMkLst>
            <pc:docMk/>
            <pc:sldMk cId="324735168" sldId="1713"/>
            <ac:cxnSpMk id="100" creationId="{7A1B6CBF-052A-4091-AEAA-204584391748}"/>
          </ac:cxnSpMkLst>
        </pc:cxnChg>
        <pc:cxnChg chg="mod">
          <ac:chgData name="Yash Ratanpal" userId="5db668b1-93e7-4c08-9786-4ed81315a653" providerId="ADAL" clId="{3F7A7787-00CA-42A0-97CD-637349527123}" dt="2021-07-11T14:21:18.245" v="2792"/>
          <ac:cxnSpMkLst>
            <pc:docMk/>
            <pc:sldMk cId="324735168" sldId="1713"/>
            <ac:cxnSpMk id="102" creationId="{EBBBA11C-7992-4F70-8288-95731DEF1B78}"/>
          </ac:cxnSpMkLst>
        </pc:cxnChg>
      </pc:sldChg>
      <pc:sldChg chg="delSp modSp add del mod">
        <pc:chgData name="Yash Ratanpal" userId="5db668b1-93e7-4c08-9786-4ed81315a653" providerId="ADAL" clId="{3F7A7787-00CA-42A0-97CD-637349527123}" dt="2021-07-11T14:20:33.688" v="2715" actId="47"/>
        <pc:sldMkLst>
          <pc:docMk/>
          <pc:sldMk cId="1517229116" sldId="1713"/>
        </pc:sldMkLst>
        <pc:spChg chg="mod">
          <ac:chgData name="Yash Ratanpal" userId="5db668b1-93e7-4c08-9786-4ed81315a653" providerId="ADAL" clId="{3F7A7787-00CA-42A0-97CD-637349527123}" dt="2021-07-11T14:20:30.041" v="2714" actId="1076"/>
          <ac:spMkLst>
            <pc:docMk/>
            <pc:sldMk cId="1517229116" sldId="1713"/>
            <ac:spMk id="3" creationId="{00000000-0000-0000-0000-000000000000}"/>
          </ac:spMkLst>
        </pc:spChg>
        <pc:grpChg chg="del">
          <ac:chgData name="Yash Ratanpal" userId="5db668b1-93e7-4c08-9786-4ed81315a653" providerId="ADAL" clId="{3F7A7787-00CA-42A0-97CD-637349527123}" dt="2021-07-11T14:20:13.012" v="2645" actId="478"/>
          <ac:grpSpMkLst>
            <pc:docMk/>
            <pc:sldMk cId="1517229116" sldId="1713"/>
            <ac:grpSpMk id="4" creationId="{EA00DBC6-6C4A-4CEC-88FF-62C5530F1D29}"/>
          </ac:grpSpMkLst>
        </pc:grpChg>
      </pc:sldChg>
      <pc:sldChg chg="addSp delSp modSp add del mod">
        <pc:chgData name="Yash Ratanpal" userId="5db668b1-93e7-4c08-9786-4ed81315a653" providerId="ADAL" clId="{3F7A7787-00CA-42A0-97CD-637349527123}" dt="2021-07-18T16:58:01.747" v="8304" actId="47"/>
        <pc:sldMkLst>
          <pc:docMk/>
          <pc:sldMk cId="3289095833" sldId="1714"/>
        </pc:sldMkLst>
        <pc:spChg chg="mod">
          <ac:chgData name="Yash Ratanpal" userId="5db668b1-93e7-4c08-9786-4ed81315a653" providerId="ADAL" clId="{3F7A7787-00CA-42A0-97CD-637349527123}" dt="2021-07-11T14:42:05.785" v="3235" actId="20577"/>
          <ac:spMkLst>
            <pc:docMk/>
            <pc:sldMk cId="3289095833" sldId="1714"/>
            <ac:spMk id="3" creationId="{00000000-0000-0000-0000-000000000000}"/>
          </ac:spMkLst>
        </pc:spChg>
        <pc:spChg chg="add mod">
          <ac:chgData name="Yash Ratanpal" userId="5db668b1-93e7-4c08-9786-4ed81315a653" providerId="ADAL" clId="{3F7A7787-00CA-42A0-97CD-637349527123}" dt="2021-07-11T14:44:47.103" v="3409" actId="20577"/>
          <ac:spMkLst>
            <pc:docMk/>
            <pc:sldMk cId="3289095833" sldId="1714"/>
            <ac:spMk id="4" creationId="{ACC6E877-A52C-46C5-8178-117619A5A249}"/>
          </ac:spMkLst>
        </pc:spChg>
        <pc:spChg chg="add mod">
          <ac:chgData name="Yash Ratanpal" userId="5db668b1-93e7-4c08-9786-4ed81315a653" providerId="ADAL" clId="{3F7A7787-00CA-42A0-97CD-637349527123}" dt="2021-07-11T14:44:51.161" v="3433" actId="20577"/>
          <ac:spMkLst>
            <pc:docMk/>
            <pc:sldMk cId="3289095833" sldId="1714"/>
            <ac:spMk id="5" creationId="{A99A339A-E650-40EF-80B1-44D1A39B70CE}"/>
          </ac:spMkLst>
        </pc:spChg>
        <pc:spChg chg="add mod">
          <ac:chgData name="Yash Ratanpal" userId="5db668b1-93e7-4c08-9786-4ed81315a653" providerId="ADAL" clId="{3F7A7787-00CA-42A0-97CD-637349527123}" dt="2021-07-11T14:42:53.752" v="3310" actId="20577"/>
          <ac:spMkLst>
            <pc:docMk/>
            <pc:sldMk cId="3289095833" sldId="1714"/>
            <ac:spMk id="6" creationId="{0E000F90-8EED-4B65-A95B-A033CDF4F50C}"/>
          </ac:spMkLst>
        </pc:spChg>
        <pc:spChg chg="add mod">
          <ac:chgData name="Yash Ratanpal" userId="5db668b1-93e7-4c08-9786-4ed81315a653" providerId="ADAL" clId="{3F7A7787-00CA-42A0-97CD-637349527123}" dt="2021-07-11T14:43:57.386" v="3377" actId="20577"/>
          <ac:spMkLst>
            <pc:docMk/>
            <pc:sldMk cId="3289095833" sldId="1714"/>
            <ac:spMk id="9" creationId="{347FBA8C-2AAA-4F36-9BEC-2D2468BD0172}"/>
          </ac:spMkLst>
        </pc:spChg>
        <pc:spChg chg="add mod">
          <ac:chgData name="Yash Ratanpal" userId="5db668b1-93e7-4c08-9786-4ed81315a653" providerId="ADAL" clId="{3F7A7787-00CA-42A0-97CD-637349527123}" dt="2021-07-11T14:44:07.691" v="3393" actId="20577"/>
          <ac:spMkLst>
            <pc:docMk/>
            <pc:sldMk cId="3289095833" sldId="1714"/>
            <ac:spMk id="10" creationId="{AB1F9C67-C5CE-493A-ADDF-D2789289A577}"/>
          </ac:spMkLst>
        </pc:spChg>
        <pc:spChg chg="add mod">
          <ac:chgData name="Yash Ratanpal" userId="5db668b1-93e7-4c08-9786-4ed81315a653" providerId="ADAL" clId="{3F7A7787-00CA-42A0-97CD-637349527123}" dt="2021-07-11T14:43:51.038" v="3356" actId="20577"/>
          <ac:spMkLst>
            <pc:docMk/>
            <pc:sldMk cId="3289095833" sldId="1714"/>
            <ac:spMk id="11" creationId="{58E43D32-F267-41DA-9F49-D8B0E1266632}"/>
          </ac:spMkLst>
        </pc:spChg>
        <pc:cxnChg chg="add del">
          <ac:chgData name="Yash Ratanpal" userId="5db668b1-93e7-4c08-9786-4ed81315a653" providerId="ADAL" clId="{3F7A7787-00CA-42A0-97CD-637349527123}" dt="2021-07-11T14:44:08.916" v="3394" actId="478"/>
          <ac:cxnSpMkLst>
            <pc:docMk/>
            <pc:sldMk cId="3289095833" sldId="1714"/>
            <ac:cxnSpMk id="8" creationId="{2960CB18-C201-443D-8CBF-CF987EC628A8}"/>
          </ac:cxnSpMkLst>
        </pc:cxnChg>
      </pc:sldChg>
      <pc:sldChg chg="addSp delSp modSp add mod delAnim modAnim">
        <pc:chgData name="Yash Ratanpal" userId="5db668b1-93e7-4c08-9786-4ed81315a653" providerId="ADAL" clId="{3F7A7787-00CA-42A0-97CD-637349527123}" dt="2021-07-11T14:23:15.702" v="2887" actId="1076"/>
        <pc:sldMkLst>
          <pc:docMk/>
          <pc:sldMk cId="2215528273" sldId="1715"/>
        </pc:sldMkLst>
        <pc:spChg chg="mod">
          <ac:chgData name="Yash Ratanpal" userId="5db668b1-93e7-4c08-9786-4ed81315a653" providerId="ADAL" clId="{3F7A7787-00CA-42A0-97CD-637349527123}" dt="2021-07-11T14:23:01.026" v="2882" actId="20577"/>
          <ac:spMkLst>
            <pc:docMk/>
            <pc:sldMk cId="2215528273" sldId="1715"/>
            <ac:spMk id="3" creationId="{00000000-0000-0000-0000-000000000000}"/>
          </ac:spMkLst>
        </pc:spChg>
        <pc:spChg chg="del">
          <ac:chgData name="Yash Ratanpal" userId="5db668b1-93e7-4c08-9786-4ed81315a653" providerId="ADAL" clId="{3F7A7787-00CA-42A0-97CD-637349527123}" dt="2021-07-11T14:23:04.003" v="2883" actId="478"/>
          <ac:spMkLst>
            <pc:docMk/>
            <pc:sldMk cId="2215528273" sldId="1715"/>
            <ac:spMk id="24" creationId="{EB3818DC-FFE8-457E-8B24-6DC41AA1DD2F}"/>
          </ac:spMkLst>
        </pc:spChg>
        <pc:spChg chg="del">
          <ac:chgData name="Yash Ratanpal" userId="5db668b1-93e7-4c08-9786-4ed81315a653" providerId="ADAL" clId="{3F7A7787-00CA-42A0-97CD-637349527123}" dt="2021-07-11T14:23:04.003" v="2883" actId="478"/>
          <ac:spMkLst>
            <pc:docMk/>
            <pc:sldMk cId="2215528273" sldId="1715"/>
            <ac:spMk id="28" creationId="{8C3E7B96-3703-4FBF-84DF-5D7114C640F7}"/>
          </ac:spMkLst>
        </pc:spChg>
        <pc:spChg chg="add mod">
          <ac:chgData name="Yash Ratanpal" userId="5db668b1-93e7-4c08-9786-4ed81315a653" providerId="ADAL" clId="{3F7A7787-00CA-42A0-97CD-637349527123}" dt="2021-07-11T14:23:13.558" v="2885" actId="1076"/>
          <ac:spMkLst>
            <pc:docMk/>
            <pc:sldMk cId="2215528273" sldId="1715"/>
            <ac:spMk id="44" creationId="{18D053E3-4D72-4F40-88C0-89CD6BCF7587}"/>
          </ac:spMkLst>
        </pc:spChg>
        <pc:spChg chg="add mod">
          <ac:chgData name="Yash Ratanpal" userId="5db668b1-93e7-4c08-9786-4ed81315a653" providerId="ADAL" clId="{3F7A7787-00CA-42A0-97CD-637349527123}" dt="2021-07-11T14:23:13.558" v="2885" actId="1076"/>
          <ac:spMkLst>
            <pc:docMk/>
            <pc:sldMk cId="2215528273" sldId="1715"/>
            <ac:spMk id="45" creationId="{8E1DEEED-B1FA-4B32-9931-0C2EBE54E346}"/>
          </ac:spMkLst>
        </pc:spChg>
        <pc:spChg chg="add mod">
          <ac:chgData name="Yash Ratanpal" userId="5db668b1-93e7-4c08-9786-4ed81315a653" providerId="ADAL" clId="{3F7A7787-00CA-42A0-97CD-637349527123}" dt="2021-07-11T14:23:13.558" v="2885" actId="1076"/>
          <ac:spMkLst>
            <pc:docMk/>
            <pc:sldMk cId="2215528273" sldId="1715"/>
            <ac:spMk id="46" creationId="{A8911ADE-9082-4A9A-9F9A-8655EFB53F07}"/>
          </ac:spMkLst>
        </pc:spChg>
        <pc:spChg chg="add mod">
          <ac:chgData name="Yash Ratanpal" userId="5db668b1-93e7-4c08-9786-4ed81315a653" providerId="ADAL" clId="{3F7A7787-00CA-42A0-97CD-637349527123}" dt="2021-07-11T14:23:13.558" v="2885" actId="1076"/>
          <ac:spMkLst>
            <pc:docMk/>
            <pc:sldMk cId="2215528273" sldId="1715"/>
            <ac:spMk id="47" creationId="{B87476C1-D7DC-4DF0-874E-BFD6A69181EE}"/>
          </ac:spMkLst>
        </pc:spChg>
        <pc:spChg chg="add mod">
          <ac:chgData name="Yash Ratanpal" userId="5db668b1-93e7-4c08-9786-4ed81315a653" providerId="ADAL" clId="{3F7A7787-00CA-42A0-97CD-637349527123}" dt="2021-07-11T14:23:13.558" v="2885" actId="1076"/>
          <ac:spMkLst>
            <pc:docMk/>
            <pc:sldMk cId="2215528273" sldId="1715"/>
            <ac:spMk id="48" creationId="{D816A941-F97F-4757-93AA-DC184ADE6307}"/>
          </ac:spMkLst>
        </pc:spChg>
        <pc:spChg chg="add mod">
          <ac:chgData name="Yash Ratanpal" userId="5db668b1-93e7-4c08-9786-4ed81315a653" providerId="ADAL" clId="{3F7A7787-00CA-42A0-97CD-637349527123}" dt="2021-07-11T14:23:15.702" v="2887" actId="1076"/>
          <ac:spMkLst>
            <pc:docMk/>
            <pc:sldMk cId="2215528273" sldId="1715"/>
            <ac:spMk id="49" creationId="{0B312508-1040-4C29-9458-D3731BBA9DC2}"/>
          </ac:spMkLst>
        </pc:spChg>
        <pc:spChg chg="mod">
          <ac:chgData name="Yash Ratanpal" userId="5db668b1-93e7-4c08-9786-4ed81315a653" providerId="ADAL" clId="{3F7A7787-00CA-42A0-97CD-637349527123}" dt="2021-07-11T14:23:10.587" v="2884"/>
          <ac:spMkLst>
            <pc:docMk/>
            <pc:sldMk cId="2215528273" sldId="1715"/>
            <ac:spMk id="51" creationId="{2882A36E-C2B9-40C4-B9D3-FD4CEB00AC12}"/>
          </ac:spMkLst>
        </pc:spChg>
        <pc:spChg chg="mod">
          <ac:chgData name="Yash Ratanpal" userId="5db668b1-93e7-4c08-9786-4ed81315a653" providerId="ADAL" clId="{3F7A7787-00CA-42A0-97CD-637349527123}" dt="2021-07-11T14:23:10.587" v="2884"/>
          <ac:spMkLst>
            <pc:docMk/>
            <pc:sldMk cId="2215528273" sldId="1715"/>
            <ac:spMk id="52" creationId="{67C708B9-E023-4596-912F-A37ABCA6F32C}"/>
          </ac:spMkLst>
        </pc:spChg>
        <pc:spChg chg="mod">
          <ac:chgData name="Yash Ratanpal" userId="5db668b1-93e7-4c08-9786-4ed81315a653" providerId="ADAL" clId="{3F7A7787-00CA-42A0-97CD-637349527123}" dt="2021-07-11T14:23:10.587" v="2884"/>
          <ac:spMkLst>
            <pc:docMk/>
            <pc:sldMk cId="2215528273" sldId="1715"/>
            <ac:spMk id="53" creationId="{33E2A43A-DF57-4BD3-8020-5D96B1CAE513}"/>
          </ac:spMkLst>
        </pc:spChg>
        <pc:spChg chg="mod">
          <ac:chgData name="Yash Ratanpal" userId="5db668b1-93e7-4c08-9786-4ed81315a653" providerId="ADAL" clId="{3F7A7787-00CA-42A0-97CD-637349527123}" dt="2021-07-11T14:23:10.587" v="2884"/>
          <ac:spMkLst>
            <pc:docMk/>
            <pc:sldMk cId="2215528273" sldId="1715"/>
            <ac:spMk id="54" creationId="{F74BB39E-3679-4257-9F8C-EE6952AFC26C}"/>
          </ac:spMkLst>
        </pc:spChg>
        <pc:spChg chg="mod">
          <ac:chgData name="Yash Ratanpal" userId="5db668b1-93e7-4c08-9786-4ed81315a653" providerId="ADAL" clId="{3F7A7787-00CA-42A0-97CD-637349527123}" dt="2021-07-11T14:23:10.587" v="2884"/>
          <ac:spMkLst>
            <pc:docMk/>
            <pc:sldMk cId="2215528273" sldId="1715"/>
            <ac:spMk id="55" creationId="{0B47A598-4304-4C4D-B131-7D0010A41170}"/>
          </ac:spMkLst>
        </pc:spChg>
        <pc:spChg chg="mod">
          <ac:chgData name="Yash Ratanpal" userId="5db668b1-93e7-4c08-9786-4ed81315a653" providerId="ADAL" clId="{3F7A7787-00CA-42A0-97CD-637349527123}" dt="2021-07-11T14:23:10.587" v="2884"/>
          <ac:spMkLst>
            <pc:docMk/>
            <pc:sldMk cId="2215528273" sldId="1715"/>
            <ac:spMk id="56" creationId="{B7DFBE8B-F5D6-4CFA-9A4B-6F68B93856D1}"/>
          </ac:spMkLst>
        </pc:spChg>
        <pc:spChg chg="mod">
          <ac:chgData name="Yash Ratanpal" userId="5db668b1-93e7-4c08-9786-4ed81315a653" providerId="ADAL" clId="{3F7A7787-00CA-42A0-97CD-637349527123}" dt="2021-07-11T14:23:10.587" v="2884"/>
          <ac:spMkLst>
            <pc:docMk/>
            <pc:sldMk cId="2215528273" sldId="1715"/>
            <ac:spMk id="57" creationId="{EB84AF79-D3EF-4A21-A499-3732A4E68BCE}"/>
          </ac:spMkLst>
        </pc:spChg>
        <pc:spChg chg="mod">
          <ac:chgData name="Yash Ratanpal" userId="5db668b1-93e7-4c08-9786-4ed81315a653" providerId="ADAL" clId="{3F7A7787-00CA-42A0-97CD-637349527123}" dt="2021-07-11T14:23:10.587" v="2884"/>
          <ac:spMkLst>
            <pc:docMk/>
            <pc:sldMk cId="2215528273" sldId="1715"/>
            <ac:spMk id="58" creationId="{D179174A-1C83-4082-AFE1-52A074F99BE1}"/>
          </ac:spMkLst>
        </pc:spChg>
        <pc:spChg chg="mod">
          <ac:chgData name="Yash Ratanpal" userId="5db668b1-93e7-4c08-9786-4ed81315a653" providerId="ADAL" clId="{3F7A7787-00CA-42A0-97CD-637349527123}" dt="2021-07-11T14:23:10.587" v="2884"/>
          <ac:spMkLst>
            <pc:docMk/>
            <pc:sldMk cId="2215528273" sldId="1715"/>
            <ac:spMk id="60" creationId="{FD8FC113-5929-41A2-9F10-3B17A7DCA1CF}"/>
          </ac:spMkLst>
        </pc:spChg>
        <pc:spChg chg="mod">
          <ac:chgData name="Yash Ratanpal" userId="5db668b1-93e7-4c08-9786-4ed81315a653" providerId="ADAL" clId="{3F7A7787-00CA-42A0-97CD-637349527123}" dt="2021-07-11T14:23:10.587" v="2884"/>
          <ac:spMkLst>
            <pc:docMk/>
            <pc:sldMk cId="2215528273" sldId="1715"/>
            <ac:spMk id="61" creationId="{42FFACC3-92A6-4F5D-9438-8C375BE01744}"/>
          </ac:spMkLst>
        </pc:spChg>
        <pc:spChg chg="add mod">
          <ac:chgData name="Yash Ratanpal" userId="5db668b1-93e7-4c08-9786-4ed81315a653" providerId="ADAL" clId="{3F7A7787-00CA-42A0-97CD-637349527123}" dt="2021-07-11T14:23:13.558" v="2885" actId="1076"/>
          <ac:spMkLst>
            <pc:docMk/>
            <pc:sldMk cId="2215528273" sldId="1715"/>
            <ac:spMk id="62" creationId="{F3379764-C291-49D5-9520-E7B8836D2684}"/>
          </ac:spMkLst>
        </pc:spChg>
        <pc:grpChg chg="del">
          <ac:chgData name="Yash Ratanpal" userId="5db668b1-93e7-4c08-9786-4ed81315a653" providerId="ADAL" clId="{3F7A7787-00CA-42A0-97CD-637349527123}" dt="2021-07-11T14:23:04.003" v="2883" actId="478"/>
          <ac:grpSpMkLst>
            <pc:docMk/>
            <pc:sldMk cId="2215528273" sldId="1715"/>
            <ac:grpSpMk id="25" creationId="{D376140C-B4C2-4D4A-A9B3-E32C1FB6CA1B}"/>
          </ac:grpSpMkLst>
        </pc:grpChg>
        <pc:grpChg chg="del">
          <ac:chgData name="Yash Ratanpal" userId="5db668b1-93e7-4c08-9786-4ed81315a653" providerId="ADAL" clId="{3F7A7787-00CA-42A0-97CD-637349527123}" dt="2021-07-11T14:23:04.003" v="2883" actId="478"/>
          <ac:grpSpMkLst>
            <pc:docMk/>
            <pc:sldMk cId="2215528273" sldId="1715"/>
            <ac:grpSpMk id="30" creationId="{8B623FBA-DD1B-47DF-9210-AF07777601C2}"/>
          </ac:grpSpMkLst>
        </pc:grpChg>
        <pc:grpChg chg="add mod">
          <ac:chgData name="Yash Ratanpal" userId="5db668b1-93e7-4c08-9786-4ed81315a653" providerId="ADAL" clId="{3F7A7787-00CA-42A0-97CD-637349527123}" dt="2021-07-11T14:23:13.558" v="2885" actId="1076"/>
          <ac:grpSpMkLst>
            <pc:docMk/>
            <pc:sldMk cId="2215528273" sldId="1715"/>
            <ac:grpSpMk id="50" creationId="{1384CEA2-B369-4293-B48A-11D6EC874A13}"/>
          </ac:grpSpMkLst>
        </pc:grpChg>
        <pc:graphicFrameChg chg="del">
          <ac:chgData name="Yash Ratanpal" userId="5db668b1-93e7-4c08-9786-4ed81315a653" providerId="ADAL" clId="{3F7A7787-00CA-42A0-97CD-637349527123}" dt="2021-07-11T14:23:04.003" v="2883" actId="478"/>
          <ac:graphicFrameMkLst>
            <pc:docMk/>
            <pc:sldMk cId="2215528273" sldId="1715"/>
            <ac:graphicFrameMk id="43" creationId="{2C4EF820-238F-4607-910A-60242C9751F4}"/>
          </ac:graphicFrameMkLst>
        </pc:graphicFrameChg>
        <pc:cxnChg chg="del">
          <ac:chgData name="Yash Ratanpal" userId="5db668b1-93e7-4c08-9786-4ed81315a653" providerId="ADAL" clId="{3F7A7787-00CA-42A0-97CD-637349527123}" dt="2021-07-11T14:23:04.003" v="2883" actId="478"/>
          <ac:cxnSpMkLst>
            <pc:docMk/>
            <pc:sldMk cId="2215528273" sldId="1715"/>
            <ac:cxnSpMk id="29" creationId="{737AABC2-746B-4951-A97E-6F7F2A20AA7E}"/>
          </ac:cxnSpMkLst>
        </pc:cxnChg>
        <pc:cxnChg chg="mod">
          <ac:chgData name="Yash Ratanpal" userId="5db668b1-93e7-4c08-9786-4ed81315a653" providerId="ADAL" clId="{3F7A7787-00CA-42A0-97CD-637349527123}" dt="2021-07-11T14:23:10.587" v="2884"/>
          <ac:cxnSpMkLst>
            <pc:docMk/>
            <pc:sldMk cId="2215528273" sldId="1715"/>
            <ac:cxnSpMk id="59" creationId="{7E4C4578-94DE-4C1A-A4E9-FD5F68D92F36}"/>
          </ac:cxnSpMkLst>
        </pc:cxnChg>
        <pc:cxnChg chg="add mod">
          <ac:chgData name="Yash Ratanpal" userId="5db668b1-93e7-4c08-9786-4ed81315a653" providerId="ADAL" clId="{3F7A7787-00CA-42A0-97CD-637349527123}" dt="2021-07-11T14:23:13.558" v="2885" actId="1076"/>
          <ac:cxnSpMkLst>
            <pc:docMk/>
            <pc:sldMk cId="2215528273" sldId="1715"/>
            <ac:cxnSpMk id="63" creationId="{B53DD93F-0C8C-44C3-BA96-23459CC6ACBD}"/>
          </ac:cxnSpMkLst>
        </pc:cxnChg>
      </pc:sldChg>
      <pc:sldChg chg="addSp delSp modSp add mod delAnim">
        <pc:chgData name="Yash Ratanpal" userId="5db668b1-93e7-4c08-9786-4ed81315a653" providerId="ADAL" clId="{3F7A7787-00CA-42A0-97CD-637349527123}" dt="2021-07-11T14:24:20.419" v="2962" actId="1076"/>
        <pc:sldMkLst>
          <pc:docMk/>
          <pc:sldMk cId="2852442038" sldId="1716"/>
        </pc:sldMkLst>
        <pc:spChg chg="mod">
          <ac:chgData name="Yash Ratanpal" userId="5db668b1-93e7-4c08-9786-4ed81315a653" providerId="ADAL" clId="{3F7A7787-00CA-42A0-97CD-637349527123}" dt="2021-07-11T14:24:07.996" v="2957" actId="20577"/>
          <ac:spMkLst>
            <pc:docMk/>
            <pc:sldMk cId="2852442038" sldId="1716"/>
            <ac:spMk id="3" creationId="{00000000-0000-0000-0000-000000000000}"/>
          </ac:spMkLst>
        </pc:spChg>
        <pc:spChg chg="add mod">
          <ac:chgData name="Yash Ratanpal" userId="5db668b1-93e7-4c08-9786-4ed81315a653" providerId="ADAL" clId="{3F7A7787-00CA-42A0-97CD-637349527123}" dt="2021-07-11T14:24:20.419" v="2962" actId="1076"/>
          <ac:spMkLst>
            <pc:docMk/>
            <pc:sldMk cId="2852442038" sldId="1716"/>
            <ac:spMk id="21" creationId="{4DD53312-AB6C-4E07-A913-E5C3C92ACC10}"/>
          </ac:spMkLst>
        </pc:spChg>
        <pc:spChg chg="mod">
          <ac:chgData name="Yash Ratanpal" userId="5db668b1-93e7-4c08-9786-4ed81315a653" providerId="ADAL" clId="{3F7A7787-00CA-42A0-97CD-637349527123}" dt="2021-07-11T14:24:18.114" v="2961"/>
          <ac:spMkLst>
            <pc:docMk/>
            <pc:sldMk cId="2852442038" sldId="1716"/>
            <ac:spMk id="23" creationId="{D743DBE5-DFF3-483D-A751-278CE50DE4ED}"/>
          </ac:spMkLst>
        </pc:spChg>
        <pc:spChg chg="mod">
          <ac:chgData name="Yash Ratanpal" userId="5db668b1-93e7-4c08-9786-4ed81315a653" providerId="ADAL" clId="{3F7A7787-00CA-42A0-97CD-637349527123}" dt="2021-07-11T14:24:18.114" v="2961"/>
          <ac:spMkLst>
            <pc:docMk/>
            <pc:sldMk cId="2852442038" sldId="1716"/>
            <ac:spMk id="24" creationId="{E59D15B9-A0B1-4F81-A0E5-FD553BA1A6A1}"/>
          </ac:spMkLst>
        </pc:spChg>
        <pc:spChg chg="mod">
          <ac:chgData name="Yash Ratanpal" userId="5db668b1-93e7-4c08-9786-4ed81315a653" providerId="ADAL" clId="{3F7A7787-00CA-42A0-97CD-637349527123}" dt="2021-07-11T14:24:18.114" v="2961"/>
          <ac:spMkLst>
            <pc:docMk/>
            <pc:sldMk cId="2852442038" sldId="1716"/>
            <ac:spMk id="25" creationId="{82F9AFB2-5274-4918-9F81-0C30D3615DC4}"/>
          </ac:spMkLst>
        </pc:spChg>
        <pc:spChg chg="del">
          <ac:chgData name="Yash Ratanpal" userId="5db668b1-93e7-4c08-9786-4ed81315a653" providerId="ADAL" clId="{3F7A7787-00CA-42A0-97CD-637349527123}" dt="2021-07-11T14:24:10.967" v="2958" actId="478"/>
          <ac:spMkLst>
            <pc:docMk/>
            <pc:sldMk cId="2852442038" sldId="1716"/>
            <ac:spMk id="26" creationId="{DD14CBED-85FF-4763-BC3D-3665FA99B975}"/>
          </ac:spMkLst>
        </pc:spChg>
        <pc:spChg chg="del">
          <ac:chgData name="Yash Ratanpal" userId="5db668b1-93e7-4c08-9786-4ed81315a653" providerId="ADAL" clId="{3F7A7787-00CA-42A0-97CD-637349527123}" dt="2021-07-11T14:24:10.967" v="2958" actId="478"/>
          <ac:spMkLst>
            <pc:docMk/>
            <pc:sldMk cId="2852442038" sldId="1716"/>
            <ac:spMk id="27" creationId="{A98D67C4-6BB9-4137-B1A3-A0E08B5ACAD1}"/>
          </ac:spMkLst>
        </pc:spChg>
        <pc:spChg chg="del">
          <ac:chgData name="Yash Ratanpal" userId="5db668b1-93e7-4c08-9786-4ed81315a653" providerId="ADAL" clId="{3F7A7787-00CA-42A0-97CD-637349527123}" dt="2021-07-11T14:24:10.967" v="2958" actId="478"/>
          <ac:spMkLst>
            <pc:docMk/>
            <pc:sldMk cId="2852442038" sldId="1716"/>
            <ac:spMk id="28" creationId="{B6618856-F41E-44D0-B4DE-66AC592C9350}"/>
          </ac:spMkLst>
        </pc:spChg>
        <pc:spChg chg="del">
          <ac:chgData name="Yash Ratanpal" userId="5db668b1-93e7-4c08-9786-4ed81315a653" providerId="ADAL" clId="{3F7A7787-00CA-42A0-97CD-637349527123}" dt="2021-07-11T14:24:10.967" v="2958" actId="478"/>
          <ac:spMkLst>
            <pc:docMk/>
            <pc:sldMk cId="2852442038" sldId="1716"/>
            <ac:spMk id="29" creationId="{EA551B8A-CDE3-4187-851F-AC775894ACF7}"/>
          </ac:spMkLst>
        </pc:spChg>
        <pc:spChg chg="del">
          <ac:chgData name="Yash Ratanpal" userId="5db668b1-93e7-4c08-9786-4ed81315a653" providerId="ADAL" clId="{3F7A7787-00CA-42A0-97CD-637349527123}" dt="2021-07-11T14:24:13.426" v="2959" actId="478"/>
          <ac:spMkLst>
            <pc:docMk/>
            <pc:sldMk cId="2852442038" sldId="1716"/>
            <ac:spMk id="30" creationId="{A191D14B-186B-44DA-A3B1-D2C4E1984826}"/>
          </ac:spMkLst>
        </pc:spChg>
        <pc:spChg chg="del">
          <ac:chgData name="Yash Ratanpal" userId="5db668b1-93e7-4c08-9786-4ed81315a653" providerId="ADAL" clId="{3F7A7787-00CA-42A0-97CD-637349527123}" dt="2021-07-11T14:24:10.967" v="2958" actId="478"/>
          <ac:spMkLst>
            <pc:docMk/>
            <pc:sldMk cId="2852442038" sldId="1716"/>
            <ac:spMk id="31" creationId="{F06FA59F-3F19-4B33-A808-946EFAADDA48}"/>
          </ac:spMkLst>
        </pc:spChg>
        <pc:spChg chg="del">
          <ac:chgData name="Yash Ratanpal" userId="5db668b1-93e7-4c08-9786-4ed81315a653" providerId="ADAL" clId="{3F7A7787-00CA-42A0-97CD-637349527123}" dt="2021-07-11T14:24:14.560" v="2960" actId="478"/>
          <ac:spMkLst>
            <pc:docMk/>
            <pc:sldMk cId="2852442038" sldId="1716"/>
            <ac:spMk id="32" creationId="{5D280A1A-D69B-471B-8FFA-83742B7E43AB}"/>
          </ac:spMkLst>
        </pc:spChg>
        <pc:spChg chg="del">
          <ac:chgData name="Yash Ratanpal" userId="5db668b1-93e7-4c08-9786-4ed81315a653" providerId="ADAL" clId="{3F7A7787-00CA-42A0-97CD-637349527123}" dt="2021-07-11T14:24:10.967" v="2958" actId="478"/>
          <ac:spMkLst>
            <pc:docMk/>
            <pc:sldMk cId="2852442038" sldId="1716"/>
            <ac:spMk id="33" creationId="{98AA9603-6A31-423D-9C6D-79FBABF71838}"/>
          </ac:spMkLst>
        </pc:spChg>
        <pc:spChg chg="del">
          <ac:chgData name="Yash Ratanpal" userId="5db668b1-93e7-4c08-9786-4ed81315a653" providerId="ADAL" clId="{3F7A7787-00CA-42A0-97CD-637349527123}" dt="2021-07-11T14:24:10.967" v="2958" actId="478"/>
          <ac:spMkLst>
            <pc:docMk/>
            <pc:sldMk cId="2852442038" sldId="1716"/>
            <ac:spMk id="34" creationId="{3702C8E0-3679-41D8-AD7B-E281AB0FB9D3}"/>
          </ac:spMkLst>
        </pc:spChg>
        <pc:spChg chg="del">
          <ac:chgData name="Yash Ratanpal" userId="5db668b1-93e7-4c08-9786-4ed81315a653" providerId="ADAL" clId="{3F7A7787-00CA-42A0-97CD-637349527123}" dt="2021-07-11T14:24:10.967" v="2958" actId="478"/>
          <ac:spMkLst>
            <pc:docMk/>
            <pc:sldMk cId="2852442038" sldId="1716"/>
            <ac:spMk id="35" creationId="{53AFA658-CC48-4F95-ADA2-76302EB0AD9D}"/>
          </ac:spMkLst>
        </pc:spChg>
        <pc:spChg chg="del">
          <ac:chgData name="Yash Ratanpal" userId="5db668b1-93e7-4c08-9786-4ed81315a653" providerId="ADAL" clId="{3F7A7787-00CA-42A0-97CD-637349527123}" dt="2021-07-11T14:24:10.967" v="2958" actId="478"/>
          <ac:spMkLst>
            <pc:docMk/>
            <pc:sldMk cId="2852442038" sldId="1716"/>
            <ac:spMk id="36" creationId="{8F5B180F-B819-4AA4-A716-DF78BB224CA1}"/>
          </ac:spMkLst>
        </pc:spChg>
        <pc:spChg chg="del">
          <ac:chgData name="Yash Ratanpal" userId="5db668b1-93e7-4c08-9786-4ed81315a653" providerId="ADAL" clId="{3F7A7787-00CA-42A0-97CD-637349527123}" dt="2021-07-11T14:24:10.967" v="2958" actId="478"/>
          <ac:spMkLst>
            <pc:docMk/>
            <pc:sldMk cId="2852442038" sldId="1716"/>
            <ac:spMk id="37" creationId="{D780DEE7-2C45-4BF0-B4F1-E13EAB1D6D0F}"/>
          </ac:spMkLst>
        </pc:spChg>
        <pc:spChg chg="del">
          <ac:chgData name="Yash Ratanpal" userId="5db668b1-93e7-4c08-9786-4ed81315a653" providerId="ADAL" clId="{3F7A7787-00CA-42A0-97CD-637349527123}" dt="2021-07-11T14:24:10.967" v="2958" actId="478"/>
          <ac:spMkLst>
            <pc:docMk/>
            <pc:sldMk cId="2852442038" sldId="1716"/>
            <ac:spMk id="38" creationId="{FEA97BE2-84A3-4CC3-95AC-DCD86871E944}"/>
          </ac:spMkLst>
        </pc:spChg>
        <pc:spChg chg="del">
          <ac:chgData name="Yash Ratanpal" userId="5db668b1-93e7-4c08-9786-4ed81315a653" providerId="ADAL" clId="{3F7A7787-00CA-42A0-97CD-637349527123}" dt="2021-07-11T14:24:10.967" v="2958" actId="478"/>
          <ac:spMkLst>
            <pc:docMk/>
            <pc:sldMk cId="2852442038" sldId="1716"/>
            <ac:spMk id="39" creationId="{385BAF6A-6041-4D09-8B43-4AF7A5758279}"/>
          </ac:spMkLst>
        </pc:spChg>
        <pc:spChg chg="del">
          <ac:chgData name="Yash Ratanpal" userId="5db668b1-93e7-4c08-9786-4ed81315a653" providerId="ADAL" clId="{3F7A7787-00CA-42A0-97CD-637349527123}" dt="2021-07-11T14:24:10.967" v="2958" actId="478"/>
          <ac:spMkLst>
            <pc:docMk/>
            <pc:sldMk cId="2852442038" sldId="1716"/>
            <ac:spMk id="40" creationId="{216FCCAD-1C59-4DB2-956E-26A2A2561611}"/>
          </ac:spMkLst>
        </pc:spChg>
        <pc:spChg chg="del">
          <ac:chgData name="Yash Ratanpal" userId="5db668b1-93e7-4c08-9786-4ed81315a653" providerId="ADAL" clId="{3F7A7787-00CA-42A0-97CD-637349527123}" dt="2021-07-11T14:24:10.967" v="2958" actId="478"/>
          <ac:spMkLst>
            <pc:docMk/>
            <pc:sldMk cId="2852442038" sldId="1716"/>
            <ac:spMk id="41" creationId="{726147A0-7B56-4179-9055-E7AB6516E3BE}"/>
          </ac:spMkLst>
        </pc:spChg>
        <pc:spChg chg="del">
          <ac:chgData name="Yash Ratanpal" userId="5db668b1-93e7-4c08-9786-4ed81315a653" providerId="ADAL" clId="{3F7A7787-00CA-42A0-97CD-637349527123}" dt="2021-07-11T14:24:10.967" v="2958" actId="478"/>
          <ac:spMkLst>
            <pc:docMk/>
            <pc:sldMk cId="2852442038" sldId="1716"/>
            <ac:spMk id="42" creationId="{4537A498-E82A-4C24-897F-83026723C333}"/>
          </ac:spMkLst>
        </pc:spChg>
        <pc:spChg chg="add mod">
          <ac:chgData name="Yash Ratanpal" userId="5db668b1-93e7-4c08-9786-4ed81315a653" providerId="ADAL" clId="{3F7A7787-00CA-42A0-97CD-637349527123}" dt="2021-07-11T14:24:20.419" v="2962" actId="1076"/>
          <ac:spMkLst>
            <pc:docMk/>
            <pc:sldMk cId="2852442038" sldId="1716"/>
            <ac:spMk id="43" creationId="{28F12DB3-5E17-4A2E-8CD7-E7FE6CFEEA1A}"/>
          </ac:spMkLst>
        </pc:spChg>
        <pc:spChg chg="add mod">
          <ac:chgData name="Yash Ratanpal" userId="5db668b1-93e7-4c08-9786-4ed81315a653" providerId="ADAL" clId="{3F7A7787-00CA-42A0-97CD-637349527123}" dt="2021-07-11T14:24:20.419" v="2962" actId="1076"/>
          <ac:spMkLst>
            <pc:docMk/>
            <pc:sldMk cId="2852442038" sldId="1716"/>
            <ac:spMk id="44" creationId="{1D5CABBC-B9D7-43FE-BAF2-967FBD3CA56F}"/>
          </ac:spMkLst>
        </pc:spChg>
        <pc:spChg chg="add mod">
          <ac:chgData name="Yash Ratanpal" userId="5db668b1-93e7-4c08-9786-4ed81315a653" providerId="ADAL" clId="{3F7A7787-00CA-42A0-97CD-637349527123}" dt="2021-07-11T14:24:20.419" v="2962" actId="1076"/>
          <ac:spMkLst>
            <pc:docMk/>
            <pc:sldMk cId="2852442038" sldId="1716"/>
            <ac:spMk id="45" creationId="{85F7B22A-DCDA-44ED-9213-DCC940BA1809}"/>
          </ac:spMkLst>
        </pc:spChg>
        <pc:spChg chg="add mod">
          <ac:chgData name="Yash Ratanpal" userId="5db668b1-93e7-4c08-9786-4ed81315a653" providerId="ADAL" clId="{3F7A7787-00CA-42A0-97CD-637349527123}" dt="2021-07-11T14:24:20.419" v="2962" actId="1076"/>
          <ac:spMkLst>
            <pc:docMk/>
            <pc:sldMk cId="2852442038" sldId="1716"/>
            <ac:spMk id="46" creationId="{115A3267-EED6-48B2-84D8-827EB8743749}"/>
          </ac:spMkLst>
        </pc:spChg>
        <pc:spChg chg="add mod">
          <ac:chgData name="Yash Ratanpal" userId="5db668b1-93e7-4c08-9786-4ed81315a653" providerId="ADAL" clId="{3F7A7787-00CA-42A0-97CD-637349527123}" dt="2021-07-11T14:24:20.419" v="2962" actId="1076"/>
          <ac:spMkLst>
            <pc:docMk/>
            <pc:sldMk cId="2852442038" sldId="1716"/>
            <ac:spMk id="47" creationId="{12EBFA2B-5618-46EC-9684-7C00BE6D844C}"/>
          </ac:spMkLst>
        </pc:spChg>
        <pc:spChg chg="add mod">
          <ac:chgData name="Yash Ratanpal" userId="5db668b1-93e7-4c08-9786-4ed81315a653" providerId="ADAL" clId="{3F7A7787-00CA-42A0-97CD-637349527123}" dt="2021-07-11T14:24:20.419" v="2962" actId="1076"/>
          <ac:spMkLst>
            <pc:docMk/>
            <pc:sldMk cId="2852442038" sldId="1716"/>
            <ac:spMk id="48" creationId="{CBB2BEF8-A294-4FAD-9C29-91BB30540BB9}"/>
          </ac:spMkLst>
        </pc:spChg>
        <pc:spChg chg="add mod">
          <ac:chgData name="Yash Ratanpal" userId="5db668b1-93e7-4c08-9786-4ed81315a653" providerId="ADAL" clId="{3F7A7787-00CA-42A0-97CD-637349527123}" dt="2021-07-11T14:24:20.419" v="2962" actId="1076"/>
          <ac:spMkLst>
            <pc:docMk/>
            <pc:sldMk cId="2852442038" sldId="1716"/>
            <ac:spMk id="49" creationId="{6380BC44-03A3-4639-A468-BFAB5216472C}"/>
          </ac:spMkLst>
        </pc:spChg>
        <pc:spChg chg="add mod">
          <ac:chgData name="Yash Ratanpal" userId="5db668b1-93e7-4c08-9786-4ed81315a653" providerId="ADAL" clId="{3F7A7787-00CA-42A0-97CD-637349527123}" dt="2021-07-11T14:24:20.419" v="2962" actId="1076"/>
          <ac:spMkLst>
            <pc:docMk/>
            <pc:sldMk cId="2852442038" sldId="1716"/>
            <ac:spMk id="50" creationId="{20ADA8D3-9484-493A-86C5-4A2979C87BF6}"/>
          </ac:spMkLst>
        </pc:spChg>
        <pc:spChg chg="add mod">
          <ac:chgData name="Yash Ratanpal" userId="5db668b1-93e7-4c08-9786-4ed81315a653" providerId="ADAL" clId="{3F7A7787-00CA-42A0-97CD-637349527123}" dt="2021-07-11T14:24:20.419" v="2962" actId="1076"/>
          <ac:spMkLst>
            <pc:docMk/>
            <pc:sldMk cId="2852442038" sldId="1716"/>
            <ac:spMk id="51" creationId="{DCBE9243-9541-48D7-A415-FBB389F888FC}"/>
          </ac:spMkLst>
        </pc:spChg>
        <pc:spChg chg="add mod">
          <ac:chgData name="Yash Ratanpal" userId="5db668b1-93e7-4c08-9786-4ed81315a653" providerId="ADAL" clId="{3F7A7787-00CA-42A0-97CD-637349527123}" dt="2021-07-11T14:24:20.419" v="2962" actId="1076"/>
          <ac:spMkLst>
            <pc:docMk/>
            <pc:sldMk cId="2852442038" sldId="1716"/>
            <ac:spMk id="52" creationId="{0C7D1C5B-767A-4452-980B-189DFCBCAA4A}"/>
          </ac:spMkLst>
        </pc:spChg>
        <pc:grpChg chg="add mod">
          <ac:chgData name="Yash Ratanpal" userId="5db668b1-93e7-4c08-9786-4ed81315a653" providerId="ADAL" clId="{3F7A7787-00CA-42A0-97CD-637349527123}" dt="2021-07-11T14:24:20.419" v="2962" actId="1076"/>
          <ac:grpSpMkLst>
            <pc:docMk/>
            <pc:sldMk cId="2852442038" sldId="1716"/>
            <ac:grpSpMk id="22" creationId="{BD3F259C-CF3C-4086-9446-7AD517DBBF00}"/>
          </ac:grpSpMkLst>
        </pc:grpChg>
      </pc:sldChg>
      <pc:sldChg chg="addSp delSp modSp add del mod">
        <pc:chgData name="Yash Ratanpal" userId="5db668b1-93e7-4c08-9786-4ed81315a653" providerId="ADAL" clId="{3F7A7787-00CA-42A0-97CD-637349527123}" dt="2021-07-18T17:44:16.656" v="9164" actId="47"/>
        <pc:sldMkLst>
          <pc:docMk/>
          <pc:sldMk cId="473354200" sldId="1717"/>
        </pc:sldMkLst>
        <pc:spChg chg="mod">
          <ac:chgData name="Yash Ratanpal" userId="5db668b1-93e7-4c08-9786-4ed81315a653" providerId="ADAL" clId="{3F7A7787-00CA-42A0-97CD-637349527123}" dt="2021-07-11T14:25:33.480" v="2999" actId="1076"/>
          <ac:spMkLst>
            <pc:docMk/>
            <pc:sldMk cId="473354200" sldId="1717"/>
            <ac:spMk id="3" creationId="{00000000-0000-0000-0000-000000000000}"/>
          </ac:spMkLst>
        </pc:spChg>
        <pc:spChg chg="mod">
          <ac:chgData name="Yash Ratanpal" userId="5db668b1-93e7-4c08-9786-4ed81315a653" providerId="ADAL" clId="{3F7A7787-00CA-42A0-97CD-637349527123}" dt="2021-07-11T14:25:12.607" v="2965"/>
          <ac:spMkLst>
            <pc:docMk/>
            <pc:sldMk cId="473354200" sldId="1717"/>
            <ac:spMk id="20" creationId="{865C0C48-4075-4336-A81A-D9AC29ECDA91}"/>
          </ac:spMkLst>
        </pc:spChg>
        <pc:spChg chg="del">
          <ac:chgData name="Yash Ratanpal" userId="5db668b1-93e7-4c08-9786-4ed81315a653" providerId="ADAL" clId="{3F7A7787-00CA-42A0-97CD-637349527123}" dt="2021-07-11T14:25:10.440" v="2964" actId="478"/>
          <ac:spMkLst>
            <pc:docMk/>
            <pc:sldMk cId="473354200" sldId="1717"/>
            <ac:spMk id="21" creationId="{4DD53312-AB6C-4E07-A913-E5C3C92ACC10}"/>
          </ac:spMkLst>
        </pc:spChg>
        <pc:spChg chg="mod">
          <ac:chgData name="Yash Ratanpal" userId="5db668b1-93e7-4c08-9786-4ed81315a653" providerId="ADAL" clId="{3F7A7787-00CA-42A0-97CD-637349527123}" dt="2021-07-11T14:25:12.607" v="2965"/>
          <ac:spMkLst>
            <pc:docMk/>
            <pc:sldMk cId="473354200" sldId="1717"/>
            <ac:spMk id="26" creationId="{0DF6B87C-8AC8-42FE-AFA8-0A0B6D6FE6CC}"/>
          </ac:spMkLst>
        </pc:spChg>
        <pc:spChg chg="mod">
          <ac:chgData name="Yash Ratanpal" userId="5db668b1-93e7-4c08-9786-4ed81315a653" providerId="ADAL" clId="{3F7A7787-00CA-42A0-97CD-637349527123}" dt="2021-07-11T14:25:12.607" v="2965"/>
          <ac:spMkLst>
            <pc:docMk/>
            <pc:sldMk cId="473354200" sldId="1717"/>
            <ac:spMk id="27" creationId="{6ED1533C-4521-4EEE-A65E-E0DB0B7F6FC7}"/>
          </ac:spMkLst>
        </pc:spChg>
        <pc:spChg chg="mod">
          <ac:chgData name="Yash Ratanpal" userId="5db668b1-93e7-4c08-9786-4ed81315a653" providerId="ADAL" clId="{3F7A7787-00CA-42A0-97CD-637349527123}" dt="2021-07-11T14:25:12.607" v="2965"/>
          <ac:spMkLst>
            <pc:docMk/>
            <pc:sldMk cId="473354200" sldId="1717"/>
            <ac:spMk id="28" creationId="{B43E4497-A34D-4B7E-A83D-CE143C0E6257}"/>
          </ac:spMkLst>
        </pc:spChg>
        <pc:spChg chg="add del mod">
          <ac:chgData name="Yash Ratanpal" userId="5db668b1-93e7-4c08-9786-4ed81315a653" providerId="ADAL" clId="{3F7A7787-00CA-42A0-97CD-637349527123}" dt="2021-07-11T14:25:35.363" v="3000" actId="478"/>
          <ac:spMkLst>
            <pc:docMk/>
            <pc:sldMk cId="473354200" sldId="1717"/>
            <ac:spMk id="29" creationId="{3BB125DB-D1A7-4BBE-AC67-EFAC8CEC466C}"/>
          </ac:spMkLst>
        </pc:spChg>
        <pc:spChg chg="add mod">
          <ac:chgData name="Yash Ratanpal" userId="5db668b1-93e7-4c08-9786-4ed81315a653" providerId="ADAL" clId="{3F7A7787-00CA-42A0-97CD-637349527123}" dt="2021-07-11T14:25:44.394" v="3002" actId="1076"/>
          <ac:spMkLst>
            <pc:docMk/>
            <pc:sldMk cId="473354200" sldId="1717"/>
            <ac:spMk id="32" creationId="{BD8FC901-D98B-4C7E-B67A-868CAF942939}"/>
          </ac:spMkLst>
        </pc:spChg>
        <pc:spChg chg="add mod">
          <ac:chgData name="Yash Ratanpal" userId="5db668b1-93e7-4c08-9786-4ed81315a653" providerId="ADAL" clId="{3F7A7787-00CA-42A0-97CD-637349527123}" dt="2021-07-11T14:25:44.394" v="3002" actId="1076"/>
          <ac:spMkLst>
            <pc:docMk/>
            <pc:sldMk cId="473354200" sldId="1717"/>
            <ac:spMk id="33" creationId="{B8DEA0EB-A6F2-45E6-B691-90D7E8B6E4E6}"/>
          </ac:spMkLst>
        </pc:spChg>
        <pc:spChg chg="mod">
          <ac:chgData name="Yash Ratanpal" userId="5db668b1-93e7-4c08-9786-4ed81315a653" providerId="ADAL" clId="{3F7A7787-00CA-42A0-97CD-637349527123}" dt="2021-07-11T14:25:42.627" v="3001"/>
          <ac:spMkLst>
            <pc:docMk/>
            <pc:sldMk cId="473354200" sldId="1717"/>
            <ac:spMk id="36" creationId="{379889C1-47C7-4F9D-ACEE-BECC9553AEE3}"/>
          </ac:spMkLst>
        </pc:spChg>
        <pc:spChg chg="mod">
          <ac:chgData name="Yash Ratanpal" userId="5db668b1-93e7-4c08-9786-4ed81315a653" providerId="ADAL" clId="{3F7A7787-00CA-42A0-97CD-637349527123}" dt="2021-07-11T14:25:42.627" v="3001"/>
          <ac:spMkLst>
            <pc:docMk/>
            <pc:sldMk cId="473354200" sldId="1717"/>
            <ac:spMk id="37" creationId="{0EFDDA29-B043-4CCE-B4A8-F0F7F2B170E4}"/>
          </ac:spMkLst>
        </pc:spChg>
        <pc:spChg chg="mod">
          <ac:chgData name="Yash Ratanpal" userId="5db668b1-93e7-4c08-9786-4ed81315a653" providerId="ADAL" clId="{3F7A7787-00CA-42A0-97CD-637349527123}" dt="2021-07-11T14:25:42.627" v="3001"/>
          <ac:spMkLst>
            <pc:docMk/>
            <pc:sldMk cId="473354200" sldId="1717"/>
            <ac:spMk id="38" creationId="{BC801F0D-B705-41DB-A886-2E4CF373C6F5}"/>
          </ac:spMkLst>
        </pc:spChg>
        <pc:spChg chg="mod">
          <ac:chgData name="Yash Ratanpal" userId="5db668b1-93e7-4c08-9786-4ed81315a653" providerId="ADAL" clId="{3F7A7787-00CA-42A0-97CD-637349527123}" dt="2021-07-11T14:25:42.627" v="3001"/>
          <ac:spMkLst>
            <pc:docMk/>
            <pc:sldMk cId="473354200" sldId="1717"/>
            <ac:spMk id="39" creationId="{4980742A-6288-40BE-A4E6-57ADA44B8FD5}"/>
          </ac:spMkLst>
        </pc:spChg>
        <pc:spChg chg="mod">
          <ac:chgData name="Yash Ratanpal" userId="5db668b1-93e7-4c08-9786-4ed81315a653" providerId="ADAL" clId="{3F7A7787-00CA-42A0-97CD-637349527123}" dt="2021-07-11T14:25:42.627" v="3001"/>
          <ac:spMkLst>
            <pc:docMk/>
            <pc:sldMk cId="473354200" sldId="1717"/>
            <ac:spMk id="40" creationId="{0313D3E3-933E-4774-85E3-1191F56FB3D0}"/>
          </ac:spMkLst>
        </pc:spChg>
        <pc:spChg chg="mod">
          <ac:chgData name="Yash Ratanpal" userId="5db668b1-93e7-4c08-9786-4ed81315a653" providerId="ADAL" clId="{3F7A7787-00CA-42A0-97CD-637349527123}" dt="2021-07-11T14:25:42.627" v="3001"/>
          <ac:spMkLst>
            <pc:docMk/>
            <pc:sldMk cId="473354200" sldId="1717"/>
            <ac:spMk id="41" creationId="{0CBE3934-D094-4635-BD30-A19729CAE59A}"/>
          </ac:spMkLst>
        </pc:spChg>
        <pc:spChg chg="mod">
          <ac:chgData name="Yash Ratanpal" userId="5db668b1-93e7-4c08-9786-4ed81315a653" providerId="ADAL" clId="{3F7A7787-00CA-42A0-97CD-637349527123}" dt="2021-07-11T14:25:42.627" v="3001"/>
          <ac:spMkLst>
            <pc:docMk/>
            <pc:sldMk cId="473354200" sldId="1717"/>
            <ac:spMk id="42" creationId="{68BD47FD-34C0-487B-A31A-4146537CFD6E}"/>
          </ac:spMkLst>
        </pc:spChg>
        <pc:spChg chg="del">
          <ac:chgData name="Yash Ratanpal" userId="5db668b1-93e7-4c08-9786-4ed81315a653" providerId="ADAL" clId="{3F7A7787-00CA-42A0-97CD-637349527123}" dt="2021-07-11T14:25:10.440" v="2964" actId="478"/>
          <ac:spMkLst>
            <pc:docMk/>
            <pc:sldMk cId="473354200" sldId="1717"/>
            <ac:spMk id="43" creationId="{28F12DB3-5E17-4A2E-8CD7-E7FE6CFEEA1A}"/>
          </ac:spMkLst>
        </pc:spChg>
        <pc:spChg chg="del">
          <ac:chgData name="Yash Ratanpal" userId="5db668b1-93e7-4c08-9786-4ed81315a653" providerId="ADAL" clId="{3F7A7787-00CA-42A0-97CD-637349527123}" dt="2021-07-11T14:25:10.440" v="2964" actId="478"/>
          <ac:spMkLst>
            <pc:docMk/>
            <pc:sldMk cId="473354200" sldId="1717"/>
            <ac:spMk id="44" creationId="{1D5CABBC-B9D7-43FE-BAF2-967FBD3CA56F}"/>
          </ac:spMkLst>
        </pc:spChg>
        <pc:spChg chg="del">
          <ac:chgData name="Yash Ratanpal" userId="5db668b1-93e7-4c08-9786-4ed81315a653" providerId="ADAL" clId="{3F7A7787-00CA-42A0-97CD-637349527123}" dt="2021-07-11T14:25:10.440" v="2964" actId="478"/>
          <ac:spMkLst>
            <pc:docMk/>
            <pc:sldMk cId="473354200" sldId="1717"/>
            <ac:spMk id="45" creationId="{85F7B22A-DCDA-44ED-9213-DCC940BA1809}"/>
          </ac:spMkLst>
        </pc:spChg>
        <pc:spChg chg="del">
          <ac:chgData name="Yash Ratanpal" userId="5db668b1-93e7-4c08-9786-4ed81315a653" providerId="ADAL" clId="{3F7A7787-00CA-42A0-97CD-637349527123}" dt="2021-07-11T14:25:10.440" v="2964" actId="478"/>
          <ac:spMkLst>
            <pc:docMk/>
            <pc:sldMk cId="473354200" sldId="1717"/>
            <ac:spMk id="46" creationId="{115A3267-EED6-48B2-84D8-827EB8743749}"/>
          </ac:spMkLst>
        </pc:spChg>
        <pc:spChg chg="del">
          <ac:chgData name="Yash Ratanpal" userId="5db668b1-93e7-4c08-9786-4ed81315a653" providerId="ADAL" clId="{3F7A7787-00CA-42A0-97CD-637349527123}" dt="2021-07-11T14:25:10.440" v="2964" actId="478"/>
          <ac:spMkLst>
            <pc:docMk/>
            <pc:sldMk cId="473354200" sldId="1717"/>
            <ac:spMk id="47" creationId="{12EBFA2B-5618-46EC-9684-7C00BE6D844C}"/>
          </ac:spMkLst>
        </pc:spChg>
        <pc:spChg chg="del">
          <ac:chgData name="Yash Ratanpal" userId="5db668b1-93e7-4c08-9786-4ed81315a653" providerId="ADAL" clId="{3F7A7787-00CA-42A0-97CD-637349527123}" dt="2021-07-11T14:25:10.440" v="2964" actId="478"/>
          <ac:spMkLst>
            <pc:docMk/>
            <pc:sldMk cId="473354200" sldId="1717"/>
            <ac:spMk id="48" creationId="{CBB2BEF8-A294-4FAD-9C29-91BB30540BB9}"/>
          </ac:spMkLst>
        </pc:spChg>
        <pc:spChg chg="del">
          <ac:chgData name="Yash Ratanpal" userId="5db668b1-93e7-4c08-9786-4ed81315a653" providerId="ADAL" clId="{3F7A7787-00CA-42A0-97CD-637349527123}" dt="2021-07-11T14:25:10.440" v="2964" actId="478"/>
          <ac:spMkLst>
            <pc:docMk/>
            <pc:sldMk cId="473354200" sldId="1717"/>
            <ac:spMk id="49" creationId="{6380BC44-03A3-4639-A468-BFAB5216472C}"/>
          </ac:spMkLst>
        </pc:spChg>
        <pc:spChg chg="del">
          <ac:chgData name="Yash Ratanpal" userId="5db668b1-93e7-4c08-9786-4ed81315a653" providerId="ADAL" clId="{3F7A7787-00CA-42A0-97CD-637349527123}" dt="2021-07-11T14:25:10.440" v="2964" actId="478"/>
          <ac:spMkLst>
            <pc:docMk/>
            <pc:sldMk cId="473354200" sldId="1717"/>
            <ac:spMk id="50" creationId="{20ADA8D3-9484-493A-86C5-4A2979C87BF6}"/>
          </ac:spMkLst>
        </pc:spChg>
        <pc:spChg chg="del">
          <ac:chgData name="Yash Ratanpal" userId="5db668b1-93e7-4c08-9786-4ed81315a653" providerId="ADAL" clId="{3F7A7787-00CA-42A0-97CD-637349527123}" dt="2021-07-11T14:25:10.440" v="2964" actId="478"/>
          <ac:spMkLst>
            <pc:docMk/>
            <pc:sldMk cId="473354200" sldId="1717"/>
            <ac:spMk id="51" creationId="{DCBE9243-9541-48D7-A415-FBB389F888FC}"/>
          </ac:spMkLst>
        </pc:spChg>
        <pc:spChg chg="del">
          <ac:chgData name="Yash Ratanpal" userId="5db668b1-93e7-4c08-9786-4ed81315a653" providerId="ADAL" clId="{3F7A7787-00CA-42A0-97CD-637349527123}" dt="2021-07-11T14:25:10.440" v="2964" actId="478"/>
          <ac:spMkLst>
            <pc:docMk/>
            <pc:sldMk cId="473354200" sldId="1717"/>
            <ac:spMk id="52" creationId="{0C7D1C5B-767A-4452-980B-189DFCBCAA4A}"/>
          </ac:spMkLst>
        </pc:spChg>
        <pc:spChg chg="mod">
          <ac:chgData name="Yash Ratanpal" userId="5db668b1-93e7-4c08-9786-4ed81315a653" providerId="ADAL" clId="{3F7A7787-00CA-42A0-97CD-637349527123}" dt="2021-07-11T14:25:42.627" v="3001"/>
          <ac:spMkLst>
            <pc:docMk/>
            <pc:sldMk cId="473354200" sldId="1717"/>
            <ac:spMk id="53" creationId="{6CB1E59A-BFF7-4CC5-992E-CEE0E39896DC}"/>
          </ac:spMkLst>
        </pc:spChg>
        <pc:spChg chg="mod">
          <ac:chgData name="Yash Ratanpal" userId="5db668b1-93e7-4c08-9786-4ed81315a653" providerId="ADAL" clId="{3F7A7787-00CA-42A0-97CD-637349527123}" dt="2021-07-11T14:25:42.627" v="3001"/>
          <ac:spMkLst>
            <pc:docMk/>
            <pc:sldMk cId="473354200" sldId="1717"/>
            <ac:spMk id="54" creationId="{65C8A184-B822-4151-9CCB-C54C122B5994}"/>
          </ac:spMkLst>
        </pc:spChg>
        <pc:spChg chg="mod">
          <ac:chgData name="Yash Ratanpal" userId="5db668b1-93e7-4c08-9786-4ed81315a653" providerId="ADAL" clId="{3F7A7787-00CA-42A0-97CD-637349527123}" dt="2021-07-11T14:25:42.627" v="3001"/>
          <ac:spMkLst>
            <pc:docMk/>
            <pc:sldMk cId="473354200" sldId="1717"/>
            <ac:spMk id="55" creationId="{036D99E7-10B2-4D83-9A75-68235774C9BD}"/>
          </ac:spMkLst>
        </pc:spChg>
        <pc:spChg chg="mod">
          <ac:chgData name="Yash Ratanpal" userId="5db668b1-93e7-4c08-9786-4ed81315a653" providerId="ADAL" clId="{3F7A7787-00CA-42A0-97CD-637349527123}" dt="2021-07-11T14:25:42.627" v="3001"/>
          <ac:spMkLst>
            <pc:docMk/>
            <pc:sldMk cId="473354200" sldId="1717"/>
            <ac:spMk id="56" creationId="{7E7D544B-6BD9-4025-A5FF-D4B8A2482175}"/>
          </ac:spMkLst>
        </pc:spChg>
        <pc:spChg chg="mod">
          <ac:chgData name="Yash Ratanpal" userId="5db668b1-93e7-4c08-9786-4ed81315a653" providerId="ADAL" clId="{3F7A7787-00CA-42A0-97CD-637349527123}" dt="2021-07-11T14:25:42.627" v="3001"/>
          <ac:spMkLst>
            <pc:docMk/>
            <pc:sldMk cId="473354200" sldId="1717"/>
            <ac:spMk id="57" creationId="{F71F8B25-19D2-4FD0-9D4B-22D0E3B78321}"/>
          </ac:spMkLst>
        </pc:spChg>
        <pc:spChg chg="mod">
          <ac:chgData name="Yash Ratanpal" userId="5db668b1-93e7-4c08-9786-4ed81315a653" providerId="ADAL" clId="{3F7A7787-00CA-42A0-97CD-637349527123}" dt="2021-07-11T14:25:42.627" v="3001"/>
          <ac:spMkLst>
            <pc:docMk/>
            <pc:sldMk cId="473354200" sldId="1717"/>
            <ac:spMk id="58" creationId="{82F5DF74-2244-4209-9C2F-724EAEB100FB}"/>
          </ac:spMkLst>
        </pc:spChg>
        <pc:spChg chg="mod">
          <ac:chgData name="Yash Ratanpal" userId="5db668b1-93e7-4c08-9786-4ed81315a653" providerId="ADAL" clId="{3F7A7787-00CA-42A0-97CD-637349527123}" dt="2021-07-11T14:25:42.627" v="3001"/>
          <ac:spMkLst>
            <pc:docMk/>
            <pc:sldMk cId="473354200" sldId="1717"/>
            <ac:spMk id="59" creationId="{AB4B9079-9936-4082-8869-5246D7A6E24B}"/>
          </ac:spMkLst>
        </pc:spChg>
        <pc:spChg chg="mod">
          <ac:chgData name="Yash Ratanpal" userId="5db668b1-93e7-4c08-9786-4ed81315a653" providerId="ADAL" clId="{3F7A7787-00CA-42A0-97CD-637349527123}" dt="2021-07-11T14:25:42.627" v="3001"/>
          <ac:spMkLst>
            <pc:docMk/>
            <pc:sldMk cId="473354200" sldId="1717"/>
            <ac:spMk id="60" creationId="{C88BB6C0-FBD0-4371-AD80-B317BA054862}"/>
          </ac:spMkLst>
        </pc:spChg>
        <pc:spChg chg="mod">
          <ac:chgData name="Yash Ratanpal" userId="5db668b1-93e7-4c08-9786-4ed81315a653" providerId="ADAL" clId="{3F7A7787-00CA-42A0-97CD-637349527123}" dt="2021-07-11T14:25:42.627" v="3001"/>
          <ac:spMkLst>
            <pc:docMk/>
            <pc:sldMk cId="473354200" sldId="1717"/>
            <ac:spMk id="61" creationId="{95882C4B-4C53-4BDF-B0E6-E8B833001618}"/>
          </ac:spMkLst>
        </pc:spChg>
        <pc:spChg chg="mod">
          <ac:chgData name="Yash Ratanpal" userId="5db668b1-93e7-4c08-9786-4ed81315a653" providerId="ADAL" clId="{3F7A7787-00CA-42A0-97CD-637349527123}" dt="2021-07-11T14:25:42.627" v="3001"/>
          <ac:spMkLst>
            <pc:docMk/>
            <pc:sldMk cId="473354200" sldId="1717"/>
            <ac:spMk id="62" creationId="{ED2C6DB9-D7D9-456F-88AE-581204605F1D}"/>
          </ac:spMkLst>
        </pc:spChg>
        <pc:spChg chg="mod">
          <ac:chgData name="Yash Ratanpal" userId="5db668b1-93e7-4c08-9786-4ed81315a653" providerId="ADAL" clId="{3F7A7787-00CA-42A0-97CD-637349527123}" dt="2021-07-11T14:25:42.627" v="3001"/>
          <ac:spMkLst>
            <pc:docMk/>
            <pc:sldMk cId="473354200" sldId="1717"/>
            <ac:spMk id="63" creationId="{4CC3470E-5FF4-4E72-A5B5-36AEBA6BB307}"/>
          </ac:spMkLst>
        </pc:spChg>
        <pc:spChg chg="mod">
          <ac:chgData name="Yash Ratanpal" userId="5db668b1-93e7-4c08-9786-4ed81315a653" providerId="ADAL" clId="{3F7A7787-00CA-42A0-97CD-637349527123}" dt="2021-07-11T14:25:42.627" v="3001"/>
          <ac:spMkLst>
            <pc:docMk/>
            <pc:sldMk cId="473354200" sldId="1717"/>
            <ac:spMk id="64" creationId="{71FB490D-63F0-401B-9DF0-3029A38E1BF5}"/>
          </ac:spMkLst>
        </pc:spChg>
        <pc:grpChg chg="add del mod">
          <ac:chgData name="Yash Ratanpal" userId="5db668b1-93e7-4c08-9786-4ed81315a653" providerId="ADAL" clId="{3F7A7787-00CA-42A0-97CD-637349527123}" dt="2021-07-11T14:25:35.363" v="3000" actId="478"/>
          <ac:grpSpMkLst>
            <pc:docMk/>
            <pc:sldMk cId="473354200" sldId="1717"/>
            <ac:grpSpMk id="19" creationId="{FB0E80A9-6E50-4A96-9167-28F34C134D27}"/>
          </ac:grpSpMkLst>
        </pc:grpChg>
        <pc:grpChg chg="del">
          <ac:chgData name="Yash Ratanpal" userId="5db668b1-93e7-4c08-9786-4ed81315a653" providerId="ADAL" clId="{3F7A7787-00CA-42A0-97CD-637349527123}" dt="2021-07-11T14:25:10.440" v="2964" actId="478"/>
          <ac:grpSpMkLst>
            <pc:docMk/>
            <pc:sldMk cId="473354200" sldId="1717"/>
            <ac:grpSpMk id="22" creationId="{BD3F259C-CF3C-4086-9446-7AD517DBBF00}"/>
          </ac:grpSpMkLst>
        </pc:grpChg>
        <pc:grpChg chg="add mod">
          <ac:chgData name="Yash Ratanpal" userId="5db668b1-93e7-4c08-9786-4ed81315a653" providerId="ADAL" clId="{3F7A7787-00CA-42A0-97CD-637349527123}" dt="2021-07-11T14:25:44.394" v="3002" actId="1076"/>
          <ac:grpSpMkLst>
            <pc:docMk/>
            <pc:sldMk cId="473354200" sldId="1717"/>
            <ac:grpSpMk id="34" creationId="{DE3F88EC-773C-438F-B3CB-3437F059095B}"/>
          </ac:grpSpMkLst>
        </pc:grpChg>
        <pc:grpChg chg="mod">
          <ac:chgData name="Yash Ratanpal" userId="5db668b1-93e7-4c08-9786-4ed81315a653" providerId="ADAL" clId="{3F7A7787-00CA-42A0-97CD-637349527123}" dt="2021-07-11T14:25:42.627" v="3001"/>
          <ac:grpSpMkLst>
            <pc:docMk/>
            <pc:sldMk cId="473354200" sldId="1717"/>
            <ac:grpSpMk id="35" creationId="{163CD5F2-AA53-40AB-87A9-4512E67C3ED2}"/>
          </ac:grpSpMkLst>
        </pc:grpChg>
        <pc:picChg chg="add del mod">
          <ac:chgData name="Yash Ratanpal" userId="5db668b1-93e7-4c08-9786-4ed81315a653" providerId="ADAL" clId="{3F7A7787-00CA-42A0-97CD-637349527123}" dt="2021-07-11T14:25:35.363" v="3000" actId="478"/>
          <ac:picMkLst>
            <pc:docMk/>
            <pc:sldMk cId="473354200" sldId="1717"/>
            <ac:picMk id="30" creationId="{2222DD06-CEDA-4BE9-A00E-019CE6484D33}"/>
          </ac:picMkLst>
        </pc:picChg>
        <pc:picChg chg="add del mod">
          <ac:chgData name="Yash Ratanpal" userId="5db668b1-93e7-4c08-9786-4ed81315a653" providerId="ADAL" clId="{3F7A7787-00CA-42A0-97CD-637349527123}" dt="2021-07-11T14:25:35.363" v="3000" actId="478"/>
          <ac:picMkLst>
            <pc:docMk/>
            <pc:sldMk cId="473354200" sldId="1717"/>
            <ac:picMk id="31" creationId="{50060262-F9CE-4483-B285-BFF1BF1842FA}"/>
          </ac:picMkLst>
        </pc:picChg>
      </pc:sldChg>
      <pc:sldChg chg="addSp delSp modSp add mod">
        <pc:chgData name="Yash Ratanpal" userId="5db668b1-93e7-4c08-9786-4ed81315a653" providerId="ADAL" clId="{3F7A7787-00CA-42A0-97CD-637349527123}" dt="2021-07-18T17:44:36.819" v="9168" actId="20577"/>
        <pc:sldMkLst>
          <pc:docMk/>
          <pc:sldMk cId="1933103214" sldId="1718"/>
        </pc:sldMkLst>
        <pc:spChg chg="mod">
          <ac:chgData name="Yash Ratanpal" userId="5db668b1-93e7-4c08-9786-4ed81315a653" providerId="ADAL" clId="{3F7A7787-00CA-42A0-97CD-637349527123}" dt="2021-07-18T17:44:36.819" v="9168" actId="20577"/>
          <ac:spMkLst>
            <pc:docMk/>
            <pc:sldMk cId="1933103214" sldId="1718"/>
            <ac:spMk id="3" creationId="{00000000-0000-0000-0000-000000000000}"/>
          </ac:spMkLst>
        </pc:spChg>
        <pc:spChg chg="add mod">
          <ac:chgData name="Yash Ratanpal" userId="5db668b1-93e7-4c08-9786-4ed81315a653" providerId="ADAL" clId="{3F7A7787-00CA-42A0-97CD-637349527123}" dt="2021-07-11T14:27:30.473" v="3006" actId="1076"/>
          <ac:spMkLst>
            <pc:docMk/>
            <pc:sldMk cId="1933103214" sldId="1718"/>
            <ac:spMk id="12" creationId="{14089CA9-BEE7-4F25-97FD-EE66A4F6E6CF}"/>
          </ac:spMkLst>
        </pc:spChg>
        <pc:spChg chg="mod">
          <ac:chgData name="Yash Ratanpal" userId="5db668b1-93e7-4c08-9786-4ed81315a653" providerId="ADAL" clId="{3F7A7787-00CA-42A0-97CD-637349527123}" dt="2021-07-11T14:27:27.534" v="3005"/>
          <ac:spMkLst>
            <pc:docMk/>
            <pc:sldMk cId="1933103214" sldId="1718"/>
            <ac:spMk id="15" creationId="{650CC48F-F2EB-4824-9871-A93CA3C01D61}"/>
          </ac:spMkLst>
        </pc:spChg>
        <pc:spChg chg="mod">
          <ac:chgData name="Yash Ratanpal" userId="5db668b1-93e7-4c08-9786-4ed81315a653" providerId="ADAL" clId="{3F7A7787-00CA-42A0-97CD-637349527123}" dt="2021-07-11T14:27:27.534" v="3005"/>
          <ac:spMkLst>
            <pc:docMk/>
            <pc:sldMk cId="1933103214" sldId="1718"/>
            <ac:spMk id="16" creationId="{706AE89B-1B81-4471-8FFE-2974CE028A5C}"/>
          </ac:spMkLst>
        </pc:spChg>
        <pc:spChg chg="mod">
          <ac:chgData name="Yash Ratanpal" userId="5db668b1-93e7-4c08-9786-4ed81315a653" providerId="ADAL" clId="{3F7A7787-00CA-42A0-97CD-637349527123}" dt="2021-07-11T14:27:27.534" v="3005"/>
          <ac:spMkLst>
            <pc:docMk/>
            <pc:sldMk cId="1933103214" sldId="1718"/>
            <ac:spMk id="17" creationId="{70D9B273-F26F-4336-9CED-6C9AB3FDA5F9}"/>
          </ac:spMkLst>
        </pc:spChg>
        <pc:spChg chg="mod">
          <ac:chgData name="Yash Ratanpal" userId="5db668b1-93e7-4c08-9786-4ed81315a653" providerId="ADAL" clId="{3F7A7787-00CA-42A0-97CD-637349527123}" dt="2021-07-11T14:27:27.534" v="3005"/>
          <ac:spMkLst>
            <pc:docMk/>
            <pc:sldMk cId="1933103214" sldId="1718"/>
            <ac:spMk id="18" creationId="{216E5AE8-BA46-4D57-8F69-2DCF8B2B2B75}"/>
          </ac:spMkLst>
        </pc:spChg>
        <pc:spChg chg="mod">
          <ac:chgData name="Yash Ratanpal" userId="5db668b1-93e7-4c08-9786-4ed81315a653" providerId="ADAL" clId="{3F7A7787-00CA-42A0-97CD-637349527123}" dt="2021-07-11T14:27:27.534" v="3005"/>
          <ac:spMkLst>
            <pc:docMk/>
            <pc:sldMk cId="1933103214" sldId="1718"/>
            <ac:spMk id="21" creationId="{E6C5AC35-9306-4C69-9AD3-E9D88D57F189}"/>
          </ac:spMkLst>
        </pc:spChg>
        <pc:spChg chg="mod">
          <ac:chgData name="Yash Ratanpal" userId="5db668b1-93e7-4c08-9786-4ed81315a653" providerId="ADAL" clId="{3F7A7787-00CA-42A0-97CD-637349527123}" dt="2021-07-11T14:27:27.534" v="3005"/>
          <ac:spMkLst>
            <pc:docMk/>
            <pc:sldMk cId="1933103214" sldId="1718"/>
            <ac:spMk id="22" creationId="{57036218-09D3-4459-AE93-C94C73DA58CC}"/>
          </ac:spMkLst>
        </pc:spChg>
        <pc:spChg chg="mod">
          <ac:chgData name="Yash Ratanpal" userId="5db668b1-93e7-4c08-9786-4ed81315a653" providerId="ADAL" clId="{3F7A7787-00CA-42A0-97CD-637349527123}" dt="2021-07-11T14:27:27.534" v="3005"/>
          <ac:spMkLst>
            <pc:docMk/>
            <pc:sldMk cId="1933103214" sldId="1718"/>
            <ac:spMk id="23" creationId="{D54FC816-514D-4D0E-90F5-9FE06CCD1A2E}"/>
          </ac:spMkLst>
        </pc:spChg>
        <pc:spChg chg="mod">
          <ac:chgData name="Yash Ratanpal" userId="5db668b1-93e7-4c08-9786-4ed81315a653" providerId="ADAL" clId="{3F7A7787-00CA-42A0-97CD-637349527123}" dt="2021-07-11T14:27:27.534" v="3005"/>
          <ac:spMkLst>
            <pc:docMk/>
            <pc:sldMk cId="1933103214" sldId="1718"/>
            <ac:spMk id="24" creationId="{B4D23A4F-F962-4413-89A1-B94C9F5F6200}"/>
          </ac:spMkLst>
        </pc:spChg>
        <pc:spChg chg="mod">
          <ac:chgData name="Yash Ratanpal" userId="5db668b1-93e7-4c08-9786-4ed81315a653" providerId="ADAL" clId="{3F7A7787-00CA-42A0-97CD-637349527123}" dt="2021-07-11T14:27:27.534" v="3005"/>
          <ac:spMkLst>
            <pc:docMk/>
            <pc:sldMk cId="1933103214" sldId="1718"/>
            <ac:spMk id="25" creationId="{05DE81B4-1F4F-4C4B-9B13-B17F530DA1A6}"/>
          </ac:spMkLst>
        </pc:spChg>
        <pc:spChg chg="del">
          <ac:chgData name="Yash Ratanpal" userId="5db668b1-93e7-4c08-9786-4ed81315a653" providerId="ADAL" clId="{3F7A7787-00CA-42A0-97CD-637349527123}" dt="2021-07-11T14:27:26.462" v="3004" actId="478"/>
          <ac:spMkLst>
            <pc:docMk/>
            <pc:sldMk cId="1933103214" sldId="1718"/>
            <ac:spMk id="29" creationId="{3BB125DB-D1A7-4BBE-AC67-EFAC8CEC466C}"/>
          </ac:spMkLst>
        </pc:spChg>
        <pc:spChg chg="mod">
          <ac:chgData name="Yash Ratanpal" userId="5db668b1-93e7-4c08-9786-4ed81315a653" providerId="ADAL" clId="{3F7A7787-00CA-42A0-97CD-637349527123}" dt="2021-07-11T14:27:27.534" v="3005"/>
          <ac:spMkLst>
            <pc:docMk/>
            <pc:sldMk cId="1933103214" sldId="1718"/>
            <ac:spMk id="32" creationId="{C5A8675D-79F7-4F40-ABE6-2AF182EECBB6}"/>
          </ac:spMkLst>
        </pc:spChg>
        <pc:spChg chg="mod">
          <ac:chgData name="Yash Ratanpal" userId="5db668b1-93e7-4c08-9786-4ed81315a653" providerId="ADAL" clId="{3F7A7787-00CA-42A0-97CD-637349527123}" dt="2021-07-11T14:27:27.534" v="3005"/>
          <ac:spMkLst>
            <pc:docMk/>
            <pc:sldMk cId="1933103214" sldId="1718"/>
            <ac:spMk id="33" creationId="{106D25D8-2A02-41C7-A1B5-D05A49486ECD}"/>
          </ac:spMkLst>
        </pc:spChg>
        <pc:spChg chg="mod">
          <ac:chgData name="Yash Ratanpal" userId="5db668b1-93e7-4c08-9786-4ed81315a653" providerId="ADAL" clId="{3F7A7787-00CA-42A0-97CD-637349527123}" dt="2021-07-11T14:27:27.534" v="3005"/>
          <ac:spMkLst>
            <pc:docMk/>
            <pc:sldMk cId="1933103214" sldId="1718"/>
            <ac:spMk id="34" creationId="{E374C64E-6E6D-4DED-8157-CFC491DE6E2C}"/>
          </ac:spMkLst>
        </pc:spChg>
        <pc:spChg chg="mod">
          <ac:chgData name="Yash Ratanpal" userId="5db668b1-93e7-4c08-9786-4ed81315a653" providerId="ADAL" clId="{3F7A7787-00CA-42A0-97CD-637349527123}" dt="2021-07-11T14:27:27.534" v="3005"/>
          <ac:spMkLst>
            <pc:docMk/>
            <pc:sldMk cId="1933103214" sldId="1718"/>
            <ac:spMk id="35" creationId="{BDE23C67-F2C2-4949-8600-7920BFA91457}"/>
          </ac:spMkLst>
        </pc:spChg>
        <pc:spChg chg="mod">
          <ac:chgData name="Yash Ratanpal" userId="5db668b1-93e7-4c08-9786-4ed81315a653" providerId="ADAL" clId="{3F7A7787-00CA-42A0-97CD-637349527123}" dt="2021-07-11T14:27:27.534" v="3005"/>
          <ac:spMkLst>
            <pc:docMk/>
            <pc:sldMk cId="1933103214" sldId="1718"/>
            <ac:spMk id="36" creationId="{ECDF5ECD-537A-495A-9BA9-EA5B6FA6B1DB}"/>
          </ac:spMkLst>
        </pc:spChg>
        <pc:spChg chg="mod">
          <ac:chgData name="Yash Ratanpal" userId="5db668b1-93e7-4c08-9786-4ed81315a653" providerId="ADAL" clId="{3F7A7787-00CA-42A0-97CD-637349527123}" dt="2021-07-11T14:27:27.534" v="3005"/>
          <ac:spMkLst>
            <pc:docMk/>
            <pc:sldMk cId="1933103214" sldId="1718"/>
            <ac:spMk id="37" creationId="{9C2FA233-EEDD-46E7-B72F-C1C42DBFBBE3}"/>
          </ac:spMkLst>
        </pc:spChg>
        <pc:grpChg chg="add mod">
          <ac:chgData name="Yash Ratanpal" userId="5db668b1-93e7-4c08-9786-4ed81315a653" providerId="ADAL" clId="{3F7A7787-00CA-42A0-97CD-637349527123}" dt="2021-07-11T14:27:30.473" v="3006" actId="1076"/>
          <ac:grpSpMkLst>
            <pc:docMk/>
            <pc:sldMk cId="1933103214" sldId="1718"/>
            <ac:grpSpMk id="13" creationId="{72A41D7B-8649-4007-A5FA-AD6A791A4E4D}"/>
          </ac:grpSpMkLst>
        </pc:grpChg>
        <pc:grpChg chg="mod">
          <ac:chgData name="Yash Ratanpal" userId="5db668b1-93e7-4c08-9786-4ed81315a653" providerId="ADAL" clId="{3F7A7787-00CA-42A0-97CD-637349527123}" dt="2021-07-11T14:27:27.534" v="3005"/>
          <ac:grpSpMkLst>
            <pc:docMk/>
            <pc:sldMk cId="1933103214" sldId="1718"/>
            <ac:grpSpMk id="14" creationId="{620D4E4F-8806-403B-AF66-4B488F234C7A}"/>
          </ac:grpSpMkLst>
        </pc:grpChg>
        <pc:grpChg chg="del">
          <ac:chgData name="Yash Ratanpal" userId="5db668b1-93e7-4c08-9786-4ed81315a653" providerId="ADAL" clId="{3F7A7787-00CA-42A0-97CD-637349527123}" dt="2021-07-11T14:27:26.462" v="3004" actId="478"/>
          <ac:grpSpMkLst>
            <pc:docMk/>
            <pc:sldMk cId="1933103214" sldId="1718"/>
            <ac:grpSpMk id="19" creationId="{FB0E80A9-6E50-4A96-9167-28F34C134D27}"/>
          </ac:grpSpMkLst>
        </pc:grpChg>
        <pc:picChg chg="del">
          <ac:chgData name="Yash Ratanpal" userId="5db668b1-93e7-4c08-9786-4ed81315a653" providerId="ADAL" clId="{3F7A7787-00CA-42A0-97CD-637349527123}" dt="2021-07-11T14:27:26.462" v="3004" actId="478"/>
          <ac:picMkLst>
            <pc:docMk/>
            <pc:sldMk cId="1933103214" sldId="1718"/>
            <ac:picMk id="30" creationId="{2222DD06-CEDA-4BE9-A00E-019CE6484D33}"/>
          </ac:picMkLst>
        </pc:picChg>
        <pc:picChg chg="del">
          <ac:chgData name="Yash Ratanpal" userId="5db668b1-93e7-4c08-9786-4ed81315a653" providerId="ADAL" clId="{3F7A7787-00CA-42A0-97CD-637349527123}" dt="2021-07-11T14:27:26.462" v="3004" actId="478"/>
          <ac:picMkLst>
            <pc:docMk/>
            <pc:sldMk cId="1933103214" sldId="1718"/>
            <ac:picMk id="31" creationId="{50060262-F9CE-4483-B285-BFF1BF1842FA}"/>
          </ac:picMkLst>
        </pc:picChg>
      </pc:sldChg>
      <pc:sldChg chg="modSp add mod ord">
        <pc:chgData name="Yash Ratanpal" userId="5db668b1-93e7-4c08-9786-4ed81315a653" providerId="ADAL" clId="{3F7A7787-00CA-42A0-97CD-637349527123}" dt="2021-07-18T17:44:33.386" v="9167" actId="1076"/>
        <pc:sldMkLst>
          <pc:docMk/>
          <pc:sldMk cId="1229414437" sldId="1719"/>
        </pc:sldMkLst>
        <pc:spChg chg="mod">
          <ac:chgData name="Yash Ratanpal" userId="5db668b1-93e7-4c08-9786-4ed81315a653" providerId="ADAL" clId="{3F7A7787-00CA-42A0-97CD-637349527123}" dt="2021-07-18T17:44:18.363" v="9165" actId="20577"/>
          <ac:spMkLst>
            <pc:docMk/>
            <pc:sldMk cId="1229414437" sldId="1719"/>
            <ac:spMk id="3" creationId="{00000000-0000-0000-0000-000000000000}"/>
          </ac:spMkLst>
        </pc:spChg>
        <pc:picChg chg="mod">
          <ac:chgData name="Yash Ratanpal" userId="5db668b1-93e7-4c08-9786-4ed81315a653" providerId="ADAL" clId="{3F7A7787-00CA-42A0-97CD-637349527123}" dt="2021-07-18T17:44:33.386" v="9167" actId="1076"/>
          <ac:picMkLst>
            <pc:docMk/>
            <pc:sldMk cId="1229414437" sldId="1719"/>
            <ac:picMk id="31" creationId="{50060262-F9CE-4483-B285-BFF1BF1842FA}"/>
          </ac:picMkLst>
        </pc:picChg>
      </pc:sldChg>
      <pc:sldChg chg="add del">
        <pc:chgData name="Yash Ratanpal" userId="5db668b1-93e7-4c08-9786-4ed81315a653" providerId="ADAL" clId="{3F7A7787-00CA-42A0-97CD-637349527123}" dt="2021-07-18T17:29:53.954" v="8334" actId="47"/>
        <pc:sldMkLst>
          <pc:docMk/>
          <pc:sldMk cId="3781458216" sldId="1720"/>
        </pc:sldMkLst>
      </pc:sldChg>
      <pc:sldChg chg="modSp add mod">
        <pc:chgData name="Yash Ratanpal" userId="5db668b1-93e7-4c08-9786-4ed81315a653" providerId="ADAL" clId="{3F7A7787-00CA-42A0-97CD-637349527123}" dt="2021-07-18T17:29:47.810" v="8333" actId="20577"/>
        <pc:sldMkLst>
          <pc:docMk/>
          <pc:sldMk cId="1075433366" sldId="1721"/>
        </pc:sldMkLst>
        <pc:spChg chg="mod">
          <ac:chgData name="Yash Ratanpal" userId="5db668b1-93e7-4c08-9786-4ed81315a653" providerId="ADAL" clId="{3F7A7787-00CA-42A0-97CD-637349527123}" dt="2021-07-18T17:29:47.810" v="8333" actId="20577"/>
          <ac:spMkLst>
            <pc:docMk/>
            <pc:sldMk cId="1075433366" sldId="1721"/>
            <ac:spMk id="3" creationId="{00000000-0000-0000-0000-000000000000}"/>
          </ac:spMkLst>
        </pc:spChg>
      </pc:sldChg>
      <pc:sldChg chg="modSp add del mod">
        <pc:chgData name="Yash Ratanpal" userId="5db668b1-93e7-4c08-9786-4ed81315a653" providerId="ADAL" clId="{3F7A7787-00CA-42A0-97CD-637349527123}" dt="2021-07-11T14:44:10.019" v="3395" actId="47"/>
        <pc:sldMkLst>
          <pc:docMk/>
          <pc:sldMk cId="1860902304" sldId="1722"/>
        </pc:sldMkLst>
        <pc:spChg chg="mod">
          <ac:chgData name="Yash Ratanpal" userId="5db668b1-93e7-4c08-9786-4ed81315a653" providerId="ADAL" clId="{3F7A7787-00CA-42A0-97CD-637349527123}" dt="2021-07-11T14:42:42.938" v="3273" actId="20577"/>
          <ac:spMkLst>
            <pc:docMk/>
            <pc:sldMk cId="1860902304" sldId="1722"/>
            <ac:spMk id="3" creationId="{00000000-0000-0000-0000-000000000000}"/>
          </ac:spMkLst>
        </pc:spChg>
      </pc:sldChg>
      <pc:sldChg chg="addSp delSp modSp add mod">
        <pc:chgData name="Yash Ratanpal" userId="5db668b1-93e7-4c08-9786-4ed81315a653" providerId="ADAL" clId="{3F7A7787-00CA-42A0-97CD-637349527123}" dt="2021-07-11T14:47:30.412" v="3521" actId="1076"/>
        <pc:sldMkLst>
          <pc:docMk/>
          <pc:sldMk cId="4288182040" sldId="1722"/>
        </pc:sldMkLst>
        <pc:spChg chg="mod">
          <ac:chgData name="Yash Ratanpal" userId="5db668b1-93e7-4c08-9786-4ed81315a653" providerId="ADAL" clId="{3F7A7787-00CA-42A0-97CD-637349527123}" dt="2021-07-11T14:47:30.412" v="3521" actId="1076"/>
          <ac:spMkLst>
            <pc:docMk/>
            <pc:sldMk cId="4288182040" sldId="1722"/>
            <ac:spMk id="3" creationId="{00000000-0000-0000-0000-000000000000}"/>
          </ac:spMkLst>
        </pc:spChg>
        <pc:spChg chg="del">
          <ac:chgData name="Yash Ratanpal" userId="5db668b1-93e7-4c08-9786-4ed81315a653" providerId="ADAL" clId="{3F7A7787-00CA-42A0-97CD-637349527123}" dt="2021-07-11T14:45:41.844" v="3435" actId="478"/>
          <ac:spMkLst>
            <pc:docMk/>
            <pc:sldMk cId="4288182040" sldId="1722"/>
            <ac:spMk id="12" creationId="{14089CA9-BEE7-4F25-97FD-EE66A4F6E6CF}"/>
          </ac:spMkLst>
        </pc:spChg>
        <pc:spChg chg="mod">
          <ac:chgData name="Yash Ratanpal" userId="5db668b1-93e7-4c08-9786-4ed81315a653" providerId="ADAL" clId="{3F7A7787-00CA-42A0-97CD-637349527123}" dt="2021-07-11T14:45:43.579" v="3436"/>
          <ac:spMkLst>
            <pc:docMk/>
            <pc:sldMk cId="4288182040" sldId="1722"/>
            <ac:spMk id="31" creationId="{55535C11-75F3-49F4-A663-C02EBD884F9E}"/>
          </ac:spMkLst>
        </pc:spChg>
        <pc:spChg chg="mod">
          <ac:chgData name="Yash Ratanpal" userId="5db668b1-93e7-4c08-9786-4ed81315a653" providerId="ADAL" clId="{3F7A7787-00CA-42A0-97CD-637349527123}" dt="2021-07-11T14:45:43.579" v="3436"/>
          <ac:spMkLst>
            <pc:docMk/>
            <pc:sldMk cId="4288182040" sldId="1722"/>
            <ac:spMk id="38" creationId="{245C8DF8-30A6-4B19-BE95-7A8E024E5C27}"/>
          </ac:spMkLst>
        </pc:spChg>
        <pc:spChg chg="mod">
          <ac:chgData name="Yash Ratanpal" userId="5db668b1-93e7-4c08-9786-4ed81315a653" providerId="ADAL" clId="{3F7A7787-00CA-42A0-97CD-637349527123}" dt="2021-07-11T14:45:43.579" v="3436"/>
          <ac:spMkLst>
            <pc:docMk/>
            <pc:sldMk cId="4288182040" sldId="1722"/>
            <ac:spMk id="39" creationId="{1C0D6623-7194-460B-A0C5-780B4420DF22}"/>
          </ac:spMkLst>
        </pc:spChg>
        <pc:spChg chg="mod">
          <ac:chgData name="Yash Ratanpal" userId="5db668b1-93e7-4c08-9786-4ed81315a653" providerId="ADAL" clId="{3F7A7787-00CA-42A0-97CD-637349527123}" dt="2021-07-11T14:45:43.579" v="3436"/>
          <ac:spMkLst>
            <pc:docMk/>
            <pc:sldMk cId="4288182040" sldId="1722"/>
            <ac:spMk id="40" creationId="{E0F956C4-60C6-41F3-A419-61DF8FD9B3DC}"/>
          </ac:spMkLst>
        </pc:spChg>
        <pc:spChg chg="mod">
          <ac:chgData name="Yash Ratanpal" userId="5db668b1-93e7-4c08-9786-4ed81315a653" providerId="ADAL" clId="{3F7A7787-00CA-42A0-97CD-637349527123}" dt="2021-07-11T14:45:43.579" v="3436"/>
          <ac:spMkLst>
            <pc:docMk/>
            <pc:sldMk cId="4288182040" sldId="1722"/>
            <ac:spMk id="41" creationId="{E921A1AA-DBEE-41B7-B897-E8D2CF51C345}"/>
          </ac:spMkLst>
        </pc:spChg>
        <pc:spChg chg="mod">
          <ac:chgData name="Yash Ratanpal" userId="5db668b1-93e7-4c08-9786-4ed81315a653" providerId="ADAL" clId="{3F7A7787-00CA-42A0-97CD-637349527123}" dt="2021-07-11T14:45:43.579" v="3436"/>
          <ac:spMkLst>
            <pc:docMk/>
            <pc:sldMk cId="4288182040" sldId="1722"/>
            <ac:spMk id="42" creationId="{E17C0559-A481-48D3-8211-62FCA3410060}"/>
          </ac:spMkLst>
        </pc:spChg>
        <pc:spChg chg="mod">
          <ac:chgData name="Yash Ratanpal" userId="5db668b1-93e7-4c08-9786-4ed81315a653" providerId="ADAL" clId="{3F7A7787-00CA-42A0-97CD-637349527123}" dt="2021-07-11T14:45:43.579" v="3436"/>
          <ac:spMkLst>
            <pc:docMk/>
            <pc:sldMk cId="4288182040" sldId="1722"/>
            <ac:spMk id="43" creationId="{F0410424-8012-4734-AE3F-36AA2A593BBA}"/>
          </ac:spMkLst>
        </pc:spChg>
        <pc:spChg chg="mod">
          <ac:chgData name="Yash Ratanpal" userId="5db668b1-93e7-4c08-9786-4ed81315a653" providerId="ADAL" clId="{3F7A7787-00CA-42A0-97CD-637349527123}" dt="2021-07-11T14:45:43.579" v="3436"/>
          <ac:spMkLst>
            <pc:docMk/>
            <pc:sldMk cId="4288182040" sldId="1722"/>
            <ac:spMk id="44" creationId="{70567136-357A-426C-B867-FED04B2BA383}"/>
          </ac:spMkLst>
        </pc:spChg>
        <pc:spChg chg="add mod">
          <ac:chgData name="Yash Ratanpal" userId="5db668b1-93e7-4c08-9786-4ed81315a653" providerId="ADAL" clId="{3F7A7787-00CA-42A0-97CD-637349527123}" dt="2021-07-11T14:46:54.707" v="3516" actId="1076"/>
          <ac:spMkLst>
            <pc:docMk/>
            <pc:sldMk cId="4288182040" sldId="1722"/>
            <ac:spMk id="45" creationId="{8F37BF69-8CE0-47C9-B7B4-135029BF3446}"/>
          </ac:spMkLst>
        </pc:spChg>
        <pc:spChg chg="add mod">
          <ac:chgData name="Yash Ratanpal" userId="5db668b1-93e7-4c08-9786-4ed81315a653" providerId="ADAL" clId="{3F7A7787-00CA-42A0-97CD-637349527123}" dt="2021-07-11T14:46:54.707" v="3516" actId="1076"/>
          <ac:spMkLst>
            <pc:docMk/>
            <pc:sldMk cId="4288182040" sldId="1722"/>
            <ac:spMk id="46" creationId="{63083E40-7133-4B09-9B75-1FA14ED28BA6}"/>
          </ac:spMkLst>
        </pc:spChg>
        <pc:spChg chg="add mod">
          <ac:chgData name="Yash Ratanpal" userId="5db668b1-93e7-4c08-9786-4ed81315a653" providerId="ADAL" clId="{3F7A7787-00CA-42A0-97CD-637349527123}" dt="2021-07-11T14:46:54.707" v="3516" actId="1076"/>
          <ac:spMkLst>
            <pc:docMk/>
            <pc:sldMk cId="4288182040" sldId="1722"/>
            <ac:spMk id="47" creationId="{0C6D603B-5619-471F-A557-F8DDB4D1FFEE}"/>
          </ac:spMkLst>
        </pc:spChg>
        <pc:spChg chg="add mod">
          <ac:chgData name="Yash Ratanpal" userId="5db668b1-93e7-4c08-9786-4ed81315a653" providerId="ADAL" clId="{3F7A7787-00CA-42A0-97CD-637349527123}" dt="2021-07-11T14:46:54.707" v="3516" actId="1076"/>
          <ac:spMkLst>
            <pc:docMk/>
            <pc:sldMk cId="4288182040" sldId="1722"/>
            <ac:spMk id="48" creationId="{CDB3F676-349C-4475-8874-32B38348CA6E}"/>
          </ac:spMkLst>
        </pc:spChg>
        <pc:spChg chg="add mod">
          <ac:chgData name="Yash Ratanpal" userId="5db668b1-93e7-4c08-9786-4ed81315a653" providerId="ADAL" clId="{3F7A7787-00CA-42A0-97CD-637349527123}" dt="2021-07-11T14:46:54.707" v="3516" actId="1076"/>
          <ac:spMkLst>
            <pc:docMk/>
            <pc:sldMk cId="4288182040" sldId="1722"/>
            <ac:spMk id="49" creationId="{B060F468-16DA-430D-8026-F9DCEDECCA26}"/>
          </ac:spMkLst>
        </pc:spChg>
        <pc:spChg chg="add mod">
          <ac:chgData name="Yash Ratanpal" userId="5db668b1-93e7-4c08-9786-4ed81315a653" providerId="ADAL" clId="{3F7A7787-00CA-42A0-97CD-637349527123}" dt="2021-07-11T14:46:54.707" v="3516" actId="1076"/>
          <ac:spMkLst>
            <pc:docMk/>
            <pc:sldMk cId="4288182040" sldId="1722"/>
            <ac:spMk id="50" creationId="{DC196956-6B36-4EF0-985B-DCDC2692A6FD}"/>
          </ac:spMkLst>
        </pc:spChg>
        <pc:spChg chg="add mod">
          <ac:chgData name="Yash Ratanpal" userId="5db668b1-93e7-4c08-9786-4ed81315a653" providerId="ADAL" clId="{3F7A7787-00CA-42A0-97CD-637349527123}" dt="2021-07-11T14:46:54.707" v="3516" actId="1076"/>
          <ac:spMkLst>
            <pc:docMk/>
            <pc:sldMk cId="4288182040" sldId="1722"/>
            <ac:spMk id="51" creationId="{64D9C3BA-943A-47E9-B48F-F6B661059B53}"/>
          </ac:spMkLst>
        </pc:spChg>
        <pc:grpChg chg="del">
          <ac:chgData name="Yash Ratanpal" userId="5db668b1-93e7-4c08-9786-4ed81315a653" providerId="ADAL" clId="{3F7A7787-00CA-42A0-97CD-637349527123}" dt="2021-07-11T14:45:41.844" v="3435" actId="478"/>
          <ac:grpSpMkLst>
            <pc:docMk/>
            <pc:sldMk cId="4288182040" sldId="1722"/>
            <ac:grpSpMk id="13" creationId="{72A41D7B-8649-4007-A5FA-AD6A791A4E4D}"/>
          </ac:grpSpMkLst>
        </pc:grpChg>
        <pc:grpChg chg="add mod">
          <ac:chgData name="Yash Ratanpal" userId="5db668b1-93e7-4c08-9786-4ed81315a653" providerId="ADAL" clId="{3F7A7787-00CA-42A0-97CD-637349527123}" dt="2021-07-11T14:46:54.707" v="3516" actId="1076"/>
          <ac:grpSpMkLst>
            <pc:docMk/>
            <pc:sldMk cId="4288182040" sldId="1722"/>
            <ac:grpSpMk id="26" creationId="{559F7B96-5A2B-4E8B-AF7C-4FA160B6FDBB}"/>
          </ac:grpSpMkLst>
        </pc:grpChg>
        <pc:grpChg chg="mod">
          <ac:chgData name="Yash Ratanpal" userId="5db668b1-93e7-4c08-9786-4ed81315a653" providerId="ADAL" clId="{3F7A7787-00CA-42A0-97CD-637349527123}" dt="2021-07-11T14:45:43.579" v="3436"/>
          <ac:grpSpMkLst>
            <pc:docMk/>
            <pc:sldMk cId="4288182040" sldId="1722"/>
            <ac:grpSpMk id="27" creationId="{44156A67-F202-4980-8709-326F9886F43B}"/>
          </ac:grpSpMkLst>
        </pc:grpChg>
        <pc:grpChg chg="mod">
          <ac:chgData name="Yash Ratanpal" userId="5db668b1-93e7-4c08-9786-4ed81315a653" providerId="ADAL" clId="{3F7A7787-00CA-42A0-97CD-637349527123}" dt="2021-07-11T14:45:43.579" v="3436"/>
          <ac:grpSpMkLst>
            <pc:docMk/>
            <pc:sldMk cId="4288182040" sldId="1722"/>
            <ac:grpSpMk id="28" creationId="{F6822EDF-8173-4502-8DA4-8AAB18E0F1A1}"/>
          </ac:grpSpMkLst>
        </pc:grpChg>
        <pc:grpChg chg="mod">
          <ac:chgData name="Yash Ratanpal" userId="5db668b1-93e7-4c08-9786-4ed81315a653" providerId="ADAL" clId="{3F7A7787-00CA-42A0-97CD-637349527123}" dt="2021-07-11T14:45:43.579" v="3436"/>
          <ac:grpSpMkLst>
            <pc:docMk/>
            <pc:sldMk cId="4288182040" sldId="1722"/>
            <ac:grpSpMk id="29" creationId="{4BBC6193-D5DA-48B4-BA10-A427854430A1}"/>
          </ac:grpSpMkLst>
        </pc:grpChg>
        <pc:grpChg chg="mod">
          <ac:chgData name="Yash Ratanpal" userId="5db668b1-93e7-4c08-9786-4ed81315a653" providerId="ADAL" clId="{3F7A7787-00CA-42A0-97CD-637349527123}" dt="2021-07-11T14:45:43.579" v="3436"/>
          <ac:grpSpMkLst>
            <pc:docMk/>
            <pc:sldMk cId="4288182040" sldId="1722"/>
            <ac:grpSpMk id="30" creationId="{CBF9F020-DA5A-48F6-A084-C6164940BC1F}"/>
          </ac:grpSpMkLst>
        </pc:grpChg>
      </pc:sldChg>
      <pc:sldChg chg="modSp add mod">
        <pc:chgData name="Yash Ratanpal" userId="5db668b1-93e7-4c08-9786-4ed81315a653" providerId="ADAL" clId="{3F7A7787-00CA-42A0-97CD-637349527123}" dt="2021-07-18T16:34:44.180" v="7563" actId="2711"/>
        <pc:sldMkLst>
          <pc:docMk/>
          <pc:sldMk cId="1691604744" sldId="1723"/>
        </pc:sldMkLst>
        <pc:spChg chg="mod">
          <ac:chgData name="Yash Ratanpal" userId="5db668b1-93e7-4c08-9786-4ed81315a653" providerId="ADAL" clId="{3F7A7787-00CA-42A0-97CD-637349527123}" dt="2021-07-18T16:34:44.180" v="7563" actId="2711"/>
          <ac:spMkLst>
            <pc:docMk/>
            <pc:sldMk cId="1691604744" sldId="1723"/>
            <ac:spMk id="87" creationId="{C1A8F2FB-C6EB-465F-B5BC-3F2E45137349}"/>
          </ac:spMkLst>
        </pc:spChg>
        <pc:spChg chg="mod">
          <ac:chgData name="Yash Ratanpal" userId="5db668b1-93e7-4c08-9786-4ed81315a653" providerId="ADAL" clId="{3F7A7787-00CA-42A0-97CD-637349527123}" dt="2021-07-18T16:34:44.180" v="7563" actId="2711"/>
          <ac:spMkLst>
            <pc:docMk/>
            <pc:sldMk cId="1691604744" sldId="1723"/>
            <ac:spMk id="88" creationId="{FBB4E47F-1B37-47DD-A844-D520E189D285}"/>
          </ac:spMkLst>
        </pc:spChg>
        <pc:spChg chg="mod">
          <ac:chgData name="Yash Ratanpal" userId="5db668b1-93e7-4c08-9786-4ed81315a653" providerId="ADAL" clId="{3F7A7787-00CA-42A0-97CD-637349527123}" dt="2021-07-18T16:34:44.180" v="7563" actId="2711"/>
          <ac:spMkLst>
            <pc:docMk/>
            <pc:sldMk cId="1691604744" sldId="1723"/>
            <ac:spMk id="90" creationId="{0F47427B-A059-436E-9620-59F7D7A3B8C6}"/>
          </ac:spMkLst>
        </pc:spChg>
        <pc:spChg chg="mod">
          <ac:chgData name="Yash Ratanpal" userId="5db668b1-93e7-4c08-9786-4ed81315a653" providerId="ADAL" clId="{3F7A7787-00CA-42A0-97CD-637349527123}" dt="2021-07-18T16:34:44.180" v="7563" actId="2711"/>
          <ac:spMkLst>
            <pc:docMk/>
            <pc:sldMk cId="1691604744" sldId="1723"/>
            <ac:spMk id="91" creationId="{3B261B09-3B6D-40F3-A376-08897679B23B}"/>
          </ac:spMkLst>
        </pc:spChg>
        <pc:spChg chg="mod">
          <ac:chgData name="Yash Ratanpal" userId="5db668b1-93e7-4c08-9786-4ed81315a653" providerId="ADAL" clId="{3F7A7787-00CA-42A0-97CD-637349527123}" dt="2021-07-18T16:34:44.180" v="7563" actId="2711"/>
          <ac:spMkLst>
            <pc:docMk/>
            <pc:sldMk cId="1691604744" sldId="1723"/>
            <ac:spMk id="92" creationId="{CF99227E-F368-498A-8812-951779A78A15}"/>
          </ac:spMkLst>
        </pc:spChg>
        <pc:spChg chg="mod">
          <ac:chgData name="Yash Ratanpal" userId="5db668b1-93e7-4c08-9786-4ed81315a653" providerId="ADAL" clId="{3F7A7787-00CA-42A0-97CD-637349527123}" dt="2021-07-18T16:34:44.180" v="7563" actId="2711"/>
          <ac:spMkLst>
            <pc:docMk/>
            <pc:sldMk cId="1691604744" sldId="1723"/>
            <ac:spMk id="93" creationId="{5A95863E-1DB8-4FA4-92C8-5E99390E7CE1}"/>
          </ac:spMkLst>
        </pc:spChg>
        <pc:spChg chg="mod">
          <ac:chgData name="Yash Ratanpal" userId="5db668b1-93e7-4c08-9786-4ed81315a653" providerId="ADAL" clId="{3F7A7787-00CA-42A0-97CD-637349527123}" dt="2021-07-18T16:34:44.180" v="7563" actId="2711"/>
          <ac:spMkLst>
            <pc:docMk/>
            <pc:sldMk cId="1691604744" sldId="1723"/>
            <ac:spMk id="94" creationId="{E215E584-BBA0-4B50-8160-A58B1A1AD996}"/>
          </ac:spMkLst>
        </pc:spChg>
        <pc:spChg chg="mod">
          <ac:chgData name="Yash Ratanpal" userId="5db668b1-93e7-4c08-9786-4ed81315a653" providerId="ADAL" clId="{3F7A7787-00CA-42A0-97CD-637349527123}" dt="2021-07-18T16:34:44.180" v="7563" actId="2711"/>
          <ac:spMkLst>
            <pc:docMk/>
            <pc:sldMk cId="1691604744" sldId="1723"/>
            <ac:spMk id="95" creationId="{9A58BE4A-D9A3-459E-A09F-12942BB41667}"/>
          </ac:spMkLst>
        </pc:spChg>
        <pc:spChg chg="mod">
          <ac:chgData name="Yash Ratanpal" userId="5db668b1-93e7-4c08-9786-4ed81315a653" providerId="ADAL" clId="{3F7A7787-00CA-42A0-97CD-637349527123}" dt="2021-07-18T16:34:44.180" v="7563" actId="2711"/>
          <ac:spMkLst>
            <pc:docMk/>
            <pc:sldMk cId="1691604744" sldId="1723"/>
            <ac:spMk id="96" creationId="{DA9099CC-BC67-4487-9B01-F5CD8E9BB609}"/>
          </ac:spMkLst>
        </pc:spChg>
        <pc:spChg chg="mod">
          <ac:chgData name="Yash Ratanpal" userId="5db668b1-93e7-4c08-9786-4ed81315a653" providerId="ADAL" clId="{3F7A7787-00CA-42A0-97CD-637349527123}" dt="2021-07-18T16:34:44.180" v="7563" actId="2711"/>
          <ac:spMkLst>
            <pc:docMk/>
            <pc:sldMk cId="1691604744" sldId="1723"/>
            <ac:spMk id="97" creationId="{0D91D246-D141-42EB-B54F-0840F6D3D3AC}"/>
          </ac:spMkLst>
        </pc:spChg>
        <pc:spChg chg="mod">
          <ac:chgData name="Yash Ratanpal" userId="5db668b1-93e7-4c08-9786-4ed81315a653" providerId="ADAL" clId="{3F7A7787-00CA-42A0-97CD-637349527123}" dt="2021-07-18T16:34:44.180" v="7563" actId="2711"/>
          <ac:spMkLst>
            <pc:docMk/>
            <pc:sldMk cId="1691604744" sldId="1723"/>
            <ac:spMk id="98" creationId="{3F52E695-4B62-4E30-9A89-4C477B68B96F}"/>
          </ac:spMkLst>
        </pc:spChg>
        <pc:spChg chg="mod">
          <ac:chgData name="Yash Ratanpal" userId="5db668b1-93e7-4c08-9786-4ed81315a653" providerId="ADAL" clId="{3F7A7787-00CA-42A0-97CD-637349527123}" dt="2021-07-18T16:34:44.180" v="7563" actId="2711"/>
          <ac:spMkLst>
            <pc:docMk/>
            <pc:sldMk cId="1691604744" sldId="1723"/>
            <ac:spMk id="99" creationId="{CD1389DC-2EAB-4292-8F14-6601F531FB2F}"/>
          </ac:spMkLst>
        </pc:spChg>
        <pc:spChg chg="mod">
          <ac:chgData name="Yash Ratanpal" userId="5db668b1-93e7-4c08-9786-4ed81315a653" providerId="ADAL" clId="{3F7A7787-00CA-42A0-97CD-637349527123}" dt="2021-07-18T16:34:44.180" v="7563" actId="2711"/>
          <ac:spMkLst>
            <pc:docMk/>
            <pc:sldMk cId="1691604744" sldId="1723"/>
            <ac:spMk id="100" creationId="{504F5F89-2831-4714-B10A-67AFD6B92ECD}"/>
          </ac:spMkLst>
        </pc:spChg>
        <pc:spChg chg="mod">
          <ac:chgData name="Yash Ratanpal" userId="5db668b1-93e7-4c08-9786-4ed81315a653" providerId="ADAL" clId="{3F7A7787-00CA-42A0-97CD-637349527123}" dt="2021-07-18T16:34:44.180" v="7563" actId="2711"/>
          <ac:spMkLst>
            <pc:docMk/>
            <pc:sldMk cId="1691604744" sldId="1723"/>
            <ac:spMk id="101" creationId="{BE812A37-9CC1-466E-9562-7BD62E5128DE}"/>
          </ac:spMkLst>
        </pc:spChg>
        <pc:spChg chg="mod">
          <ac:chgData name="Yash Ratanpal" userId="5db668b1-93e7-4c08-9786-4ed81315a653" providerId="ADAL" clId="{3F7A7787-00CA-42A0-97CD-637349527123}" dt="2021-07-18T16:34:44.180" v="7563" actId="2711"/>
          <ac:spMkLst>
            <pc:docMk/>
            <pc:sldMk cId="1691604744" sldId="1723"/>
            <ac:spMk id="102" creationId="{7D2E37D4-88E8-4C5C-9B31-82A1194D2E1F}"/>
          </ac:spMkLst>
        </pc:spChg>
        <pc:spChg chg="mod">
          <ac:chgData name="Yash Ratanpal" userId="5db668b1-93e7-4c08-9786-4ed81315a653" providerId="ADAL" clId="{3F7A7787-00CA-42A0-97CD-637349527123}" dt="2021-07-18T16:34:44.180" v="7563" actId="2711"/>
          <ac:spMkLst>
            <pc:docMk/>
            <pc:sldMk cId="1691604744" sldId="1723"/>
            <ac:spMk id="103" creationId="{F7685AF2-8A3E-4A3C-90CB-3CA2FDD8ADBE}"/>
          </ac:spMkLst>
        </pc:spChg>
        <pc:spChg chg="mod">
          <ac:chgData name="Yash Ratanpal" userId="5db668b1-93e7-4c08-9786-4ed81315a653" providerId="ADAL" clId="{3F7A7787-00CA-42A0-97CD-637349527123}" dt="2021-07-18T16:34:44.180" v="7563" actId="2711"/>
          <ac:spMkLst>
            <pc:docMk/>
            <pc:sldMk cId="1691604744" sldId="1723"/>
            <ac:spMk id="104" creationId="{42F67B06-6379-4819-9FB1-1976E44F1C73}"/>
          </ac:spMkLst>
        </pc:spChg>
        <pc:spChg chg="mod">
          <ac:chgData name="Yash Ratanpal" userId="5db668b1-93e7-4c08-9786-4ed81315a653" providerId="ADAL" clId="{3F7A7787-00CA-42A0-97CD-637349527123}" dt="2021-07-18T16:34:44.180" v="7563" actId="2711"/>
          <ac:spMkLst>
            <pc:docMk/>
            <pc:sldMk cId="1691604744" sldId="1723"/>
            <ac:spMk id="105" creationId="{217BA448-11AC-49F0-BFE2-B698660932CB}"/>
          </ac:spMkLst>
        </pc:spChg>
        <pc:spChg chg="mod">
          <ac:chgData name="Yash Ratanpal" userId="5db668b1-93e7-4c08-9786-4ed81315a653" providerId="ADAL" clId="{3F7A7787-00CA-42A0-97CD-637349527123}" dt="2021-07-18T16:34:44.180" v="7563" actId="2711"/>
          <ac:spMkLst>
            <pc:docMk/>
            <pc:sldMk cId="1691604744" sldId="1723"/>
            <ac:spMk id="106" creationId="{A6B30FC3-48D1-4160-AB73-32E6617749ED}"/>
          </ac:spMkLst>
        </pc:spChg>
        <pc:spChg chg="mod">
          <ac:chgData name="Yash Ratanpal" userId="5db668b1-93e7-4c08-9786-4ed81315a653" providerId="ADAL" clId="{3F7A7787-00CA-42A0-97CD-637349527123}" dt="2021-07-18T16:34:44.180" v="7563" actId="2711"/>
          <ac:spMkLst>
            <pc:docMk/>
            <pc:sldMk cId="1691604744" sldId="1723"/>
            <ac:spMk id="107" creationId="{3B466589-AD65-44C4-BC42-F1AF43865DC5}"/>
          </ac:spMkLst>
        </pc:spChg>
        <pc:spChg chg="mod">
          <ac:chgData name="Yash Ratanpal" userId="5db668b1-93e7-4c08-9786-4ed81315a653" providerId="ADAL" clId="{3F7A7787-00CA-42A0-97CD-637349527123}" dt="2021-07-18T16:34:44.180" v="7563" actId="2711"/>
          <ac:spMkLst>
            <pc:docMk/>
            <pc:sldMk cId="1691604744" sldId="1723"/>
            <ac:spMk id="108" creationId="{0560212D-8C40-4302-A037-36104061CFC2}"/>
          </ac:spMkLst>
        </pc:spChg>
        <pc:spChg chg="mod">
          <ac:chgData name="Yash Ratanpal" userId="5db668b1-93e7-4c08-9786-4ed81315a653" providerId="ADAL" clId="{3F7A7787-00CA-42A0-97CD-637349527123}" dt="2021-07-18T16:34:44.180" v="7563" actId="2711"/>
          <ac:spMkLst>
            <pc:docMk/>
            <pc:sldMk cId="1691604744" sldId="1723"/>
            <ac:spMk id="110" creationId="{4E9D6CC5-EBC0-4719-BA75-F35ED7111AD0}"/>
          </ac:spMkLst>
        </pc:spChg>
        <pc:spChg chg="mod">
          <ac:chgData name="Yash Ratanpal" userId="5db668b1-93e7-4c08-9786-4ed81315a653" providerId="ADAL" clId="{3F7A7787-00CA-42A0-97CD-637349527123}" dt="2021-07-18T16:34:44.180" v="7563" actId="2711"/>
          <ac:spMkLst>
            <pc:docMk/>
            <pc:sldMk cId="1691604744" sldId="1723"/>
            <ac:spMk id="111" creationId="{35BFF57F-DF4B-4051-AF28-05DFF484A0E4}"/>
          </ac:spMkLst>
        </pc:spChg>
        <pc:spChg chg="mod">
          <ac:chgData name="Yash Ratanpal" userId="5db668b1-93e7-4c08-9786-4ed81315a653" providerId="ADAL" clId="{3F7A7787-00CA-42A0-97CD-637349527123}" dt="2021-07-18T16:34:44.180" v="7563" actId="2711"/>
          <ac:spMkLst>
            <pc:docMk/>
            <pc:sldMk cId="1691604744" sldId="1723"/>
            <ac:spMk id="112" creationId="{B6E2A6A2-FA82-4279-8C71-77E389433938}"/>
          </ac:spMkLst>
        </pc:spChg>
        <pc:spChg chg="mod">
          <ac:chgData name="Yash Ratanpal" userId="5db668b1-93e7-4c08-9786-4ed81315a653" providerId="ADAL" clId="{3F7A7787-00CA-42A0-97CD-637349527123}" dt="2021-07-18T16:34:44.180" v="7563" actId="2711"/>
          <ac:spMkLst>
            <pc:docMk/>
            <pc:sldMk cId="1691604744" sldId="1723"/>
            <ac:spMk id="113" creationId="{CD338C18-FEF4-450A-86F2-B0670EFEAB90}"/>
          </ac:spMkLst>
        </pc:spChg>
        <pc:spChg chg="mod">
          <ac:chgData name="Yash Ratanpal" userId="5db668b1-93e7-4c08-9786-4ed81315a653" providerId="ADAL" clId="{3F7A7787-00CA-42A0-97CD-637349527123}" dt="2021-07-18T16:34:44.180" v="7563" actId="2711"/>
          <ac:spMkLst>
            <pc:docMk/>
            <pc:sldMk cId="1691604744" sldId="1723"/>
            <ac:spMk id="114" creationId="{53F94D77-C6DC-4B05-85EF-B07AD773E1FB}"/>
          </ac:spMkLst>
        </pc:spChg>
        <pc:spChg chg="mod">
          <ac:chgData name="Yash Ratanpal" userId="5db668b1-93e7-4c08-9786-4ed81315a653" providerId="ADAL" clId="{3F7A7787-00CA-42A0-97CD-637349527123}" dt="2021-07-18T16:34:44.180" v="7563" actId="2711"/>
          <ac:spMkLst>
            <pc:docMk/>
            <pc:sldMk cId="1691604744" sldId="1723"/>
            <ac:spMk id="115" creationId="{ABDC57BC-98DD-467B-81E5-E3CD0679444F}"/>
          </ac:spMkLst>
        </pc:spChg>
        <pc:spChg chg="mod">
          <ac:chgData name="Yash Ratanpal" userId="5db668b1-93e7-4c08-9786-4ed81315a653" providerId="ADAL" clId="{3F7A7787-00CA-42A0-97CD-637349527123}" dt="2021-07-18T16:34:44.180" v="7563" actId="2711"/>
          <ac:spMkLst>
            <pc:docMk/>
            <pc:sldMk cId="1691604744" sldId="1723"/>
            <ac:spMk id="116" creationId="{8F3FFFE4-E0FB-4A8D-B1F2-C95121490153}"/>
          </ac:spMkLst>
        </pc:spChg>
        <pc:spChg chg="mod">
          <ac:chgData name="Yash Ratanpal" userId="5db668b1-93e7-4c08-9786-4ed81315a653" providerId="ADAL" clId="{3F7A7787-00CA-42A0-97CD-637349527123}" dt="2021-07-18T16:34:44.180" v="7563" actId="2711"/>
          <ac:spMkLst>
            <pc:docMk/>
            <pc:sldMk cId="1691604744" sldId="1723"/>
            <ac:spMk id="117" creationId="{A4D7243A-828F-4558-9317-AA13CA2463AC}"/>
          </ac:spMkLst>
        </pc:spChg>
        <pc:spChg chg="mod">
          <ac:chgData name="Yash Ratanpal" userId="5db668b1-93e7-4c08-9786-4ed81315a653" providerId="ADAL" clId="{3F7A7787-00CA-42A0-97CD-637349527123}" dt="2021-07-18T16:34:44.180" v="7563" actId="2711"/>
          <ac:spMkLst>
            <pc:docMk/>
            <pc:sldMk cId="1691604744" sldId="1723"/>
            <ac:spMk id="118" creationId="{05FFB165-EF81-4579-97A7-4D3D16B5C3F6}"/>
          </ac:spMkLst>
        </pc:spChg>
        <pc:spChg chg="mod">
          <ac:chgData name="Yash Ratanpal" userId="5db668b1-93e7-4c08-9786-4ed81315a653" providerId="ADAL" clId="{3F7A7787-00CA-42A0-97CD-637349527123}" dt="2021-07-18T16:34:44.180" v="7563" actId="2711"/>
          <ac:spMkLst>
            <pc:docMk/>
            <pc:sldMk cId="1691604744" sldId="1723"/>
            <ac:spMk id="119" creationId="{33F274E7-53F1-4DA4-B5C9-14399AD9B0E7}"/>
          </ac:spMkLst>
        </pc:spChg>
        <pc:spChg chg="mod">
          <ac:chgData name="Yash Ratanpal" userId="5db668b1-93e7-4c08-9786-4ed81315a653" providerId="ADAL" clId="{3F7A7787-00CA-42A0-97CD-637349527123}" dt="2021-07-18T16:34:44.180" v="7563" actId="2711"/>
          <ac:spMkLst>
            <pc:docMk/>
            <pc:sldMk cId="1691604744" sldId="1723"/>
            <ac:spMk id="120" creationId="{98639536-99AA-459D-BF86-34EB9AF0BF56}"/>
          </ac:spMkLst>
        </pc:spChg>
        <pc:spChg chg="mod">
          <ac:chgData name="Yash Ratanpal" userId="5db668b1-93e7-4c08-9786-4ed81315a653" providerId="ADAL" clId="{3F7A7787-00CA-42A0-97CD-637349527123}" dt="2021-07-18T16:34:44.180" v="7563" actId="2711"/>
          <ac:spMkLst>
            <pc:docMk/>
            <pc:sldMk cId="1691604744" sldId="1723"/>
            <ac:spMk id="121" creationId="{DA12F555-EBAB-488A-BA7D-A2093ED7C368}"/>
          </ac:spMkLst>
        </pc:spChg>
        <pc:spChg chg="mod">
          <ac:chgData name="Yash Ratanpal" userId="5db668b1-93e7-4c08-9786-4ed81315a653" providerId="ADAL" clId="{3F7A7787-00CA-42A0-97CD-637349527123}" dt="2021-07-18T16:34:44.180" v="7563" actId="2711"/>
          <ac:spMkLst>
            <pc:docMk/>
            <pc:sldMk cId="1691604744" sldId="1723"/>
            <ac:spMk id="122" creationId="{CD2ECBD5-FD7A-4DCC-9D41-9A98B0BBE46A}"/>
          </ac:spMkLst>
        </pc:spChg>
        <pc:spChg chg="mod">
          <ac:chgData name="Yash Ratanpal" userId="5db668b1-93e7-4c08-9786-4ed81315a653" providerId="ADAL" clId="{3F7A7787-00CA-42A0-97CD-637349527123}" dt="2021-07-18T16:34:44.180" v="7563" actId="2711"/>
          <ac:spMkLst>
            <pc:docMk/>
            <pc:sldMk cId="1691604744" sldId="1723"/>
            <ac:spMk id="123" creationId="{8B6409E9-6B69-4253-AE73-BE76029A27E8}"/>
          </ac:spMkLst>
        </pc:spChg>
        <pc:spChg chg="mod">
          <ac:chgData name="Yash Ratanpal" userId="5db668b1-93e7-4c08-9786-4ed81315a653" providerId="ADAL" clId="{3F7A7787-00CA-42A0-97CD-637349527123}" dt="2021-07-18T16:34:44.180" v="7563" actId="2711"/>
          <ac:spMkLst>
            <pc:docMk/>
            <pc:sldMk cId="1691604744" sldId="1723"/>
            <ac:spMk id="124" creationId="{448D0C69-2886-4567-8C50-0EA91EBDBEAC}"/>
          </ac:spMkLst>
        </pc:spChg>
        <pc:spChg chg="mod">
          <ac:chgData name="Yash Ratanpal" userId="5db668b1-93e7-4c08-9786-4ed81315a653" providerId="ADAL" clId="{3F7A7787-00CA-42A0-97CD-637349527123}" dt="2021-07-18T16:34:44.180" v="7563" actId="2711"/>
          <ac:spMkLst>
            <pc:docMk/>
            <pc:sldMk cId="1691604744" sldId="1723"/>
            <ac:spMk id="125" creationId="{92C536D7-A5A8-45AF-8055-0CC6F450090C}"/>
          </ac:spMkLst>
        </pc:spChg>
        <pc:spChg chg="mod">
          <ac:chgData name="Yash Ratanpal" userId="5db668b1-93e7-4c08-9786-4ed81315a653" providerId="ADAL" clId="{3F7A7787-00CA-42A0-97CD-637349527123}" dt="2021-07-18T16:34:44.180" v="7563" actId="2711"/>
          <ac:spMkLst>
            <pc:docMk/>
            <pc:sldMk cId="1691604744" sldId="1723"/>
            <ac:spMk id="126" creationId="{A6524B88-C4F7-491A-832A-B3A2B5BFF42D}"/>
          </ac:spMkLst>
        </pc:spChg>
        <pc:spChg chg="mod">
          <ac:chgData name="Yash Ratanpal" userId="5db668b1-93e7-4c08-9786-4ed81315a653" providerId="ADAL" clId="{3F7A7787-00CA-42A0-97CD-637349527123}" dt="2021-07-18T16:34:44.180" v="7563" actId="2711"/>
          <ac:spMkLst>
            <pc:docMk/>
            <pc:sldMk cId="1691604744" sldId="1723"/>
            <ac:spMk id="127" creationId="{9A383336-DAF3-4356-BC47-D508D39DE957}"/>
          </ac:spMkLst>
        </pc:spChg>
        <pc:picChg chg="mod">
          <ac:chgData name="Yash Ratanpal" userId="5db668b1-93e7-4c08-9786-4ed81315a653" providerId="ADAL" clId="{3F7A7787-00CA-42A0-97CD-637349527123}" dt="2021-07-18T15:15:38.984" v="4891" actId="1076"/>
          <ac:picMkLst>
            <pc:docMk/>
            <pc:sldMk cId="1691604744" sldId="1723"/>
            <ac:picMk id="89" creationId="{3429785C-A1D7-42DE-A966-B7400C173593}"/>
          </ac:picMkLst>
        </pc:picChg>
      </pc:sldChg>
      <pc:sldChg chg="addSp delSp modSp add mod">
        <pc:chgData name="Yash Ratanpal" userId="5db668b1-93e7-4c08-9786-4ed81315a653" providerId="ADAL" clId="{3F7A7787-00CA-42A0-97CD-637349527123}" dt="2021-07-18T16:35:25.047" v="7579" actId="108"/>
        <pc:sldMkLst>
          <pc:docMk/>
          <pc:sldMk cId="2464015565" sldId="1724"/>
        </pc:sldMkLst>
        <pc:spChg chg="mod">
          <ac:chgData name="Yash Ratanpal" userId="5db668b1-93e7-4c08-9786-4ed81315a653" providerId="ADAL" clId="{3F7A7787-00CA-42A0-97CD-637349527123}" dt="2021-07-18T15:51:25.192" v="6542" actId="14100"/>
          <ac:spMkLst>
            <pc:docMk/>
            <pc:sldMk cId="2464015565" sldId="1724"/>
            <ac:spMk id="3" creationId="{00000000-0000-0000-0000-000000000000}"/>
          </ac:spMkLst>
        </pc:spChg>
        <pc:spChg chg="del">
          <ac:chgData name="Yash Ratanpal" userId="5db668b1-93e7-4c08-9786-4ed81315a653" providerId="ADAL" clId="{3F7A7787-00CA-42A0-97CD-637349527123}" dt="2021-07-18T15:19:15.309" v="4929" actId="478"/>
          <ac:spMkLst>
            <pc:docMk/>
            <pc:sldMk cId="2464015565" sldId="1724"/>
            <ac:spMk id="69" creationId="{819A3F10-1A93-40E6-BFD0-D9D8FBFA6BED}"/>
          </ac:spMkLst>
        </pc:spChg>
        <pc:spChg chg="mod">
          <ac:chgData name="Yash Ratanpal" userId="5db668b1-93e7-4c08-9786-4ed81315a653" providerId="ADAL" clId="{3F7A7787-00CA-42A0-97CD-637349527123}" dt="2021-07-18T16:34:59.619" v="7565" actId="2711"/>
          <ac:spMkLst>
            <pc:docMk/>
            <pc:sldMk cId="2464015565" sldId="1724"/>
            <ac:spMk id="70" creationId="{F2F5739E-3215-4BE8-9CD1-51A7B0CE9919}"/>
          </ac:spMkLst>
        </pc:spChg>
        <pc:spChg chg="mod">
          <ac:chgData name="Yash Ratanpal" userId="5db668b1-93e7-4c08-9786-4ed81315a653" providerId="ADAL" clId="{3F7A7787-00CA-42A0-97CD-637349527123}" dt="2021-07-18T16:34:59.619" v="7565" actId="2711"/>
          <ac:spMkLst>
            <pc:docMk/>
            <pc:sldMk cId="2464015565" sldId="1724"/>
            <ac:spMk id="71" creationId="{B0D97D00-9D0E-4890-878D-F1A2AFD3322F}"/>
          </ac:spMkLst>
        </pc:spChg>
        <pc:spChg chg="add del mod">
          <ac:chgData name="Yash Ratanpal" userId="5db668b1-93e7-4c08-9786-4ed81315a653" providerId="ADAL" clId="{3F7A7787-00CA-42A0-97CD-637349527123}" dt="2021-07-18T15:23:05.552" v="5046" actId="478"/>
          <ac:spMkLst>
            <pc:docMk/>
            <pc:sldMk cId="2464015565" sldId="1724"/>
            <ac:spMk id="72" creationId="{682EC71C-FC60-4CDF-AEA3-AD200D56F286}"/>
          </ac:spMkLst>
        </pc:spChg>
        <pc:spChg chg="add del mod">
          <ac:chgData name="Yash Ratanpal" userId="5db668b1-93e7-4c08-9786-4ed81315a653" providerId="ADAL" clId="{3F7A7787-00CA-42A0-97CD-637349527123}" dt="2021-07-18T15:23:05.552" v="5046" actId="478"/>
          <ac:spMkLst>
            <pc:docMk/>
            <pc:sldMk cId="2464015565" sldId="1724"/>
            <ac:spMk id="73" creationId="{4D7ED94B-9962-4266-B771-0C4F6F013945}"/>
          </ac:spMkLst>
        </pc:spChg>
        <pc:spChg chg="add del mod">
          <ac:chgData name="Yash Ratanpal" userId="5db668b1-93e7-4c08-9786-4ed81315a653" providerId="ADAL" clId="{3F7A7787-00CA-42A0-97CD-637349527123}" dt="2021-07-18T15:23:05.552" v="5046" actId="478"/>
          <ac:spMkLst>
            <pc:docMk/>
            <pc:sldMk cId="2464015565" sldId="1724"/>
            <ac:spMk id="74" creationId="{D37A286A-80CA-4CD8-AC07-97842C11DAE6}"/>
          </ac:spMkLst>
        </pc:spChg>
        <pc:spChg chg="add mod">
          <ac:chgData name="Yash Ratanpal" userId="5db668b1-93e7-4c08-9786-4ed81315a653" providerId="ADAL" clId="{3F7A7787-00CA-42A0-97CD-637349527123}" dt="2021-07-18T16:35:21.674" v="7578" actId="108"/>
          <ac:spMkLst>
            <pc:docMk/>
            <pc:sldMk cId="2464015565" sldId="1724"/>
            <ac:spMk id="75" creationId="{BB865211-CE38-478D-B15E-AF84F8081E4F}"/>
          </ac:spMkLst>
        </pc:spChg>
        <pc:spChg chg="add mod">
          <ac:chgData name="Yash Ratanpal" userId="5db668b1-93e7-4c08-9786-4ed81315a653" providerId="ADAL" clId="{3F7A7787-00CA-42A0-97CD-637349527123}" dt="2021-07-18T16:35:20.620" v="7577" actId="108"/>
          <ac:spMkLst>
            <pc:docMk/>
            <pc:sldMk cId="2464015565" sldId="1724"/>
            <ac:spMk id="76" creationId="{92D203AC-1BDE-4635-9E47-CFF1231C9712}"/>
          </ac:spMkLst>
        </pc:spChg>
        <pc:spChg chg="add mod">
          <ac:chgData name="Yash Ratanpal" userId="5db668b1-93e7-4c08-9786-4ed81315a653" providerId="ADAL" clId="{3F7A7787-00CA-42A0-97CD-637349527123}" dt="2021-07-18T16:35:25.047" v="7579" actId="108"/>
          <ac:spMkLst>
            <pc:docMk/>
            <pc:sldMk cId="2464015565" sldId="1724"/>
            <ac:spMk id="77" creationId="{EE46CD56-FB4D-4D4E-A145-08A7C0B80CAD}"/>
          </ac:spMkLst>
        </pc:spChg>
        <pc:spChg chg="mod">
          <ac:chgData name="Yash Ratanpal" userId="5db668b1-93e7-4c08-9786-4ed81315a653" providerId="ADAL" clId="{3F7A7787-00CA-42A0-97CD-637349527123}" dt="2021-07-18T16:34:59.619" v="7565" actId="2711"/>
          <ac:spMkLst>
            <pc:docMk/>
            <pc:sldMk cId="2464015565" sldId="1724"/>
            <ac:spMk id="79" creationId="{AECB069F-A9E2-4C87-B8DD-3AED5E1E887C}"/>
          </ac:spMkLst>
        </pc:spChg>
        <pc:spChg chg="mod">
          <ac:chgData name="Yash Ratanpal" userId="5db668b1-93e7-4c08-9786-4ed81315a653" providerId="ADAL" clId="{3F7A7787-00CA-42A0-97CD-637349527123}" dt="2021-07-18T16:34:59.619" v="7565" actId="2711"/>
          <ac:spMkLst>
            <pc:docMk/>
            <pc:sldMk cId="2464015565" sldId="1724"/>
            <ac:spMk id="80" creationId="{FEF3B6CA-0AE7-403C-B2F3-B5D178D263D9}"/>
          </ac:spMkLst>
        </pc:spChg>
        <pc:spChg chg="mod">
          <ac:chgData name="Yash Ratanpal" userId="5db668b1-93e7-4c08-9786-4ed81315a653" providerId="ADAL" clId="{3F7A7787-00CA-42A0-97CD-637349527123}" dt="2021-07-18T16:34:59.619" v="7565" actId="2711"/>
          <ac:spMkLst>
            <pc:docMk/>
            <pc:sldMk cId="2464015565" sldId="1724"/>
            <ac:spMk id="82" creationId="{CAF00323-AC30-4B8F-9E67-561232F8F711}"/>
          </ac:spMkLst>
        </pc:spChg>
        <pc:spChg chg="mod">
          <ac:chgData name="Yash Ratanpal" userId="5db668b1-93e7-4c08-9786-4ed81315a653" providerId="ADAL" clId="{3F7A7787-00CA-42A0-97CD-637349527123}" dt="2021-07-18T16:34:59.619" v="7565" actId="2711"/>
          <ac:spMkLst>
            <pc:docMk/>
            <pc:sldMk cId="2464015565" sldId="1724"/>
            <ac:spMk id="83" creationId="{4360C7BC-3B0C-4953-A7E8-9FBFF5712824}"/>
          </ac:spMkLst>
        </pc:spChg>
        <pc:spChg chg="mod topLvl">
          <ac:chgData name="Yash Ratanpal" userId="5db668b1-93e7-4c08-9786-4ed81315a653" providerId="ADAL" clId="{3F7A7787-00CA-42A0-97CD-637349527123}" dt="2021-07-18T16:35:12.930" v="7572" actId="404"/>
          <ac:spMkLst>
            <pc:docMk/>
            <pc:sldMk cId="2464015565" sldId="1724"/>
            <ac:spMk id="85" creationId="{0835D4CB-1B1D-44F1-AE8B-12236A3F9998}"/>
          </ac:spMkLst>
        </pc:spChg>
        <pc:spChg chg="mod topLvl">
          <ac:chgData name="Yash Ratanpal" userId="5db668b1-93e7-4c08-9786-4ed81315a653" providerId="ADAL" clId="{3F7A7787-00CA-42A0-97CD-637349527123}" dt="2021-07-18T16:35:15.181" v="7573" actId="108"/>
          <ac:spMkLst>
            <pc:docMk/>
            <pc:sldMk cId="2464015565" sldId="1724"/>
            <ac:spMk id="86" creationId="{52BA3AA5-68DF-4361-BD20-435C233529D2}"/>
          </ac:spMkLst>
        </pc:spChg>
        <pc:spChg chg="mod topLvl">
          <ac:chgData name="Yash Ratanpal" userId="5db668b1-93e7-4c08-9786-4ed81315a653" providerId="ADAL" clId="{3F7A7787-00CA-42A0-97CD-637349527123}" dt="2021-07-18T16:35:09.878" v="7568" actId="403"/>
          <ac:spMkLst>
            <pc:docMk/>
            <pc:sldMk cId="2464015565" sldId="1724"/>
            <ac:spMk id="87" creationId="{F2854168-6018-470F-859B-D526F1327964}"/>
          </ac:spMkLst>
        </pc:spChg>
        <pc:spChg chg="mod">
          <ac:chgData name="Yash Ratanpal" userId="5db668b1-93e7-4c08-9786-4ed81315a653" providerId="ADAL" clId="{3F7A7787-00CA-42A0-97CD-637349527123}" dt="2021-07-18T16:34:59.619" v="7565" actId="2711"/>
          <ac:spMkLst>
            <pc:docMk/>
            <pc:sldMk cId="2464015565" sldId="1724"/>
            <ac:spMk id="89" creationId="{0DD01D34-8BC9-4D31-A0A2-8C885F108E08}"/>
          </ac:spMkLst>
        </pc:spChg>
        <pc:spChg chg="mod">
          <ac:chgData name="Yash Ratanpal" userId="5db668b1-93e7-4c08-9786-4ed81315a653" providerId="ADAL" clId="{3F7A7787-00CA-42A0-97CD-637349527123}" dt="2021-07-18T16:34:59.619" v="7565" actId="2711"/>
          <ac:spMkLst>
            <pc:docMk/>
            <pc:sldMk cId="2464015565" sldId="1724"/>
            <ac:spMk id="90" creationId="{DD9EA35A-3E46-4EC1-BA4B-1674A18B92DD}"/>
          </ac:spMkLst>
        </pc:spChg>
        <pc:spChg chg="mod">
          <ac:chgData name="Yash Ratanpal" userId="5db668b1-93e7-4c08-9786-4ed81315a653" providerId="ADAL" clId="{3F7A7787-00CA-42A0-97CD-637349527123}" dt="2021-07-18T16:34:59.619" v="7565" actId="2711"/>
          <ac:spMkLst>
            <pc:docMk/>
            <pc:sldMk cId="2464015565" sldId="1724"/>
            <ac:spMk id="92" creationId="{F8BECB66-E418-42C8-AA7C-18CD9ABC9339}"/>
          </ac:spMkLst>
        </pc:spChg>
        <pc:spChg chg="mod">
          <ac:chgData name="Yash Ratanpal" userId="5db668b1-93e7-4c08-9786-4ed81315a653" providerId="ADAL" clId="{3F7A7787-00CA-42A0-97CD-637349527123}" dt="2021-07-18T16:34:59.619" v="7565" actId="2711"/>
          <ac:spMkLst>
            <pc:docMk/>
            <pc:sldMk cId="2464015565" sldId="1724"/>
            <ac:spMk id="93" creationId="{26F25064-334A-4ECE-B1B0-3115BBE34C27}"/>
          </ac:spMkLst>
        </pc:spChg>
        <pc:spChg chg="add mod">
          <ac:chgData name="Yash Ratanpal" userId="5db668b1-93e7-4c08-9786-4ed81315a653" providerId="ADAL" clId="{3F7A7787-00CA-42A0-97CD-637349527123}" dt="2021-07-18T16:35:18.232" v="7574" actId="108"/>
          <ac:spMkLst>
            <pc:docMk/>
            <pc:sldMk cId="2464015565" sldId="1724"/>
            <ac:spMk id="95" creationId="{3065046A-5868-484F-8150-AEFBCD54E689}"/>
          </ac:spMkLst>
        </pc:spChg>
        <pc:spChg chg="mod">
          <ac:chgData name="Yash Ratanpal" userId="5db668b1-93e7-4c08-9786-4ed81315a653" providerId="ADAL" clId="{3F7A7787-00CA-42A0-97CD-637349527123}" dt="2021-07-18T16:34:59.619" v="7565" actId="2711"/>
          <ac:spMkLst>
            <pc:docMk/>
            <pc:sldMk cId="2464015565" sldId="1724"/>
            <ac:spMk id="97" creationId="{18A045A4-8B56-44C8-B814-723CE4F4D0B3}"/>
          </ac:spMkLst>
        </pc:spChg>
        <pc:spChg chg="mod">
          <ac:chgData name="Yash Ratanpal" userId="5db668b1-93e7-4c08-9786-4ed81315a653" providerId="ADAL" clId="{3F7A7787-00CA-42A0-97CD-637349527123}" dt="2021-07-18T16:34:59.619" v="7565" actId="2711"/>
          <ac:spMkLst>
            <pc:docMk/>
            <pc:sldMk cId="2464015565" sldId="1724"/>
            <ac:spMk id="98" creationId="{5D89CD45-789E-489D-9091-DF07DD497FBB}"/>
          </ac:spMkLst>
        </pc:spChg>
        <pc:spChg chg="add mod">
          <ac:chgData name="Yash Ratanpal" userId="5db668b1-93e7-4c08-9786-4ed81315a653" providerId="ADAL" clId="{3F7A7787-00CA-42A0-97CD-637349527123}" dt="2021-07-18T16:34:59.619" v="7565" actId="2711"/>
          <ac:spMkLst>
            <pc:docMk/>
            <pc:sldMk cId="2464015565" sldId="1724"/>
            <ac:spMk id="102" creationId="{1B488D3B-8751-4AAF-A672-E1366F9916F1}"/>
          </ac:spMkLst>
        </pc:spChg>
        <pc:spChg chg="add mod">
          <ac:chgData name="Yash Ratanpal" userId="5db668b1-93e7-4c08-9786-4ed81315a653" providerId="ADAL" clId="{3F7A7787-00CA-42A0-97CD-637349527123}" dt="2021-07-18T16:34:59.619" v="7565" actId="2711"/>
          <ac:spMkLst>
            <pc:docMk/>
            <pc:sldMk cId="2464015565" sldId="1724"/>
            <ac:spMk id="104" creationId="{7EC01421-E4F2-404F-BCD5-93BD4809D61A}"/>
          </ac:spMkLst>
        </pc:spChg>
        <pc:spChg chg="add mod">
          <ac:chgData name="Yash Ratanpal" userId="5db668b1-93e7-4c08-9786-4ed81315a653" providerId="ADAL" clId="{3F7A7787-00CA-42A0-97CD-637349527123}" dt="2021-07-18T16:34:59.619" v="7565" actId="2711"/>
          <ac:spMkLst>
            <pc:docMk/>
            <pc:sldMk cId="2464015565" sldId="1724"/>
            <ac:spMk id="105" creationId="{DFF1CE33-1EC6-4FD4-BF8A-9EFFD54D8C07}"/>
          </ac:spMkLst>
        </pc:spChg>
        <pc:grpChg chg="del">
          <ac:chgData name="Yash Ratanpal" userId="5db668b1-93e7-4c08-9786-4ed81315a653" providerId="ADAL" clId="{3F7A7787-00CA-42A0-97CD-637349527123}" dt="2021-07-18T15:19:15.309" v="4929" actId="478"/>
          <ac:grpSpMkLst>
            <pc:docMk/>
            <pc:sldMk cId="2464015565" sldId="1724"/>
            <ac:grpSpMk id="4" creationId="{EA00DBC6-6C4A-4CEC-88FF-62C5530F1D29}"/>
          </ac:grpSpMkLst>
        </pc:grpChg>
        <pc:grpChg chg="add mod">
          <ac:chgData name="Yash Ratanpal" userId="5db668b1-93e7-4c08-9786-4ed81315a653" providerId="ADAL" clId="{3F7A7787-00CA-42A0-97CD-637349527123}" dt="2021-07-18T15:34:42.977" v="5757" actId="164"/>
          <ac:grpSpMkLst>
            <pc:docMk/>
            <pc:sldMk cId="2464015565" sldId="1724"/>
            <ac:grpSpMk id="5" creationId="{29C063F2-6DE7-4929-A742-688026011028}"/>
          </ac:grpSpMkLst>
        </pc:grpChg>
        <pc:grpChg chg="add del mod">
          <ac:chgData name="Yash Ratanpal" userId="5db668b1-93e7-4c08-9786-4ed81315a653" providerId="ADAL" clId="{3F7A7787-00CA-42A0-97CD-637349527123}" dt="2021-07-18T15:33:47.098" v="5678" actId="165"/>
          <ac:grpSpMkLst>
            <pc:docMk/>
            <pc:sldMk cId="2464015565" sldId="1724"/>
            <ac:grpSpMk id="6" creationId="{1794FEA3-274D-46E7-8D62-297A9C2F8B25}"/>
          </ac:grpSpMkLst>
        </pc:grpChg>
        <pc:grpChg chg="add mod">
          <ac:chgData name="Yash Ratanpal" userId="5db668b1-93e7-4c08-9786-4ed81315a653" providerId="ADAL" clId="{3F7A7787-00CA-42A0-97CD-637349527123}" dt="2021-07-18T15:34:42.977" v="5757" actId="164"/>
          <ac:grpSpMkLst>
            <pc:docMk/>
            <pc:sldMk cId="2464015565" sldId="1724"/>
            <ac:grpSpMk id="7" creationId="{1E71C5F4-7D68-4D3B-A763-B2ED8AE864B1}"/>
          </ac:grpSpMkLst>
        </pc:grpChg>
        <pc:grpChg chg="add mod">
          <ac:chgData name="Yash Ratanpal" userId="5db668b1-93e7-4c08-9786-4ed81315a653" providerId="ADAL" clId="{3F7A7787-00CA-42A0-97CD-637349527123}" dt="2021-07-18T15:34:44.712" v="5758" actId="14100"/>
          <ac:grpSpMkLst>
            <pc:docMk/>
            <pc:sldMk cId="2464015565" sldId="1724"/>
            <ac:grpSpMk id="8" creationId="{342A4A9D-A632-4004-82F3-E3ADF8C597F1}"/>
          </ac:grpSpMkLst>
        </pc:grpChg>
        <pc:grpChg chg="add mod">
          <ac:chgData name="Yash Ratanpal" userId="5db668b1-93e7-4c08-9786-4ed81315a653" providerId="ADAL" clId="{3F7A7787-00CA-42A0-97CD-637349527123}" dt="2021-07-18T15:19:45.571" v="4932" actId="14100"/>
          <ac:grpSpMkLst>
            <pc:docMk/>
            <pc:sldMk cId="2464015565" sldId="1724"/>
            <ac:grpSpMk id="68" creationId="{26FCACDA-CA81-4B42-996D-72D189EF72E1}"/>
          </ac:grpSpMkLst>
        </pc:grpChg>
        <pc:grpChg chg="add mod">
          <ac:chgData name="Yash Ratanpal" userId="5db668b1-93e7-4c08-9786-4ed81315a653" providerId="ADAL" clId="{3F7A7787-00CA-42A0-97CD-637349527123}" dt="2021-07-18T15:34:42.977" v="5757" actId="164"/>
          <ac:grpSpMkLst>
            <pc:docMk/>
            <pc:sldMk cId="2464015565" sldId="1724"/>
            <ac:grpSpMk id="78" creationId="{E3D6B115-C715-4B60-8735-BE6999FEDB95}"/>
          </ac:grpSpMkLst>
        </pc:grpChg>
        <pc:grpChg chg="add mod">
          <ac:chgData name="Yash Ratanpal" userId="5db668b1-93e7-4c08-9786-4ed81315a653" providerId="ADAL" clId="{3F7A7787-00CA-42A0-97CD-637349527123}" dt="2021-07-18T15:34:42.977" v="5757" actId="164"/>
          <ac:grpSpMkLst>
            <pc:docMk/>
            <pc:sldMk cId="2464015565" sldId="1724"/>
            <ac:grpSpMk id="81" creationId="{BECC1806-E5E6-44FA-8FAE-85C56611CD4C}"/>
          </ac:grpSpMkLst>
        </pc:grpChg>
        <pc:grpChg chg="add del mod">
          <ac:chgData name="Yash Ratanpal" userId="5db668b1-93e7-4c08-9786-4ed81315a653" providerId="ADAL" clId="{3F7A7787-00CA-42A0-97CD-637349527123}" dt="2021-07-18T15:33:29.480" v="5673" actId="165"/>
          <ac:grpSpMkLst>
            <pc:docMk/>
            <pc:sldMk cId="2464015565" sldId="1724"/>
            <ac:grpSpMk id="84" creationId="{EE14F95C-1C0D-4D44-8442-66984ADDA26A}"/>
          </ac:grpSpMkLst>
        </pc:grpChg>
        <pc:grpChg chg="add mod topLvl">
          <ac:chgData name="Yash Ratanpal" userId="5db668b1-93e7-4c08-9786-4ed81315a653" providerId="ADAL" clId="{3F7A7787-00CA-42A0-97CD-637349527123}" dt="2021-07-18T15:33:56.347" v="5681" actId="164"/>
          <ac:grpSpMkLst>
            <pc:docMk/>
            <pc:sldMk cId="2464015565" sldId="1724"/>
            <ac:grpSpMk id="88" creationId="{1D77A51C-E0C3-44DD-A3C0-7F0388C89C0A}"/>
          </ac:grpSpMkLst>
        </pc:grpChg>
        <pc:grpChg chg="add del mod topLvl">
          <ac:chgData name="Yash Ratanpal" userId="5db668b1-93e7-4c08-9786-4ed81315a653" providerId="ADAL" clId="{3F7A7787-00CA-42A0-97CD-637349527123}" dt="2021-07-18T15:33:56.347" v="5681" actId="164"/>
          <ac:grpSpMkLst>
            <pc:docMk/>
            <pc:sldMk cId="2464015565" sldId="1724"/>
            <ac:grpSpMk id="91" creationId="{26CD9BFF-EC42-4D69-B35C-2E16894219FF}"/>
          </ac:grpSpMkLst>
        </pc:grpChg>
        <pc:grpChg chg="add mod">
          <ac:chgData name="Yash Ratanpal" userId="5db668b1-93e7-4c08-9786-4ed81315a653" providerId="ADAL" clId="{3F7A7787-00CA-42A0-97CD-637349527123}" dt="2021-07-18T15:33:56.347" v="5681" actId="164"/>
          <ac:grpSpMkLst>
            <pc:docMk/>
            <pc:sldMk cId="2464015565" sldId="1724"/>
            <ac:grpSpMk id="96" creationId="{80CEA22B-9675-4DDE-B453-3F5AAD628B2E}"/>
          </ac:grpSpMkLst>
        </pc:grpChg>
      </pc:sldChg>
      <pc:sldChg chg="addSp delSp modSp add mod ord">
        <pc:chgData name="Yash Ratanpal" userId="5db668b1-93e7-4c08-9786-4ed81315a653" providerId="ADAL" clId="{3F7A7787-00CA-42A0-97CD-637349527123}" dt="2021-07-18T16:46:56.387" v="7889"/>
        <pc:sldMkLst>
          <pc:docMk/>
          <pc:sldMk cId="31760108" sldId="1725"/>
        </pc:sldMkLst>
        <pc:spChg chg="mod">
          <ac:chgData name="Yash Ratanpal" userId="5db668b1-93e7-4c08-9786-4ed81315a653" providerId="ADAL" clId="{3F7A7787-00CA-42A0-97CD-637349527123}" dt="2021-07-18T15:52:12.320" v="6587" actId="20577"/>
          <ac:spMkLst>
            <pc:docMk/>
            <pc:sldMk cId="31760108" sldId="1725"/>
            <ac:spMk id="3" creationId="{00000000-0000-0000-0000-000000000000}"/>
          </ac:spMkLst>
        </pc:spChg>
        <pc:spChg chg="del mod topLvl">
          <ac:chgData name="Yash Ratanpal" userId="5db668b1-93e7-4c08-9786-4ed81315a653" providerId="ADAL" clId="{3F7A7787-00CA-42A0-97CD-637349527123}" dt="2021-07-18T16:01:48.355" v="6598" actId="478"/>
          <ac:spMkLst>
            <pc:docMk/>
            <pc:sldMk cId="31760108" sldId="1725"/>
            <ac:spMk id="36" creationId="{A6346F8F-2BC7-4451-A987-99FDAA61A137}"/>
          </ac:spMkLst>
        </pc:spChg>
        <pc:spChg chg="del mod topLvl">
          <ac:chgData name="Yash Ratanpal" userId="5db668b1-93e7-4c08-9786-4ed81315a653" providerId="ADAL" clId="{3F7A7787-00CA-42A0-97CD-637349527123}" dt="2021-07-18T16:01:48.355" v="6598" actId="478"/>
          <ac:spMkLst>
            <pc:docMk/>
            <pc:sldMk cId="31760108" sldId="1725"/>
            <ac:spMk id="40" creationId="{B0309396-0324-4054-80EE-DE64DBD72403}"/>
          </ac:spMkLst>
        </pc:spChg>
        <pc:spChg chg="del mod topLvl">
          <ac:chgData name="Yash Ratanpal" userId="5db668b1-93e7-4c08-9786-4ed81315a653" providerId="ADAL" clId="{3F7A7787-00CA-42A0-97CD-637349527123}" dt="2021-07-18T16:01:48.355" v="6598" actId="478"/>
          <ac:spMkLst>
            <pc:docMk/>
            <pc:sldMk cId="31760108" sldId="1725"/>
            <ac:spMk id="41" creationId="{4E0B5288-103A-4D7A-B845-F112197F1338}"/>
          </ac:spMkLst>
        </pc:spChg>
        <pc:spChg chg="mod">
          <ac:chgData name="Yash Ratanpal" userId="5db668b1-93e7-4c08-9786-4ed81315a653" providerId="ADAL" clId="{3F7A7787-00CA-42A0-97CD-637349527123}" dt="2021-07-18T16:01:31.330" v="6595" actId="165"/>
          <ac:spMkLst>
            <pc:docMk/>
            <pc:sldMk cId="31760108" sldId="1725"/>
            <ac:spMk id="42" creationId="{3C06B021-3182-46DD-BE8A-A0AA87ABDDE3}"/>
          </ac:spMkLst>
        </pc:spChg>
        <pc:spChg chg="mod">
          <ac:chgData name="Yash Ratanpal" userId="5db668b1-93e7-4c08-9786-4ed81315a653" providerId="ADAL" clId="{3F7A7787-00CA-42A0-97CD-637349527123}" dt="2021-07-18T16:01:31.330" v="6595" actId="165"/>
          <ac:spMkLst>
            <pc:docMk/>
            <pc:sldMk cId="31760108" sldId="1725"/>
            <ac:spMk id="43" creationId="{03AD2789-0A72-4205-9FF3-875C2FBF547B}"/>
          </ac:spMkLst>
        </pc:spChg>
        <pc:spChg chg="mod">
          <ac:chgData name="Yash Ratanpal" userId="5db668b1-93e7-4c08-9786-4ed81315a653" providerId="ADAL" clId="{3F7A7787-00CA-42A0-97CD-637349527123}" dt="2021-07-18T16:01:31.330" v="6595" actId="165"/>
          <ac:spMkLst>
            <pc:docMk/>
            <pc:sldMk cId="31760108" sldId="1725"/>
            <ac:spMk id="44" creationId="{0092F9AB-EAB2-4524-A7CA-260FD5377D3F}"/>
          </ac:spMkLst>
        </pc:spChg>
        <pc:spChg chg="mod">
          <ac:chgData name="Yash Ratanpal" userId="5db668b1-93e7-4c08-9786-4ed81315a653" providerId="ADAL" clId="{3F7A7787-00CA-42A0-97CD-637349527123}" dt="2021-07-18T16:01:31.330" v="6595" actId="165"/>
          <ac:spMkLst>
            <pc:docMk/>
            <pc:sldMk cId="31760108" sldId="1725"/>
            <ac:spMk id="45" creationId="{AD9BC095-3E31-4BAE-B8D9-71D7D11A43CE}"/>
          </ac:spMkLst>
        </pc:spChg>
        <pc:spChg chg="mod">
          <ac:chgData name="Yash Ratanpal" userId="5db668b1-93e7-4c08-9786-4ed81315a653" providerId="ADAL" clId="{3F7A7787-00CA-42A0-97CD-637349527123}" dt="2021-07-18T16:01:31.330" v="6595" actId="165"/>
          <ac:spMkLst>
            <pc:docMk/>
            <pc:sldMk cId="31760108" sldId="1725"/>
            <ac:spMk id="46" creationId="{E8E374EC-03E4-44AE-93B3-9ACCB001BBB9}"/>
          </ac:spMkLst>
        </pc:spChg>
        <pc:spChg chg="mod">
          <ac:chgData name="Yash Ratanpal" userId="5db668b1-93e7-4c08-9786-4ed81315a653" providerId="ADAL" clId="{3F7A7787-00CA-42A0-97CD-637349527123}" dt="2021-07-18T16:01:31.330" v="6595" actId="165"/>
          <ac:spMkLst>
            <pc:docMk/>
            <pc:sldMk cId="31760108" sldId="1725"/>
            <ac:spMk id="47" creationId="{6DEE42DC-883E-4259-A764-2934351059BA}"/>
          </ac:spMkLst>
        </pc:spChg>
        <pc:spChg chg="mod">
          <ac:chgData name="Yash Ratanpal" userId="5db668b1-93e7-4c08-9786-4ed81315a653" providerId="ADAL" clId="{3F7A7787-00CA-42A0-97CD-637349527123}" dt="2021-07-18T16:01:31.330" v="6595" actId="165"/>
          <ac:spMkLst>
            <pc:docMk/>
            <pc:sldMk cId="31760108" sldId="1725"/>
            <ac:spMk id="48" creationId="{C7D0E938-B1DB-42D4-8531-D2CEC94BC949}"/>
          </ac:spMkLst>
        </pc:spChg>
        <pc:spChg chg="mod">
          <ac:chgData name="Yash Ratanpal" userId="5db668b1-93e7-4c08-9786-4ed81315a653" providerId="ADAL" clId="{3F7A7787-00CA-42A0-97CD-637349527123}" dt="2021-07-18T16:01:31.330" v="6595" actId="165"/>
          <ac:spMkLst>
            <pc:docMk/>
            <pc:sldMk cId="31760108" sldId="1725"/>
            <ac:spMk id="49" creationId="{4286C847-19BE-4B22-BDAF-214AD406804B}"/>
          </ac:spMkLst>
        </pc:spChg>
        <pc:spChg chg="mod">
          <ac:chgData name="Yash Ratanpal" userId="5db668b1-93e7-4c08-9786-4ed81315a653" providerId="ADAL" clId="{3F7A7787-00CA-42A0-97CD-637349527123}" dt="2021-07-18T16:01:31.330" v="6595" actId="165"/>
          <ac:spMkLst>
            <pc:docMk/>
            <pc:sldMk cId="31760108" sldId="1725"/>
            <ac:spMk id="50" creationId="{410CA371-003B-4087-B183-A31AF107B23F}"/>
          </ac:spMkLst>
        </pc:spChg>
        <pc:spChg chg="mod">
          <ac:chgData name="Yash Ratanpal" userId="5db668b1-93e7-4c08-9786-4ed81315a653" providerId="ADAL" clId="{3F7A7787-00CA-42A0-97CD-637349527123}" dt="2021-07-18T16:01:31.330" v="6595" actId="165"/>
          <ac:spMkLst>
            <pc:docMk/>
            <pc:sldMk cId="31760108" sldId="1725"/>
            <ac:spMk id="51" creationId="{0CD97872-9087-4717-8928-F2A7F60CFA61}"/>
          </ac:spMkLst>
        </pc:spChg>
        <pc:spChg chg="mod">
          <ac:chgData name="Yash Ratanpal" userId="5db668b1-93e7-4c08-9786-4ed81315a653" providerId="ADAL" clId="{3F7A7787-00CA-42A0-97CD-637349527123}" dt="2021-07-18T16:01:31.330" v="6595" actId="165"/>
          <ac:spMkLst>
            <pc:docMk/>
            <pc:sldMk cId="31760108" sldId="1725"/>
            <ac:spMk id="52" creationId="{A03B77CA-06E6-4EE7-B1E9-97C443879C1E}"/>
          </ac:spMkLst>
        </pc:spChg>
        <pc:spChg chg="mod">
          <ac:chgData name="Yash Ratanpal" userId="5db668b1-93e7-4c08-9786-4ed81315a653" providerId="ADAL" clId="{3F7A7787-00CA-42A0-97CD-637349527123}" dt="2021-07-18T16:01:31.330" v="6595" actId="165"/>
          <ac:spMkLst>
            <pc:docMk/>
            <pc:sldMk cId="31760108" sldId="1725"/>
            <ac:spMk id="53" creationId="{6D373A9A-39A1-4465-AC3B-3E987B3C1D1E}"/>
          </ac:spMkLst>
        </pc:spChg>
        <pc:spChg chg="mod">
          <ac:chgData name="Yash Ratanpal" userId="5db668b1-93e7-4c08-9786-4ed81315a653" providerId="ADAL" clId="{3F7A7787-00CA-42A0-97CD-637349527123}" dt="2021-07-18T16:01:31.330" v="6595" actId="165"/>
          <ac:spMkLst>
            <pc:docMk/>
            <pc:sldMk cId="31760108" sldId="1725"/>
            <ac:spMk id="54" creationId="{2ACB8ED2-6D31-4938-9601-8449D35427CB}"/>
          </ac:spMkLst>
        </pc:spChg>
        <pc:spChg chg="mod">
          <ac:chgData name="Yash Ratanpal" userId="5db668b1-93e7-4c08-9786-4ed81315a653" providerId="ADAL" clId="{3F7A7787-00CA-42A0-97CD-637349527123}" dt="2021-07-18T16:01:31.330" v="6595" actId="165"/>
          <ac:spMkLst>
            <pc:docMk/>
            <pc:sldMk cId="31760108" sldId="1725"/>
            <ac:spMk id="55" creationId="{2003C316-BBF3-402F-BD8F-C94744809C10}"/>
          </ac:spMkLst>
        </pc:spChg>
        <pc:spChg chg="mod">
          <ac:chgData name="Yash Ratanpal" userId="5db668b1-93e7-4c08-9786-4ed81315a653" providerId="ADAL" clId="{3F7A7787-00CA-42A0-97CD-637349527123}" dt="2021-07-18T16:01:31.330" v="6595" actId="165"/>
          <ac:spMkLst>
            <pc:docMk/>
            <pc:sldMk cId="31760108" sldId="1725"/>
            <ac:spMk id="56" creationId="{016DB405-C05C-493A-A097-6A3B6A2E9303}"/>
          </ac:spMkLst>
        </pc:spChg>
        <pc:spChg chg="add del mod">
          <ac:chgData name="Yash Ratanpal" userId="5db668b1-93e7-4c08-9786-4ed81315a653" providerId="ADAL" clId="{3F7A7787-00CA-42A0-97CD-637349527123}" dt="2021-07-18T16:01:25.565" v="6593" actId="478"/>
          <ac:spMkLst>
            <pc:docMk/>
            <pc:sldMk cId="31760108" sldId="1725"/>
            <ac:spMk id="57" creationId="{01EF40A0-9EBC-494C-A5FC-43610DB102B4}"/>
          </ac:spMkLst>
        </pc:spChg>
        <pc:spChg chg="mod">
          <ac:chgData name="Yash Ratanpal" userId="5db668b1-93e7-4c08-9786-4ed81315a653" providerId="ADAL" clId="{3F7A7787-00CA-42A0-97CD-637349527123}" dt="2021-07-18T15:55:09.890" v="6589"/>
          <ac:spMkLst>
            <pc:docMk/>
            <pc:sldMk cId="31760108" sldId="1725"/>
            <ac:spMk id="60" creationId="{57B2524B-F1C6-484C-8CF4-93AA9FC0A89C}"/>
          </ac:spMkLst>
        </pc:spChg>
        <pc:spChg chg="mod">
          <ac:chgData name="Yash Ratanpal" userId="5db668b1-93e7-4c08-9786-4ed81315a653" providerId="ADAL" clId="{3F7A7787-00CA-42A0-97CD-637349527123}" dt="2021-07-18T15:55:09.890" v="6589"/>
          <ac:spMkLst>
            <pc:docMk/>
            <pc:sldMk cId="31760108" sldId="1725"/>
            <ac:spMk id="61" creationId="{AF2EF786-7B75-48EB-BA73-453F4044A06E}"/>
          </ac:spMkLst>
        </pc:spChg>
        <pc:spChg chg="mod">
          <ac:chgData name="Yash Ratanpal" userId="5db668b1-93e7-4c08-9786-4ed81315a653" providerId="ADAL" clId="{3F7A7787-00CA-42A0-97CD-637349527123}" dt="2021-07-18T15:55:09.890" v="6589"/>
          <ac:spMkLst>
            <pc:docMk/>
            <pc:sldMk cId="31760108" sldId="1725"/>
            <ac:spMk id="62" creationId="{BA3DDE8F-31A0-43DE-B6A5-7E09AA87D9FB}"/>
          </ac:spMkLst>
        </pc:spChg>
        <pc:spChg chg="mod">
          <ac:chgData name="Yash Ratanpal" userId="5db668b1-93e7-4c08-9786-4ed81315a653" providerId="ADAL" clId="{3F7A7787-00CA-42A0-97CD-637349527123}" dt="2021-07-18T15:55:09.890" v="6589"/>
          <ac:spMkLst>
            <pc:docMk/>
            <pc:sldMk cId="31760108" sldId="1725"/>
            <ac:spMk id="63" creationId="{4535C969-B434-42CD-8FDC-DEC7F3563EB8}"/>
          </ac:spMkLst>
        </pc:spChg>
        <pc:spChg chg="mod">
          <ac:chgData name="Yash Ratanpal" userId="5db668b1-93e7-4c08-9786-4ed81315a653" providerId="ADAL" clId="{3F7A7787-00CA-42A0-97CD-637349527123}" dt="2021-07-18T15:55:09.890" v="6589"/>
          <ac:spMkLst>
            <pc:docMk/>
            <pc:sldMk cId="31760108" sldId="1725"/>
            <ac:spMk id="64" creationId="{03CEA788-40EB-4A1D-AA0E-2152C7BE233B}"/>
          </ac:spMkLst>
        </pc:spChg>
        <pc:spChg chg="mod">
          <ac:chgData name="Yash Ratanpal" userId="5db668b1-93e7-4c08-9786-4ed81315a653" providerId="ADAL" clId="{3F7A7787-00CA-42A0-97CD-637349527123}" dt="2021-07-18T15:55:09.890" v="6589"/>
          <ac:spMkLst>
            <pc:docMk/>
            <pc:sldMk cId="31760108" sldId="1725"/>
            <ac:spMk id="65" creationId="{A2C4C565-2D8C-4E90-9613-A4FEC4602D58}"/>
          </ac:spMkLst>
        </pc:spChg>
        <pc:spChg chg="add del mod">
          <ac:chgData name="Yash Ratanpal" userId="5db668b1-93e7-4c08-9786-4ed81315a653" providerId="ADAL" clId="{3F7A7787-00CA-42A0-97CD-637349527123}" dt="2021-07-18T16:01:54.991" v="6601" actId="478"/>
          <ac:spMkLst>
            <pc:docMk/>
            <pc:sldMk cId="31760108" sldId="1725"/>
            <ac:spMk id="66" creationId="{696B290E-D7E6-4392-B0AE-C24DAF4067C1}"/>
          </ac:spMkLst>
        </pc:spChg>
        <pc:spChg chg="add mod topLvl">
          <ac:chgData name="Yash Ratanpal" userId="5db668b1-93e7-4c08-9786-4ed81315a653" providerId="ADAL" clId="{3F7A7787-00CA-42A0-97CD-637349527123}" dt="2021-07-18T16:33:23.456" v="7533" actId="164"/>
          <ac:spMkLst>
            <pc:docMk/>
            <pc:sldMk cId="31760108" sldId="1725"/>
            <ac:spMk id="67" creationId="{25370BD6-8939-4C02-B583-D3036DC6852E}"/>
          </ac:spMkLst>
        </pc:spChg>
        <pc:spChg chg="add mod topLvl">
          <ac:chgData name="Yash Ratanpal" userId="5db668b1-93e7-4c08-9786-4ed81315a653" providerId="ADAL" clId="{3F7A7787-00CA-42A0-97CD-637349527123}" dt="2021-07-18T16:33:23.456" v="7533" actId="164"/>
          <ac:spMkLst>
            <pc:docMk/>
            <pc:sldMk cId="31760108" sldId="1725"/>
            <ac:spMk id="69" creationId="{E9B90832-5753-4BC4-94AE-8D62BF034EF7}"/>
          </ac:spMkLst>
        </pc:spChg>
        <pc:spChg chg="mod">
          <ac:chgData name="Yash Ratanpal" userId="5db668b1-93e7-4c08-9786-4ed81315a653" providerId="ADAL" clId="{3F7A7787-00CA-42A0-97CD-637349527123}" dt="2021-07-18T16:33:23.456" v="7533" actId="164"/>
          <ac:spMkLst>
            <pc:docMk/>
            <pc:sldMk cId="31760108" sldId="1725"/>
            <ac:spMk id="73" creationId="{8FC56866-1A75-4DAC-88AD-F15CB15CFF28}"/>
          </ac:spMkLst>
        </pc:spChg>
        <pc:spChg chg="mod">
          <ac:chgData name="Yash Ratanpal" userId="5db668b1-93e7-4c08-9786-4ed81315a653" providerId="ADAL" clId="{3F7A7787-00CA-42A0-97CD-637349527123}" dt="2021-07-18T16:33:23.456" v="7533" actId="164"/>
          <ac:spMkLst>
            <pc:docMk/>
            <pc:sldMk cId="31760108" sldId="1725"/>
            <ac:spMk id="74" creationId="{CB78F1BC-AE78-467D-9824-DDCC423B680C}"/>
          </ac:spMkLst>
        </pc:spChg>
        <pc:spChg chg="mod">
          <ac:chgData name="Yash Ratanpal" userId="5db668b1-93e7-4c08-9786-4ed81315a653" providerId="ADAL" clId="{3F7A7787-00CA-42A0-97CD-637349527123}" dt="2021-07-18T16:33:23.456" v="7533" actId="164"/>
          <ac:spMkLst>
            <pc:docMk/>
            <pc:sldMk cId="31760108" sldId="1725"/>
            <ac:spMk id="84" creationId="{8B759968-B908-4AD9-A2E4-684D49EA16E7}"/>
          </ac:spMkLst>
        </pc:spChg>
        <pc:spChg chg="mod">
          <ac:chgData name="Yash Ratanpal" userId="5db668b1-93e7-4c08-9786-4ed81315a653" providerId="ADAL" clId="{3F7A7787-00CA-42A0-97CD-637349527123}" dt="2021-07-18T16:33:23.456" v="7533" actId="164"/>
          <ac:spMkLst>
            <pc:docMk/>
            <pc:sldMk cId="31760108" sldId="1725"/>
            <ac:spMk id="94" creationId="{990D6565-C0D5-4E86-A619-C51923E83D78}"/>
          </ac:spMkLst>
        </pc:spChg>
        <pc:spChg chg="mod">
          <ac:chgData name="Yash Ratanpal" userId="5db668b1-93e7-4c08-9786-4ed81315a653" providerId="ADAL" clId="{3F7A7787-00CA-42A0-97CD-637349527123}" dt="2021-07-18T16:33:23.456" v="7533" actId="164"/>
          <ac:spMkLst>
            <pc:docMk/>
            <pc:sldMk cId="31760108" sldId="1725"/>
            <ac:spMk id="99" creationId="{64E3F529-20BD-47CF-8F68-320D479B9F89}"/>
          </ac:spMkLst>
        </pc:spChg>
        <pc:spChg chg="mod">
          <ac:chgData name="Yash Ratanpal" userId="5db668b1-93e7-4c08-9786-4ed81315a653" providerId="ADAL" clId="{3F7A7787-00CA-42A0-97CD-637349527123}" dt="2021-07-18T16:10:00.371" v="6859" actId="165"/>
          <ac:spMkLst>
            <pc:docMk/>
            <pc:sldMk cId="31760108" sldId="1725"/>
            <ac:spMk id="101" creationId="{2EA09D60-B79F-4105-9813-CBDBD797A2EA}"/>
          </ac:spMkLst>
        </pc:spChg>
        <pc:spChg chg="del">
          <ac:chgData name="Yash Ratanpal" userId="5db668b1-93e7-4c08-9786-4ed81315a653" providerId="ADAL" clId="{3F7A7787-00CA-42A0-97CD-637349527123}" dt="2021-07-18T15:52:18.021" v="6588" actId="478"/>
          <ac:spMkLst>
            <pc:docMk/>
            <pc:sldMk cId="31760108" sldId="1725"/>
            <ac:spMk id="102" creationId="{1B488D3B-8751-4AAF-A672-E1366F9916F1}"/>
          </ac:spMkLst>
        </pc:spChg>
        <pc:spChg chg="mod">
          <ac:chgData name="Yash Ratanpal" userId="5db668b1-93e7-4c08-9786-4ed81315a653" providerId="ADAL" clId="{3F7A7787-00CA-42A0-97CD-637349527123}" dt="2021-07-18T16:10:00.371" v="6859" actId="165"/>
          <ac:spMkLst>
            <pc:docMk/>
            <pc:sldMk cId="31760108" sldId="1725"/>
            <ac:spMk id="103" creationId="{82379188-3C6E-41CE-BBC8-D57819D07EB9}"/>
          </ac:spMkLst>
        </pc:spChg>
        <pc:spChg chg="del">
          <ac:chgData name="Yash Ratanpal" userId="5db668b1-93e7-4c08-9786-4ed81315a653" providerId="ADAL" clId="{3F7A7787-00CA-42A0-97CD-637349527123}" dt="2021-07-18T15:52:18.021" v="6588" actId="478"/>
          <ac:spMkLst>
            <pc:docMk/>
            <pc:sldMk cId="31760108" sldId="1725"/>
            <ac:spMk id="104" creationId="{7EC01421-E4F2-404F-BCD5-93BD4809D61A}"/>
          </ac:spMkLst>
        </pc:spChg>
        <pc:spChg chg="del">
          <ac:chgData name="Yash Ratanpal" userId="5db668b1-93e7-4c08-9786-4ed81315a653" providerId="ADAL" clId="{3F7A7787-00CA-42A0-97CD-637349527123}" dt="2021-07-18T15:52:18.021" v="6588" actId="478"/>
          <ac:spMkLst>
            <pc:docMk/>
            <pc:sldMk cId="31760108" sldId="1725"/>
            <ac:spMk id="105" creationId="{DFF1CE33-1EC6-4FD4-BF8A-9EFFD54D8C07}"/>
          </ac:spMkLst>
        </pc:spChg>
        <pc:spChg chg="mod">
          <ac:chgData name="Yash Ratanpal" userId="5db668b1-93e7-4c08-9786-4ed81315a653" providerId="ADAL" clId="{3F7A7787-00CA-42A0-97CD-637349527123}" dt="2021-07-18T16:10:00.371" v="6859" actId="165"/>
          <ac:spMkLst>
            <pc:docMk/>
            <pc:sldMk cId="31760108" sldId="1725"/>
            <ac:spMk id="106" creationId="{148DE2B2-8D8D-44F1-8861-BD2F30AF8E18}"/>
          </ac:spMkLst>
        </pc:spChg>
        <pc:spChg chg="mod">
          <ac:chgData name="Yash Ratanpal" userId="5db668b1-93e7-4c08-9786-4ed81315a653" providerId="ADAL" clId="{3F7A7787-00CA-42A0-97CD-637349527123}" dt="2021-07-18T16:10:00.371" v="6859" actId="165"/>
          <ac:spMkLst>
            <pc:docMk/>
            <pc:sldMk cId="31760108" sldId="1725"/>
            <ac:spMk id="107" creationId="{7BED5A6C-AC12-47AE-96B5-4F8690EAAA93}"/>
          </ac:spMkLst>
        </pc:spChg>
        <pc:spChg chg="mod">
          <ac:chgData name="Yash Ratanpal" userId="5db668b1-93e7-4c08-9786-4ed81315a653" providerId="ADAL" clId="{3F7A7787-00CA-42A0-97CD-637349527123}" dt="2021-07-18T16:10:00.371" v="6859" actId="165"/>
          <ac:spMkLst>
            <pc:docMk/>
            <pc:sldMk cId="31760108" sldId="1725"/>
            <ac:spMk id="108" creationId="{AFB8C392-453F-44F0-9008-56A2DB256BBB}"/>
          </ac:spMkLst>
        </pc:spChg>
        <pc:spChg chg="mod">
          <ac:chgData name="Yash Ratanpal" userId="5db668b1-93e7-4c08-9786-4ed81315a653" providerId="ADAL" clId="{3F7A7787-00CA-42A0-97CD-637349527123}" dt="2021-07-18T16:10:00.371" v="6859" actId="165"/>
          <ac:spMkLst>
            <pc:docMk/>
            <pc:sldMk cId="31760108" sldId="1725"/>
            <ac:spMk id="110" creationId="{1AFDDF40-C0AB-49C2-9E91-F8AA973334F0}"/>
          </ac:spMkLst>
        </pc:spChg>
        <pc:spChg chg="mod">
          <ac:chgData name="Yash Ratanpal" userId="5db668b1-93e7-4c08-9786-4ed81315a653" providerId="ADAL" clId="{3F7A7787-00CA-42A0-97CD-637349527123}" dt="2021-07-18T16:10:00.371" v="6859" actId="165"/>
          <ac:spMkLst>
            <pc:docMk/>
            <pc:sldMk cId="31760108" sldId="1725"/>
            <ac:spMk id="111" creationId="{C46B3C2E-8067-4A84-AE3D-3D3172A4A63B}"/>
          </ac:spMkLst>
        </pc:spChg>
        <pc:spChg chg="mod">
          <ac:chgData name="Yash Ratanpal" userId="5db668b1-93e7-4c08-9786-4ed81315a653" providerId="ADAL" clId="{3F7A7787-00CA-42A0-97CD-637349527123}" dt="2021-07-18T16:10:00.371" v="6859" actId="165"/>
          <ac:spMkLst>
            <pc:docMk/>
            <pc:sldMk cId="31760108" sldId="1725"/>
            <ac:spMk id="112" creationId="{AB77BAE5-D18D-4ECE-A677-269D27775EC1}"/>
          </ac:spMkLst>
        </pc:spChg>
        <pc:spChg chg="mod">
          <ac:chgData name="Yash Ratanpal" userId="5db668b1-93e7-4c08-9786-4ed81315a653" providerId="ADAL" clId="{3F7A7787-00CA-42A0-97CD-637349527123}" dt="2021-07-18T16:10:00.371" v="6859" actId="165"/>
          <ac:spMkLst>
            <pc:docMk/>
            <pc:sldMk cId="31760108" sldId="1725"/>
            <ac:spMk id="113" creationId="{C2DDA714-EE3B-4915-84A4-68C82ADC7B5F}"/>
          </ac:spMkLst>
        </pc:spChg>
        <pc:spChg chg="mod">
          <ac:chgData name="Yash Ratanpal" userId="5db668b1-93e7-4c08-9786-4ed81315a653" providerId="ADAL" clId="{3F7A7787-00CA-42A0-97CD-637349527123}" dt="2021-07-18T16:10:00.371" v="6859" actId="165"/>
          <ac:spMkLst>
            <pc:docMk/>
            <pc:sldMk cId="31760108" sldId="1725"/>
            <ac:spMk id="114" creationId="{04D4A7B3-4F94-42D1-A1F6-E994AF2E2EED}"/>
          </ac:spMkLst>
        </pc:spChg>
        <pc:spChg chg="add mod topLvl">
          <ac:chgData name="Yash Ratanpal" userId="5db668b1-93e7-4c08-9786-4ed81315a653" providerId="ADAL" clId="{3F7A7787-00CA-42A0-97CD-637349527123}" dt="2021-07-18T16:33:23.456" v="7533" actId="164"/>
          <ac:spMkLst>
            <pc:docMk/>
            <pc:sldMk cId="31760108" sldId="1725"/>
            <ac:spMk id="115" creationId="{4F26BE46-7C80-41EA-ADB4-4A23B6AE6F45}"/>
          </ac:spMkLst>
        </pc:spChg>
        <pc:spChg chg="add mod topLvl">
          <ac:chgData name="Yash Ratanpal" userId="5db668b1-93e7-4c08-9786-4ed81315a653" providerId="ADAL" clId="{3F7A7787-00CA-42A0-97CD-637349527123}" dt="2021-07-18T16:33:23.456" v="7533" actId="164"/>
          <ac:spMkLst>
            <pc:docMk/>
            <pc:sldMk cId="31760108" sldId="1725"/>
            <ac:spMk id="116" creationId="{1F023FFC-1411-4EED-B7AC-5B2E1AD3FB00}"/>
          </ac:spMkLst>
        </pc:spChg>
        <pc:spChg chg="mod">
          <ac:chgData name="Yash Ratanpal" userId="5db668b1-93e7-4c08-9786-4ed81315a653" providerId="ADAL" clId="{3F7A7787-00CA-42A0-97CD-637349527123}" dt="2021-07-18T16:04:39.239" v="6674" actId="165"/>
          <ac:spMkLst>
            <pc:docMk/>
            <pc:sldMk cId="31760108" sldId="1725"/>
            <ac:spMk id="118" creationId="{9C9CCAE9-122A-4C0E-AD96-D86666D764CC}"/>
          </ac:spMkLst>
        </pc:spChg>
        <pc:spChg chg="mod">
          <ac:chgData name="Yash Ratanpal" userId="5db668b1-93e7-4c08-9786-4ed81315a653" providerId="ADAL" clId="{3F7A7787-00CA-42A0-97CD-637349527123}" dt="2021-07-18T16:04:39.239" v="6674" actId="165"/>
          <ac:spMkLst>
            <pc:docMk/>
            <pc:sldMk cId="31760108" sldId="1725"/>
            <ac:spMk id="119" creationId="{0246712A-72ED-43FD-BA8A-702C99B35E51}"/>
          </ac:spMkLst>
        </pc:spChg>
        <pc:spChg chg="mod">
          <ac:chgData name="Yash Ratanpal" userId="5db668b1-93e7-4c08-9786-4ed81315a653" providerId="ADAL" clId="{3F7A7787-00CA-42A0-97CD-637349527123}" dt="2021-07-18T16:04:39.239" v="6674" actId="165"/>
          <ac:spMkLst>
            <pc:docMk/>
            <pc:sldMk cId="31760108" sldId="1725"/>
            <ac:spMk id="121" creationId="{ED65738E-672D-4743-8D6D-D4BF30D88170}"/>
          </ac:spMkLst>
        </pc:spChg>
        <pc:spChg chg="mod">
          <ac:chgData name="Yash Ratanpal" userId="5db668b1-93e7-4c08-9786-4ed81315a653" providerId="ADAL" clId="{3F7A7787-00CA-42A0-97CD-637349527123}" dt="2021-07-18T16:04:39.239" v="6674" actId="165"/>
          <ac:spMkLst>
            <pc:docMk/>
            <pc:sldMk cId="31760108" sldId="1725"/>
            <ac:spMk id="122" creationId="{8ADC6A1B-B8E1-447A-99C0-8CE67BA34F10}"/>
          </ac:spMkLst>
        </pc:spChg>
        <pc:spChg chg="mod">
          <ac:chgData name="Yash Ratanpal" userId="5db668b1-93e7-4c08-9786-4ed81315a653" providerId="ADAL" clId="{3F7A7787-00CA-42A0-97CD-637349527123}" dt="2021-07-18T16:04:39.239" v="6674" actId="165"/>
          <ac:spMkLst>
            <pc:docMk/>
            <pc:sldMk cId="31760108" sldId="1725"/>
            <ac:spMk id="125" creationId="{92644F77-1A50-4CDF-884D-C5411BACA76D}"/>
          </ac:spMkLst>
        </pc:spChg>
        <pc:spChg chg="mod">
          <ac:chgData name="Yash Ratanpal" userId="5db668b1-93e7-4c08-9786-4ed81315a653" providerId="ADAL" clId="{3F7A7787-00CA-42A0-97CD-637349527123}" dt="2021-07-18T16:04:39.239" v="6674" actId="165"/>
          <ac:spMkLst>
            <pc:docMk/>
            <pc:sldMk cId="31760108" sldId="1725"/>
            <ac:spMk id="126" creationId="{13F208E7-C32A-42DE-BBCB-C0CEFDECEED8}"/>
          </ac:spMkLst>
        </pc:spChg>
        <pc:spChg chg="mod">
          <ac:chgData name="Yash Ratanpal" userId="5db668b1-93e7-4c08-9786-4ed81315a653" providerId="ADAL" clId="{3F7A7787-00CA-42A0-97CD-637349527123}" dt="2021-07-18T16:04:39.239" v="6674" actId="165"/>
          <ac:spMkLst>
            <pc:docMk/>
            <pc:sldMk cId="31760108" sldId="1725"/>
            <ac:spMk id="127" creationId="{0A505D49-07E6-47F0-BD07-21E5C7FABD6F}"/>
          </ac:spMkLst>
        </pc:spChg>
        <pc:spChg chg="mod">
          <ac:chgData name="Yash Ratanpal" userId="5db668b1-93e7-4c08-9786-4ed81315a653" providerId="ADAL" clId="{3F7A7787-00CA-42A0-97CD-637349527123}" dt="2021-07-18T16:04:39.239" v="6674" actId="165"/>
          <ac:spMkLst>
            <pc:docMk/>
            <pc:sldMk cId="31760108" sldId="1725"/>
            <ac:spMk id="128" creationId="{48B2BA79-8A1A-4380-BEFE-BC79BB7CB708}"/>
          </ac:spMkLst>
        </pc:spChg>
        <pc:spChg chg="mod">
          <ac:chgData name="Yash Ratanpal" userId="5db668b1-93e7-4c08-9786-4ed81315a653" providerId="ADAL" clId="{3F7A7787-00CA-42A0-97CD-637349527123}" dt="2021-07-18T16:04:39.239" v="6674" actId="165"/>
          <ac:spMkLst>
            <pc:docMk/>
            <pc:sldMk cId="31760108" sldId="1725"/>
            <ac:spMk id="129" creationId="{33245766-CB90-41AE-94D8-49C07757CE99}"/>
          </ac:spMkLst>
        </pc:spChg>
        <pc:spChg chg="mod">
          <ac:chgData name="Yash Ratanpal" userId="5db668b1-93e7-4c08-9786-4ed81315a653" providerId="ADAL" clId="{3F7A7787-00CA-42A0-97CD-637349527123}" dt="2021-07-18T16:04:39.239" v="6674" actId="165"/>
          <ac:spMkLst>
            <pc:docMk/>
            <pc:sldMk cId="31760108" sldId="1725"/>
            <ac:spMk id="130" creationId="{C8A9BF1E-10C5-4EC3-A949-BA74871316B6}"/>
          </ac:spMkLst>
        </pc:spChg>
        <pc:spChg chg="mod">
          <ac:chgData name="Yash Ratanpal" userId="5db668b1-93e7-4c08-9786-4ed81315a653" providerId="ADAL" clId="{3F7A7787-00CA-42A0-97CD-637349527123}" dt="2021-07-18T16:04:39.239" v="6674" actId="165"/>
          <ac:spMkLst>
            <pc:docMk/>
            <pc:sldMk cId="31760108" sldId="1725"/>
            <ac:spMk id="131" creationId="{BE075160-A881-43E6-8DD7-F5568D3E009D}"/>
          </ac:spMkLst>
        </pc:spChg>
        <pc:spChg chg="mod">
          <ac:chgData name="Yash Ratanpal" userId="5db668b1-93e7-4c08-9786-4ed81315a653" providerId="ADAL" clId="{3F7A7787-00CA-42A0-97CD-637349527123}" dt="2021-07-18T16:04:39.239" v="6674" actId="165"/>
          <ac:spMkLst>
            <pc:docMk/>
            <pc:sldMk cId="31760108" sldId="1725"/>
            <ac:spMk id="132" creationId="{09494AF6-78C9-477F-BE20-7C1BD585F0A2}"/>
          </ac:spMkLst>
        </pc:spChg>
        <pc:spChg chg="mod">
          <ac:chgData name="Yash Ratanpal" userId="5db668b1-93e7-4c08-9786-4ed81315a653" providerId="ADAL" clId="{3F7A7787-00CA-42A0-97CD-637349527123}" dt="2021-07-18T16:04:39.239" v="6674" actId="165"/>
          <ac:spMkLst>
            <pc:docMk/>
            <pc:sldMk cId="31760108" sldId="1725"/>
            <ac:spMk id="133" creationId="{3F4F697A-E11D-42CF-9BBA-DE6D350491D8}"/>
          </ac:spMkLst>
        </pc:spChg>
        <pc:spChg chg="mod">
          <ac:chgData name="Yash Ratanpal" userId="5db668b1-93e7-4c08-9786-4ed81315a653" providerId="ADAL" clId="{3F7A7787-00CA-42A0-97CD-637349527123}" dt="2021-07-18T16:04:39.239" v="6674" actId="165"/>
          <ac:spMkLst>
            <pc:docMk/>
            <pc:sldMk cId="31760108" sldId="1725"/>
            <ac:spMk id="134" creationId="{683741ED-B80D-4005-BE8A-7438F07E3DF4}"/>
          </ac:spMkLst>
        </pc:spChg>
        <pc:spChg chg="mod">
          <ac:chgData name="Yash Ratanpal" userId="5db668b1-93e7-4c08-9786-4ed81315a653" providerId="ADAL" clId="{3F7A7787-00CA-42A0-97CD-637349527123}" dt="2021-07-18T16:04:39.239" v="6674" actId="165"/>
          <ac:spMkLst>
            <pc:docMk/>
            <pc:sldMk cId="31760108" sldId="1725"/>
            <ac:spMk id="135" creationId="{731E1142-909E-4A97-95BD-42624E8E857B}"/>
          </ac:spMkLst>
        </pc:spChg>
        <pc:spChg chg="mod">
          <ac:chgData name="Yash Ratanpal" userId="5db668b1-93e7-4c08-9786-4ed81315a653" providerId="ADAL" clId="{3F7A7787-00CA-42A0-97CD-637349527123}" dt="2021-07-18T16:04:39.239" v="6674" actId="165"/>
          <ac:spMkLst>
            <pc:docMk/>
            <pc:sldMk cId="31760108" sldId="1725"/>
            <ac:spMk id="136" creationId="{7BD41751-5D5E-42C5-B7B5-805D0BCC1560}"/>
          </ac:spMkLst>
        </pc:spChg>
        <pc:spChg chg="mod">
          <ac:chgData name="Yash Ratanpal" userId="5db668b1-93e7-4c08-9786-4ed81315a653" providerId="ADAL" clId="{3F7A7787-00CA-42A0-97CD-637349527123}" dt="2021-07-18T16:04:39.239" v="6674" actId="165"/>
          <ac:spMkLst>
            <pc:docMk/>
            <pc:sldMk cId="31760108" sldId="1725"/>
            <ac:spMk id="137" creationId="{4CF42253-5DA5-4574-AD01-C379D09041E5}"/>
          </ac:spMkLst>
        </pc:spChg>
        <pc:spChg chg="mod">
          <ac:chgData name="Yash Ratanpal" userId="5db668b1-93e7-4c08-9786-4ed81315a653" providerId="ADAL" clId="{3F7A7787-00CA-42A0-97CD-637349527123}" dt="2021-07-18T16:04:39.239" v="6674" actId="165"/>
          <ac:spMkLst>
            <pc:docMk/>
            <pc:sldMk cId="31760108" sldId="1725"/>
            <ac:spMk id="138" creationId="{AAC85090-0381-4A5A-A58F-9448F51105B0}"/>
          </ac:spMkLst>
        </pc:spChg>
        <pc:spChg chg="mod">
          <ac:chgData name="Yash Ratanpal" userId="5db668b1-93e7-4c08-9786-4ed81315a653" providerId="ADAL" clId="{3F7A7787-00CA-42A0-97CD-637349527123}" dt="2021-07-18T16:04:39.239" v="6674" actId="165"/>
          <ac:spMkLst>
            <pc:docMk/>
            <pc:sldMk cId="31760108" sldId="1725"/>
            <ac:spMk id="139" creationId="{215E296D-8727-4F4F-94E6-C805C5AD2861}"/>
          </ac:spMkLst>
        </pc:spChg>
        <pc:spChg chg="add del mod">
          <ac:chgData name="Yash Ratanpal" userId="5db668b1-93e7-4c08-9786-4ed81315a653" providerId="ADAL" clId="{3F7A7787-00CA-42A0-97CD-637349527123}" dt="2021-07-18T16:06:13.459" v="6728" actId="478"/>
          <ac:spMkLst>
            <pc:docMk/>
            <pc:sldMk cId="31760108" sldId="1725"/>
            <ac:spMk id="140" creationId="{296D7DF7-6C93-46B8-AE70-40DC158673D9}"/>
          </ac:spMkLst>
        </pc:spChg>
        <pc:spChg chg="add del mod">
          <ac:chgData name="Yash Ratanpal" userId="5db668b1-93e7-4c08-9786-4ed81315a653" providerId="ADAL" clId="{3F7A7787-00CA-42A0-97CD-637349527123}" dt="2021-07-18T16:06:13.459" v="6728" actId="478"/>
          <ac:spMkLst>
            <pc:docMk/>
            <pc:sldMk cId="31760108" sldId="1725"/>
            <ac:spMk id="142" creationId="{82EE6432-2A31-44C8-8895-96023CC4BB7C}"/>
          </ac:spMkLst>
        </pc:spChg>
        <pc:spChg chg="add del mod">
          <ac:chgData name="Yash Ratanpal" userId="5db668b1-93e7-4c08-9786-4ed81315a653" providerId="ADAL" clId="{3F7A7787-00CA-42A0-97CD-637349527123}" dt="2021-07-18T16:06:13.459" v="6728" actId="478"/>
          <ac:spMkLst>
            <pc:docMk/>
            <pc:sldMk cId="31760108" sldId="1725"/>
            <ac:spMk id="143" creationId="{F0765745-158F-4E72-917D-692C6C53BD0D}"/>
          </ac:spMkLst>
        </pc:spChg>
        <pc:spChg chg="add del mod">
          <ac:chgData name="Yash Ratanpal" userId="5db668b1-93e7-4c08-9786-4ed81315a653" providerId="ADAL" clId="{3F7A7787-00CA-42A0-97CD-637349527123}" dt="2021-07-18T16:06:13.459" v="6728" actId="478"/>
          <ac:spMkLst>
            <pc:docMk/>
            <pc:sldMk cId="31760108" sldId="1725"/>
            <ac:spMk id="144" creationId="{03A041F9-246A-4FCD-81D2-2C31B31CE347}"/>
          </ac:spMkLst>
        </pc:spChg>
        <pc:spChg chg="add del mod">
          <ac:chgData name="Yash Ratanpal" userId="5db668b1-93e7-4c08-9786-4ed81315a653" providerId="ADAL" clId="{3F7A7787-00CA-42A0-97CD-637349527123}" dt="2021-07-18T16:06:13.459" v="6728" actId="478"/>
          <ac:spMkLst>
            <pc:docMk/>
            <pc:sldMk cId="31760108" sldId="1725"/>
            <ac:spMk id="145" creationId="{198CFB72-C387-4A77-A789-371CE528E6F2}"/>
          </ac:spMkLst>
        </pc:spChg>
        <pc:spChg chg="add del mod">
          <ac:chgData name="Yash Ratanpal" userId="5db668b1-93e7-4c08-9786-4ed81315a653" providerId="ADAL" clId="{3F7A7787-00CA-42A0-97CD-637349527123}" dt="2021-07-18T16:06:13.459" v="6728" actId="478"/>
          <ac:spMkLst>
            <pc:docMk/>
            <pc:sldMk cId="31760108" sldId="1725"/>
            <ac:spMk id="146" creationId="{C78D53A7-8C61-45A4-9DE4-1CA83B276168}"/>
          </ac:spMkLst>
        </pc:spChg>
        <pc:spChg chg="add del mod">
          <ac:chgData name="Yash Ratanpal" userId="5db668b1-93e7-4c08-9786-4ed81315a653" providerId="ADAL" clId="{3F7A7787-00CA-42A0-97CD-637349527123}" dt="2021-07-18T16:06:13.459" v="6728" actId="478"/>
          <ac:spMkLst>
            <pc:docMk/>
            <pc:sldMk cId="31760108" sldId="1725"/>
            <ac:spMk id="147" creationId="{0CA6348B-B68F-48AB-A064-447C20D31CBA}"/>
          </ac:spMkLst>
        </pc:spChg>
        <pc:spChg chg="add del mod">
          <ac:chgData name="Yash Ratanpal" userId="5db668b1-93e7-4c08-9786-4ed81315a653" providerId="ADAL" clId="{3F7A7787-00CA-42A0-97CD-637349527123}" dt="2021-07-18T16:06:13.459" v="6728" actId="478"/>
          <ac:spMkLst>
            <pc:docMk/>
            <pc:sldMk cId="31760108" sldId="1725"/>
            <ac:spMk id="148" creationId="{5D255327-29C9-4347-946F-C4D3CE2B35D1}"/>
          </ac:spMkLst>
        </pc:spChg>
        <pc:spChg chg="mod">
          <ac:chgData name="Yash Ratanpal" userId="5db668b1-93e7-4c08-9786-4ed81315a653" providerId="ADAL" clId="{3F7A7787-00CA-42A0-97CD-637349527123}" dt="2021-07-18T16:33:23.456" v="7533" actId="164"/>
          <ac:spMkLst>
            <pc:docMk/>
            <pc:sldMk cId="31760108" sldId="1725"/>
            <ac:spMk id="151" creationId="{22F66C92-1C80-4060-9B01-411D2C599F05}"/>
          </ac:spMkLst>
        </pc:spChg>
        <pc:spChg chg="mod">
          <ac:chgData name="Yash Ratanpal" userId="5db668b1-93e7-4c08-9786-4ed81315a653" providerId="ADAL" clId="{3F7A7787-00CA-42A0-97CD-637349527123}" dt="2021-07-18T16:33:23.456" v="7533" actId="164"/>
          <ac:spMkLst>
            <pc:docMk/>
            <pc:sldMk cId="31760108" sldId="1725"/>
            <ac:spMk id="152" creationId="{EDDB7901-6F86-421E-98E7-8705D7E52DF7}"/>
          </ac:spMkLst>
        </pc:spChg>
        <pc:spChg chg="mod">
          <ac:chgData name="Yash Ratanpal" userId="5db668b1-93e7-4c08-9786-4ed81315a653" providerId="ADAL" clId="{3F7A7787-00CA-42A0-97CD-637349527123}" dt="2021-07-18T16:33:23.456" v="7533" actId="164"/>
          <ac:spMkLst>
            <pc:docMk/>
            <pc:sldMk cId="31760108" sldId="1725"/>
            <ac:spMk id="153" creationId="{F5C76F72-B34D-4B8D-A6C2-F7F24FFE23A1}"/>
          </ac:spMkLst>
        </pc:spChg>
        <pc:spChg chg="mod">
          <ac:chgData name="Yash Ratanpal" userId="5db668b1-93e7-4c08-9786-4ed81315a653" providerId="ADAL" clId="{3F7A7787-00CA-42A0-97CD-637349527123}" dt="2021-07-18T16:33:23.456" v="7533" actId="164"/>
          <ac:spMkLst>
            <pc:docMk/>
            <pc:sldMk cId="31760108" sldId="1725"/>
            <ac:spMk id="154" creationId="{FBD3C52B-B576-46A8-AB98-7E65FE0E365F}"/>
          </ac:spMkLst>
        </pc:spChg>
        <pc:spChg chg="mod">
          <ac:chgData name="Yash Ratanpal" userId="5db668b1-93e7-4c08-9786-4ed81315a653" providerId="ADAL" clId="{3F7A7787-00CA-42A0-97CD-637349527123}" dt="2021-07-18T16:33:23.456" v="7533" actId="164"/>
          <ac:spMkLst>
            <pc:docMk/>
            <pc:sldMk cId="31760108" sldId="1725"/>
            <ac:spMk id="155" creationId="{3EA04C0E-F043-45E5-9843-966761C6F1D3}"/>
          </ac:spMkLst>
        </pc:spChg>
        <pc:spChg chg="mod">
          <ac:chgData name="Yash Ratanpal" userId="5db668b1-93e7-4c08-9786-4ed81315a653" providerId="ADAL" clId="{3F7A7787-00CA-42A0-97CD-637349527123}" dt="2021-07-18T16:33:23.456" v="7533" actId="164"/>
          <ac:spMkLst>
            <pc:docMk/>
            <pc:sldMk cId="31760108" sldId="1725"/>
            <ac:spMk id="156" creationId="{E1BCD96F-5A87-4A46-92FD-4D7B977E1797}"/>
          </ac:spMkLst>
        </pc:spChg>
        <pc:spChg chg="add mod">
          <ac:chgData name="Yash Ratanpal" userId="5db668b1-93e7-4c08-9786-4ed81315a653" providerId="ADAL" clId="{3F7A7787-00CA-42A0-97CD-637349527123}" dt="2021-07-18T16:33:23.456" v="7533" actId="164"/>
          <ac:spMkLst>
            <pc:docMk/>
            <pc:sldMk cId="31760108" sldId="1725"/>
            <ac:spMk id="157" creationId="{B9B65B1D-D934-4FBE-9601-6B1EA2FDB9EE}"/>
          </ac:spMkLst>
        </pc:spChg>
        <pc:spChg chg="mod">
          <ac:chgData name="Yash Ratanpal" userId="5db668b1-93e7-4c08-9786-4ed81315a653" providerId="ADAL" clId="{3F7A7787-00CA-42A0-97CD-637349527123}" dt="2021-07-18T16:07:04.616" v="6738"/>
          <ac:spMkLst>
            <pc:docMk/>
            <pc:sldMk cId="31760108" sldId="1725"/>
            <ac:spMk id="159" creationId="{59A04EFF-8CBB-4218-B527-316D679CE417}"/>
          </ac:spMkLst>
        </pc:spChg>
        <pc:spChg chg="mod">
          <ac:chgData name="Yash Ratanpal" userId="5db668b1-93e7-4c08-9786-4ed81315a653" providerId="ADAL" clId="{3F7A7787-00CA-42A0-97CD-637349527123}" dt="2021-07-18T16:07:04.616" v="6738"/>
          <ac:spMkLst>
            <pc:docMk/>
            <pc:sldMk cId="31760108" sldId="1725"/>
            <ac:spMk id="160" creationId="{EEFC062B-7403-4F71-AD61-D03515D7A952}"/>
          </ac:spMkLst>
        </pc:spChg>
        <pc:spChg chg="mod">
          <ac:chgData name="Yash Ratanpal" userId="5db668b1-93e7-4c08-9786-4ed81315a653" providerId="ADAL" clId="{3F7A7787-00CA-42A0-97CD-637349527123}" dt="2021-07-18T16:07:04.616" v="6738"/>
          <ac:spMkLst>
            <pc:docMk/>
            <pc:sldMk cId="31760108" sldId="1725"/>
            <ac:spMk id="161" creationId="{B0E560A7-8224-4754-A5DE-4B36A38011BE}"/>
          </ac:spMkLst>
        </pc:spChg>
        <pc:spChg chg="mod">
          <ac:chgData name="Yash Ratanpal" userId="5db668b1-93e7-4c08-9786-4ed81315a653" providerId="ADAL" clId="{3F7A7787-00CA-42A0-97CD-637349527123}" dt="2021-07-18T16:07:04.616" v="6738"/>
          <ac:spMkLst>
            <pc:docMk/>
            <pc:sldMk cId="31760108" sldId="1725"/>
            <ac:spMk id="162" creationId="{17B7E750-EDD9-47BA-AA7E-83FA8C819187}"/>
          </ac:spMkLst>
        </pc:spChg>
        <pc:spChg chg="mod">
          <ac:chgData name="Yash Ratanpal" userId="5db668b1-93e7-4c08-9786-4ed81315a653" providerId="ADAL" clId="{3F7A7787-00CA-42A0-97CD-637349527123}" dt="2021-07-18T16:07:04.616" v="6738"/>
          <ac:spMkLst>
            <pc:docMk/>
            <pc:sldMk cId="31760108" sldId="1725"/>
            <ac:spMk id="163" creationId="{7EC6C0F6-2E79-4A87-8FFE-C8BE54EA7C5A}"/>
          </ac:spMkLst>
        </pc:spChg>
        <pc:spChg chg="add del mod">
          <ac:chgData name="Yash Ratanpal" userId="5db668b1-93e7-4c08-9786-4ed81315a653" providerId="ADAL" clId="{3F7A7787-00CA-42A0-97CD-637349527123}" dt="2021-07-18T16:07:51.374" v="6800" actId="478"/>
          <ac:spMkLst>
            <pc:docMk/>
            <pc:sldMk cId="31760108" sldId="1725"/>
            <ac:spMk id="164" creationId="{1D5181E2-16F3-4450-893E-1B151F9A938B}"/>
          </ac:spMkLst>
        </pc:spChg>
        <pc:spChg chg="mod">
          <ac:chgData name="Yash Ratanpal" userId="5db668b1-93e7-4c08-9786-4ed81315a653" providerId="ADAL" clId="{3F7A7787-00CA-42A0-97CD-637349527123}" dt="2021-07-18T16:07:10.317" v="6740"/>
          <ac:spMkLst>
            <pc:docMk/>
            <pc:sldMk cId="31760108" sldId="1725"/>
            <ac:spMk id="166" creationId="{10537413-1ED0-46F5-AC87-1D60DE932FFC}"/>
          </ac:spMkLst>
        </pc:spChg>
        <pc:spChg chg="mod">
          <ac:chgData name="Yash Ratanpal" userId="5db668b1-93e7-4c08-9786-4ed81315a653" providerId="ADAL" clId="{3F7A7787-00CA-42A0-97CD-637349527123}" dt="2021-07-18T16:07:10.317" v="6740"/>
          <ac:spMkLst>
            <pc:docMk/>
            <pc:sldMk cId="31760108" sldId="1725"/>
            <ac:spMk id="167" creationId="{4FC3B96A-E031-438C-BAB6-48B65199AEDA}"/>
          </ac:spMkLst>
        </pc:spChg>
        <pc:spChg chg="mod">
          <ac:chgData name="Yash Ratanpal" userId="5db668b1-93e7-4c08-9786-4ed81315a653" providerId="ADAL" clId="{3F7A7787-00CA-42A0-97CD-637349527123}" dt="2021-07-18T16:07:10.317" v="6740"/>
          <ac:spMkLst>
            <pc:docMk/>
            <pc:sldMk cId="31760108" sldId="1725"/>
            <ac:spMk id="168" creationId="{ABDB48C0-7441-439C-A07A-40E8E3EA3B02}"/>
          </ac:spMkLst>
        </pc:spChg>
        <pc:spChg chg="mod">
          <ac:chgData name="Yash Ratanpal" userId="5db668b1-93e7-4c08-9786-4ed81315a653" providerId="ADAL" clId="{3F7A7787-00CA-42A0-97CD-637349527123}" dt="2021-07-18T16:07:10.317" v="6740"/>
          <ac:spMkLst>
            <pc:docMk/>
            <pc:sldMk cId="31760108" sldId="1725"/>
            <ac:spMk id="169" creationId="{989DD771-4C1F-44D3-B765-0EF26FD7D6E2}"/>
          </ac:spMkLst>
        </pc:spChg>
        <pc:spChg chg="mod">
          <ac:chgData name="Yash Ratanpal" userId="5db668b1-93e7-4c08-9786-4ed81315a653" providerId="ADAL" clId="{3F7A7787-00CA-42A0-97CD-637349527123}" dt="2021-07-18T16:07:10.317" v="6740"/>
          <ac:spMkLst>
            <pc:docMk/>
            <pc:sldMk cId="31760108" sldId="1725"/>
            <ac:spMk id="170" creationId="{B4797133-0C40-42C5-95E0-0CFF9D717B76}"/>
          </ac:spMkLst>
        </pc:spChg>
        <pc:spChg chg="add del mod">
          <ac:chgData name="Yash Ratanpal" userId="5db668b1-93e7-4c08-9786-4ed81315a653" providerId="ADAL" clId="{3F7A7787-00CA-42A0-97CD-637349527123}" dt="2021-07-18T16:07:52.389" v="6801" actId="478"/>
          <ac:spMkLst>
            <pc:docMk/>
            <pc:sldMk cId="31760108" sldId="1725"/>
            <ac:spMk id="171" creationId="{07D8C46F-17A4-4BF8-B6FB-8EF9533A3A89}"/>
          </ac:spMkLst>
        </pc:spChg>
        <pc:spChg chg="mod">
          <ac:chgData name="Yash Ratanpal" userId="5db668b1-93e7-4c08-9786-4ed81315a653" providerId="ADAL" clId="{3F7A7787-00CA-42A0-97CD-637349527123}" dt="2021-07-18T16:10:00.371" v="6859" actId="165"/>
          <ac:spMkLst>
            <pc:docMk/>
            <pc:sldMk cId="31760108" sldId="1725"/>
            <ac:spMk id="173" creationId="{F660D6E0-EA7F-4A02-92E3-09D1214127EA}"/>
          </ac:spMkLst>
        </pc:spChg>
        <pc:spChg chg="mod">
          <ac:chgData name="Yash Ratanpal" userId="5db668b1-93e7-4c08-9786-4ed81315a653" providerId="ADAL" clId="{3F7A7787-00CA-42A0-97CD-637349527123}" dt="2021-07-18T16:10:00.371" v="6859" actId="165"/>
          <ac:spMkLst>
            <pc:docMk/>
            <pc:sldMk cId="31760108" sldId="1725"/>
            <ac:spMk id="174" creationId="{27D13FDF-C88B-4660-B378-8B3160A0A207}"/>
          </ac:spMkLst>
        </pc:spChg>
        <pc:spChg chg="mod">
          <ac:chgData name="Yash Ratanpal" userId="5db668b1-93e7-4c08-9786-4ed81315a653" providerId="ADAL" clId="{3F7A7787-00CA-42A0-97CD-637349527123}" dt="2021-07-18T16:10:00.371" v="6859" actId="165"/>
          <ac:spMkLst>
            <pc:docMk/>
            <pc:sldMk cId="31760108" sldId="1725"/>
            <ac:spMk id="175" creationId="{C37EA971-CD8D-4044-8024-B90E40208479}"/>
          </ac:spMkLst>
        </pc:spChg>
        <pc:spChg chg="mod">
          <ac:chgData name="Yash Ratanpal" userId="5db668b1-93e7-4c08-9786-4ed81315a653" providerId="ADAL" clId="{3F7A7787-00CA-42A0-97CD-637349527123}" dt="2021-07-18T16:10:00.371" v="6859" actId="165"/>
          <ac:spMkLst>
            <pc:docMk/>
            <pc:sldMk cId="31760108" sldId="1725"/>
            <ac:spMk id="176" creationId="{E45C16B3-4EFC-4349-8484-E8E6BC0F5350}"/>
          </ac:spMkLst>
        </pc:spChg>
        <pc:spChg chg="mod">
          <ac:chgData name="Yash Ratanpal" userId="5db668b1-93e7-4c08-9786-4ed81315a653" providerId="ADAL" clId="{3F7A7787-00CA-42A0-97CD-637349527123}" dt="2021-07-18T16:10:00.371" v="6859" actId="165"/>
          <ac:spMkLst>
            <pc:docMk/>
            <pc:sldMk cId="31760108" sldId="1725"/>
            <ac:spMk id="177" creationId="{006BBB70-D787-490B-A1A6-AC754A1AA907}"/>
          </ac:spMkLst>
        </pc:spChg>
        <pc:spChg chg="mod">
          <ac:chgData name="Yash Ratanpal" userId="5db668b1-93e7-4c08-9786-4ed81315a653" providerId="ADAL" clId="{3F7A7787-00CA-42A0-97CD-637349527123}" dt="2021-07-18T16:10:00.371" v="6859" actId="165"/>
          <ac:spMkLst>
            <pc:docMk/>
            <pc:sldMk cId="31760108" sldId="1725"/>
            <ac:spMk id="179" creationId="{53C364AF-1B41-4535-AEF9-266CC15E26B6}"/>
          </ac:spMkLst>
        </pc:spChg>
        <pc:spChg chg="mod">
          <ac:chgData name="Yash Ratanpal" userId="5db668b1-93e7-4c08-9786-4ed81315a653" providerId="ADAL" clId="{3F7A7787-00CA-42A0-97CD-637349527123}" dt="2021-07-18T16:10:00.371" v="6859" actId="165"/>
          <ac:spMkLst>
            <pc:docMk/>
            <pc:sldMk cId="31760108" sldId="1725"/>
            <ac:spMk id="180" creationId="{52ACBCCE-9B77-485E-946A-B636291AAF42}"/>
          </ac:spMkLst>
        </pc:spChg>
        <pc:spChg chg="mod">
          <ac:chgData name="Yash Ratanpal" userId="5db668b1-93e7-4c08-9786-4ed81315a653" providerId="ADAL" clId="{3F7A7787-00CA-42A0-97CD-637349527123}" dt="2021-07-18T16:10:00.371" v="6859" actId="165"/>
          <ac:spMkLst>
            <pc:docMk/>
            <pc:sldMk cId="31760108" sldId="1725"/>
            <ac:spMk id="181" creationId="{98A21EA9-AD77-4EC0-9C92-DA9A2D730F77}"/>
          </ac:spMkLst>
        </pc:spChg>
        <pc:spChg chg="mod">
          <ac:chgData name="Yash Ratanpal" userId="5db668b1-93e7-4c08-9786-4ed81315a653" providerId="ADAL" clId="{3F7A7787-00CA-42A0-97CD-637349527123}" dt="2021-07-18T16:10:00.371" v="6859" actId="165"/>
          <ac:spMkLst>
            <pc:docMk/>
            <pc:sldMk cId="31760108" sldId="1725"/>
            <ac:spMk id="182" creationId="{F44F86A0-A8A7-42A3-BC8A-D4E694C971CE}"/>
          </ac:spMkLst>
        </pc:spChg>
        <pc:spChg chg="mod">
          <ac:chgData name="Yash Ratanpal" userId="5db668b1-93e7-4c08-9786-4ed81315a653" providerId="ADAL" clId="{3F7A7787-00CA-42A0-97CD-637349527123}" dt="2021-07-18T16:10:00.371" v="6859" actId="165"/>
          <ac:spMkLst>
            <pc:docMk/>
            <pc:sldMk cId="31760108" sldId="1725"/>
            <ac:spMk id="183" creationId="{DC45F3EB-09A8-4123-8D45-C380DDAB3DEE}"/>
          </ac:spMkLst>
        </pc:spChg>
        <pc:spChg chg="add mod topLvl">
          <ac:chgData name="Yash Ratanpal" userId="5db668b1-93e7-4c08-9786-4ed81315a653" providerId="ADAL" clId="{3F7A7787-00CA-42A0-97CD-637349527123}" dt="2021-07-18T16:33:23.456" v="7533" actId="164"/>
          <ac:spMkLst>
            <pc:docMk/>
            <pc:sldMk cId="31760108" sldId="1725"/>
            <ac:spMk id="184" creationId="{788A32B9-3519-4F27-B87A-10D6BA1D8794}"/>
          </ac:spMkLst>
        </pc:spChg>
        <pc:spChg chg="add mod topLvl">
          <ac:chgData name="Yash Ratanpal" userId="5db668b1-93e7-4c08-9786-4ed81315a653" providerId="ADAL" clId="{3F7A7787-00CA-42A0-97CD-637349527123}" dt="2021-07-18T16:33:23.456" v="7533" actId="164"/>
          <ac:spMkLst>
            <pc:docMk/>
            <pc:sldMk cId="31760108" sldId="1725"/>
            <ac:spMk id="185" creationId="{1ED2DFF6-D395-437D-BC40-B99A8344DF31}"/>
          </ac:spMkLst>
        </pc:spChg>
        <pc:spChg chg="mod">
          <ac:chgData name="Yash Ratanpal" userId="5db668b1-93e7-4c08-9786-4ed81315a653" providerId="ADAL" clId="{3F7A7787-00CA-42A0-97CD-637349527123}" dt="2021-07-18T16:33:23.456" v="7533" actId="164"/>
          <ac:spMkLst>
            <pc:docMk/>
            <pc:sldMk cId="31760108" sldId="1725"/>
            <ac:spMk id="187" creationId="{97C2F9E0-C1A1-4120-BBDE-308DE7D5C7FF}"/>
          </ac:spMkLst>
        </pc:spChg>
        <pc:spChg chg="mod">
          <ac:chgData name="Yash Ratanpal" userId="5db668b1-93e7-4c08-9786-4ed81315a653" providerId="ADAL" clId="{3F7A7787-00CA-42A0-97CD-637349527123}" dt="2021-07-18T16:33:23.456" v="7533" actId="164"/>
          <ac:spMkLst>
            <pc:docMk/>
            <pc:sldMk cId="31760108" sldId="1725"/>
            <ac:spMk id="188" creationId="{1C981199-F99D-4C78-9FA3-D92217A6C3C6}"/>
          </ac:spMkLst>
        </pc:spChg>
        <pc:spChg chg="mod">
          <ac:chgData name="Yash Ratanpal" userId="5db668b1-93e7-4c08-9786-4ed81315a653" providerId="ADAL" clId="{3F7A7787-00CA-42A0-97CD-637349527123}" dt="2021-07-18T16:33:23.456" v="7533" actId="164"/>
          <ac:spMkLst>
            <pc:docMk/>
            <pc:sldMk cId="31760108" sldId="1725"/>
            <ac:spMk id="189" creationId="{F8E72F92-7424-45E7-BED5-CB46E5AD3644}"/>
          </ac:spMkLst>
        </pc:spChg>
        <pc:spChg chg="mod">
          <ac:chgData name="Yash Ratanpal" userId="5db668b1-93e7-4c08-9786-4ed81315a653" providerId="ADAL" clId="{3F7A7787-00CA-42A0-97CD-637349527123}" dt="2021-07-18T16:33:23.456" v="7533" actId="164"/>
          <ac:spMkLst>
            <pc:docMk/>
            <pc:sldMk cId="31760108" sldId="1725"/>
            <ac:spMk id="190" creationId="{33518AF2-A6CD-40B1-B047-D59F4BCA314E}"/>
          </ac:spMkLst>
        </pc:spChg>
        <pc:spChg chg="mod">
          <ac:chgData name="Yash Ratanpal" userId="5db668b1-93e7-4c08-9786-4ed81315a653" providerId="ADAL" clId="{3F7A7787-00CA-42A0-97CD-637349527123}" dt="2021-07-18T16:33:23.456" v="7533" actId="164"/>
          <ac:spMkLst>
            <pc:docMk/>
            <pc:sldMk cId="31760108" sldId="1725"/>
            <ac:spMk id="191" creationId="{F4647A24-F5C9-451A-83A5-18B69C603761}"/>
          </ac:spMkLst>
        </pc:spChg>
        <pc:spChg chg="mod">
          <ac:chgData name="Yash Ratanpal" userId="5db668b1-93e7-4c08-9786-4ed81315a653" providerId="ADAL" clId="{3F7A7787-00CA-42A0-97CD-637349527123}" dt="2021-07-18T16:10:12" v="6866"/>
          <ac:spMkLst>
            <pc:docMk/>
            <pc:sldMk cId="31760108" sldId="1725"/>
            <ac:spMk id="193" creationId="{D9BC4B09-F497-4BB2-9DEA-AB873A8FFF1F}"/>
          </ac:spMkLst>
        </pc:spChg>
        <pc:spChg chg="mod">
          <ac:chgData name="Yash Ratanpal" userId="5db668b1-93e7-4c08-9786-4ed81315a653" providerId="ADAL" clId="{3F7A7787-00CA-42A0-97CD-637349527123}" dt="2021-07-18T16:10:12" v="6866"/>
          <ac:spMkLst>
            <pc:docMk/>
            <pc:sldMk cId="31760108" sldId="1725"/>
            <ac:spMk id="194" creationId="{FF09875B-E36E-4F77-895D-99BC5042E6C5}"/>
          </ac:spMkLst>
        </pc:spChg>
        <pc:spChg chg="mod">
          <ac:chgData name="Yash Ratanpal" userId="5db668b1-93e7-4c08-9786-4ed81315a653" providerId="ADAL" clId="{3F7A7787-00CA-42A0-97CD-637349527123}" dt="2021-07-18T16:10:12" v="6866"/>
          <ac:spMkLst>
            <pc:docMk/>
            <pc:sldMk cId="31760108" sldId="1725"/>
            <ac:spMk id="195" creationId="{91B87664-88CB-4904-8289-8F7EB0FA7FB9}"/>
          </ac:spMkLst>
        </pc:spChg>
        <pc:spChg chg="mod">
          <ac:chgData name="Yash Ratanpal" userId="5db668b1-93e7-4c08-9786-4ed81315a653" providerId="ADAL" clId="{3F7A7787-00CA-42A0-97CD-637349527123}" dt="2021-07-18T16:10:12" v="6866"/>
          <ac:spMkLst>
            <pc:docMk/>
            <pc:sldMk cId="31760108" sldId="1725"/>
            <ac:spMk id="196" creationId="{2FF7A370-A899-4762-A8D9-6A666F7F8422}"/>
          </ac:spMkLst>
        </pc:spChg>
        <pc:spChg chg="mod">
          <ac:chgData name="Yash Ratanpal" userId="5db668b1-93e7-4c08-9786-4ed81315a653" providerId="ADAL" clId="{3F7A7787-00CA-42A0-97CD-637349527123}" dt="2021-07-18T16:10:12" v="6866"/>
          <ac:spMkLst>
            <pc:docMk/>
            <pc:sldMk cId="31760108" sldId="1725"/>
            <ac:spMk id="197" creationId="{13A1A40C-A8DB-40E3-8AE9-3A7B0CA496E2}"/>
          </ac:spMkLst>
        </pc:spChg>
        <pc:spChg chg="mod">
          <ac:chgData name="Yash Ratanpal" userId="5db668b1-93e7-4c08-9786-4ed81315a653" providerId="ADAL" clId="{3F7A7787-00CA-42A0-97CD-637349527123}" dt="2021-07-18T16:33:23.456" v="7533" actId="164"/>
          <ac:spMkLst>
            <pc:docMk/>
            <pc:sldMk cId="31760108" sldId="1725"/>
            <ac:spMk id="199" creationId="{494F8C07-4771-49D9-ACB9-5FD6F35CE5FF}"/>
          </ac:spMkLst>
        </pc:spChg>
        <pc:spChg chg="mod">
          <ac:chgData name="Yash Ratanpal" userId="5db668b1-93e7-4c08-9786-4ed81315a653" providerId="ADAL" clId="{3F7A7787-00CA-42A0-97CD-637349527123}" dt="2021-07-18T16:33:23.456" v="7533" actId="164"/>
          <ac:spMkLst>
            <pc:docMk/>
            <pc:sldMk cId="31760108" sldId="1725"/>
            <ac:spMk id="200" creationId="{8801D0BF-001A-4ECF-9FA4-5DBB365FB87D}"/>
          </ac:spMkLst>
        </pc:spChg>
        <pc:spChg chg="mod">
          <ac:chgData name="Yash Ratanpal" userId="5db668b1-93e7-4c08-9786-4ed81315a653" providerId="ADAL" clId="{3F7A7787-00CA-42A0-97CD-637349527123}" dt="2021-07-18T16:33:23.456" v="7533" actId="164"/>
          <ac:spMkLst>
            <pc:docMk/>
            <pc:sldMk cId="31760108" sldId="1725"/>
            <ac:spMk id="201" creationId="{A4253F59-B921-4083-BF23-0BA929FEFA48}"/>
          </ac:spMkLst>
        </pc:spChg>
        <pc:spChg chg="mod">
          <ac:chgData name="Yash Ratanpal" userId="5db668b1-93e7-4c08-9786-4ed81315a653" providerId="ADAL" clId="{3F7A7787-00CA-42A0-97CD-637349527123}" dt="2021-07-18T16:33:23.456" v="7533" actId="164"/>
          <ac:spMkLst>
            <pc:docMk/>
            <pc:sldMk cId="31760108" sldId="1725"/>
            <ac:spMk id="202" creationId="{8D9946EF-76AF-4988-918B-AC3902EEAE2D}"/>
          </ac:spMkLst>
        </pc:spChg>
        <pc:spChg chg="mod">
          <ac:chgData name="Yash Ratanpal" userId="5db668b1-93e7-4c08-9786-4ed81315a653" providerId="ADAL" clId="{3F7A7787-00CA-42A0-97CD-637349527123}" dt="2021-07-18T16:33:23.456" v="7533" actId="164"/>
          <ac:spMkLst>
            <pc:docMk/>
            <pc:sldMk cId="31760108" sldId="1725"/>
            <ac:spMk id="203" creationId="{0F16BCA2-3741-49EE-93A9-FBAD25B4EA14}"/>
          </ac:spMkLst>
        </pc:spChg>
        <pc:spChg chg="mod">
          <ac:chgData name="Yash Ratanpal" userId="5db668b1-93e7-4c08-9786-4ed81315a653" providerId="ADAL" clId="{3F7A7787-00CA-42A0-97CD-637349527123}" dt="2021-07-18T16:33:23.456" v="7533" actId="164"/>
          <ac:spMkLst>
            <pc:docMk/>
            <pc:sldMk cId="31760108" sldId="1725"/>
            <ac:spMk id="205" creationId="{384259D0-B664-424F-9C24-D1D62CBDA7A6}"/>
          </ac:spMkLst>
        </pc:spChg>
        <pc:spChg chg="mod">
          <ac:chgData name="Yash Ratanpal" userId="5db668b1-93e7-4c08-9786-4ed81315a653" providerId="ADAL" clId="{3F7A7787-00CA-42A0-97CD-637349527123}" dt="2021-07-18T16:33:23.456" v="7533" actId="164"/>
          <ac:spMkLst>
            <pc:docMk/>
            <pc:sldMk cId="31760108" sldId="1725"/>
            <ac:spMk id="206" creationId="{76A838F8-2F92-4260-B74B-22336A602B71}"/>
          </ac:spMkLst>
        </pc:spChg>
        <pc:spChg chg="mod">
          <ac:chgData name="Yash Ratanpal" userId="5db668b1-93e7-4c08-9786-4ed81315a653" providerId="ADAL" clId="{3F7A7787-00CA-42A0-97CD-637349527123}" dt="2021-07-18T16:33:23.456" v="7533" actId="164"/>
          <ac:spMkLst>
            <pc:docMk/>
            <pc:sldMk cId="31760108" sldId="1725"/>
            <ac:spMk id="207" creationId="{99371875-B3DB-4A8B-A136-F6EBD00A1064}"/>
          </ac:spMkLst>
        </pc:spChg>
        <pc:spChg chg="mod">
          <ac:chgData name="Yash Ratanpal" userId="5db668b1-93e7-4c08-9786-4ed81315a653" providerId="ADAL" clId="{3F7A7787-00CA-42A0-97CD-637349527123}" dt="2021-07-18T16:33:23.456" v="7533" actId="164"/>
          <ac:spMkLst>
            <pc:docMk/>
            <pc:sldMk cId="31760108" sldId="1725"/>
            <ac:spMk id="208" creationId="{23E4243A-E927-47C1-A381-815B4FF45DB5}"/>
          </ac:spMkLst>
        </pc:spChg>
        <pc:spChg chg="mod">
          <ac:chgData name="Yash Ratanpal" userId="5db668b1-93e7-4c08-9786-4ed81315a653" providerId="ADAL" clId="{3F7A7787-00CA-42A0-97CD-637349527123}" dt="2021-07-18T16:33:23.456" v="7533" actId="164"/>
          <ac:spMkLst>
            <pc:docMk/>
            <pc:sldMk cId="31760108" sldId="1725"/>
            <ac:spMk id="209" creationId="{8B73ACC3-B778-4E7E-B91E-6B5FAF9ACA0B}"/>
          </ac:spMkLst>
        </pc:spChg>
        <pc:spChg chg="mod">
          <ac:chgData name="Yash Ratanpal" userId="5db668b1-93e7-4c08-9786-4ed81315a653" providerId="ADAL" clId="{3F7A7787-00CA-42A0-97CD-637349527123}" dt="2021-07-18T16:33:23.456" v="7533" actId="164"/>
          <ac:spMkLst>
            <pc:docMk/>
            <pc:sldMk cId="31760108" sldId="1725"/>
            <ac:spMk id="211" creationId="{F55DA5B8-25E5-414C-ADB4-E187764126F8}"/>
          </ac:spMkLst>
        </pc:spChg>
        <pc:spChg chg="mod">
          <ac:chgData name="Yash Ratanpal" userId="5db668b1-93e7-4c08-9786-4ed81315a653" providerId="ADAL" clId="{3F7A7787-00CA-42A0-97CD-637349527123}" dt="2021-07-18T16:33:23.456" v="7533" actId="164"/>
          <ac:spMkLst>
            <pc:docMk/>
            <pc:sldMk cId="31760108" sldId="1725"/>
            <ac:spMk id="212" creationId="{E6005A34-8056-410E-80D6-D723A0271FE6}"/>
          </ac:spMkLst>
        </pc:spChg>
        <pc:spChg chg="mod">
          <ac:chgData name="Yash Ratanpal" userId="5db668b1-93e7-4c08-9786-4ed81315a653" providerId="ADAL" clId="{3F7A7787-00CA-42A0-97CD-637349527123}" dt="2021-07-18T16:33:23.456" v="7533" actId="164"/>
          <ac:spMkLst>
            <pc:docMk/>
            <pc:sldMk cId="31760108" sldId="1725"/>
            <ac:spMk id="213" creationId="{E57ED8FE-B28A-464C-A856-4CC50B863B35}"/>
          </ac:spMkLst>
        </pc:spChg>
        <pc:spChg chg="mod">
          <ac:chgData name="Yash Ratanpal" userId="5db668b1-93e7-4c08-9786-4ed81315a653" providerId="ADAL" clId="{3F7A7787-00CA-42A0-97CD-637349527123}" dt="2021-07-18T16:33:23.456" v="7533" actId="164"/>
          <ac:spMkLst>
            <pc:docMk/>
            <pc:sldMk cId="31760108" sldId="1725"/>
            <ac:spMk id="214" creationId="{C5ED9D51-543B-4649-BF84-18FB986CEA8D}"/>
          </ac:spMkLst>
        </pc:spChg>
        <pc:spChg chg="mod">
          <ac:chgData name="Yash Ratanpal" userId="5db668b1-93e7-4c08-9786-4ed81315a653" providerId="ADAL" clId="{3F7A7787-00CA-42A0-97CD-637349527123}" dt="2021-07-18T16:33:23.456" v="7533" actId="164"/>
          <ac:spMkLst>
            <pc:docMk/>
            <pc:sldMk cId="31760108" sldId="1725"/>
            <ac:spMk id="215" creationId="{9C3337A4-70BF-44C6-9A54-7F2621B4E3EE}"/>
          </ac:spMkLst>
        </pc:spChg>
        <pc:grpChg chg="add del mod">
          <ac:chgData name="Yash Ratanpal" userId="5db668b1-93e7-4c08-9786-4ed81315a653" providerId="ADAL" clId="{3F7A7787-00CA-42A0-97CD-637349527123}" dt="2021-07-18T16:04:39.239" v="6674" actId="165"/>
          <ac:grpSpMkLst>
            <pc:docMk/>
            <pc:sldMk cId="31760108" sldId="1725"/>
            <ac:grpSpMk id="4" creationId="{182D1259-6D95-431E-AD58-2B9C7B1911E9}"/>
          </ac:grpSpMkLst>
        </pc:grpChg>
        <pc:grpChg chg="add del mod">
          <ac:chgData name="Yash Ratanpal" userId="5db668b1-93e7-4c08-9786-4ed81315a653" providerId="ADAL" clId="{3F7A7787-00CA-42A0-97CD-637349527123}" dt="2021-07-18T16:07:02.160" v="6737" actId="165"/>
          <ac:grpSpMkLst>
            <pc:docMk/>
            <pc:sldMk cId="31760108" sldId="1725"/>
            <ac:grpSpMk id="6" creationId="{9A9993AB-53E3-408A-B8DF-D1CA6BE710B3}"/>
          </ac:grpSpMkLst>
        </pc:grpChg>
        <pc:grpChg chg="del">
          <ac:chgData name="Yash Ratanpal" userId="5db668b1-93e7-4c08-9786-4ed81315a653" providerId="ADAL" clId="{3F7A7787-00CA-42A0-97CD-637349527123}" dt="2021-07-18T15:52:18.021" v="6588" actId="478"/>
          <ac:grpSpMkLst>
            <pc:docMk/>
            <pc:sldMk cId="31760108" sldId="1725"/>
            <ac:grpSpMk id="8" creationId="{342A4A9D-A632-4004-82F3-E3ADF8C597F1}"/>
          </ac:grpSpMkLst>
        </pc:grpChg>
        <pc:grpChg chg="add del mod">
          <ac:chgData name="Yash Ratanpal" userId="5db668b1-93e7-4c08-9786-4ed81315a653" providerId="ADAL" clId="{3F7A7787-00CA-42A0-97CD-637349527123}" dt="2021-07-18T16:08:01.035" v="6804" actId="165"/>
          <ac:grpSpMkLst>
            <pc:docMk/>
            <pc:sldMk cId="31760108" sldId="1725"/>
            <ac:grpSpMk id="9" creationId="{AC080B08-A401-4C5A-8253-44AB0EB54115}"/>
          </ac:grpSpMkLst>
        </pc:grpChg>
        <pc:grpChg chg="add del mod">
          <ac:chgData name="Yash Ratanpal" userId="5db668b1-93e7-4c08-9786-4ed81315a653" providerId="ADAL" clId="{3F7A7787-00CA-42A0-97CD-637349527123}" dt="2021-07-18T16:10:00.371" v="6859" actId="165"/>
          <ac:grpSpMkLst>
            <pc:docMk/>
            <pc:sldMk cId="31760108" sldId="1725"/>
            <ac:grpSpMk id="10" creationId="{EA708A15-247C-47BB-A25D-E6831D4F5A7B}"/>
          </ac:grpSpMkLst>
        </pc:grpChg>
        <pc:grpChg chg="add mod">
          <ac:chgData name="Yash Ratanpal" userId="5db668b1-93e7-4c08-9786-4ed81315a653" providerId="ADAL" clId="{3F7A7787-00CA-42A0-97CD-637349527123}" dt="2021-07-18T16:33:23.456" v="7533" actId="164"/>
          <ac:grpSpMkLst>
            <pc:docMk/>
            <pc:sldMk cId="31760108" sldId="1725"/>
            <ac:grpSpMk id="11" creationId="{738B0C55-F8FA-44CA-A50F-A379876CF3FB}"/>
          </ac:grpSpMkLst>
        </pc:grpChg>
        <pc:grpChg chg="add mod">
          <ac:chgData name="Yash Ratanpal" userId="5db668b1-93e7-4c08-9786-4ed81315a653" providerId="ADAL" clId="{3F7A7787-00CA-42A0-97CD-637349527123}" dt="2021-07-18T16:33:23.456" v="7533" actId="164"/>
          <ac:grpSpMkLst>
            <pc:docMk/>
            <pc:sldMk cId="31760108" sldId="1725"/>
            <ac:grpSpMk id="12" creationId="{4A1FC76E-D6A8-4E76-9E4C-051746982BFA}"/>
          </ac:grpSpMkLst>
        </pc:grpChg>
        <pc:grpChg chg="add del mod">
          <ac:chgData name="Yash Ratanpal" userId="5db668b1-93e7-4c08-9786-4ed81315a653" providerId="ADAL" clId="{3F7A7787-00CA-42A0-97CD-637349527123}" dt="2021-07-18T16:01:31.330" v="6595" actId="165"/>
          <ac:grpSpMkLst>
            <pc:docMk/>
            <pc:sldMk cId="31760108" sldId="1725"/>
            <ac:grpSpMk id="35" creationId="{8FEA8708-EB05-4CFB-8921-8709ECE0B90C}"/>
          </ac:grpSpMkLst>
        </pc:grpChg>
        <pc:grpChg chg="del mod topLvl">
          <ac:chgData name="Yash Ratanpal" userId="5db668b1-93e7-4c08-9786-4ed81315a653" providerId="ADAL" clId="{3F7A7787-00CA-42A0-97CD-637349527123}" dt="2021-07-18T16:01:48.355" v="6598" actId="478"/>
          <ac:grpSpMkLst>
            <pc:docMk/>
            <pc:sldMk cId="31760108" sldId="1725"/>
            <ac:grpSpMk id="37" creationId="{5044F42A-BAA5-440E-9564-78E6C52CFBB7}"/>
          </ac:grpSpMkLst>
        </pc:grpChg>
        <pc:grpChg chg="del mod topLvl">
          <ac:chgData name="Yash Ratanpal" userId="5db668b1-93e7-4c08-9786-4ed81315a653" providerId="ADAL" clId="{3F7A7787-00CA-42A0-97CD-637349527123}" dt="2021-07-18T16:01:49.323" v="6599" actId="478"/>
          <ac:grpSpMkLst>
            <pc:docMk/>
            <pc:sldMk cId="31760108" sldId="1725"/>
            <ac:grpSpMk id="38" creationId="{E2CC64EC-4E70-46F7-B55B-4B3D74522EC2}"/>
          </ac:grpSpMkLst>
        </pc:grpChg>
        <pc:grpChg chg="del mod topLvl">
          <ac:chgData name="Yash Ratanpal" userId="5db668b1-93e7-4c08-9786-4ed81315a653" providerId="ADAL" clId="{3F7A7787-00CA-42A0-97CD-637349527123}" dt="2021-07-18T16:01:49.982" v="6600" actId="478"/>
          <ac:grpSpMkLst>
            <pc:docMk/>
            <pc:sldMk cId="31760108" sldId="1725"/>
            <ac:grpSpMk id="39" creationId="{4589D342-B79C-4FE8-AA42-44D97B9DFA6D}"/>
          </ac:grpSpMkLst>
        </pc:grpChg>
        <pc:grpChg chg="add del mod">
          <ac:chgData name="Yash Ratanpal" userId="5db668b1-93e7-4c08-9786-4ed81315a653" providerId="ADAL" clId="{3F7A7787-00CA-42A0-97CD-637349527123}" dt="2021-07-18T16:01:54.991" v="6601" actId="478"/>
          <ac:grpSpMkLst>
            <pc:docMk/>
            <pc:sldMk cId="31760108" sldId="1725"/>
            <ac:grpSpMk id="58" creationId="{582F9877-5A63-47B2-A1FD-E4CF27676CAC}"/>
          </ac:grpSpMkLst>
        </pc:grpChg>
        <pc:grpChg chg="del">
          <ac:chgData name="Yash Ratanpal" userId="5db668b1-93e7-4c08-9786-4ed81315a653" providerId="ADAL" clId="{3F7A7787-00CA-42A0-97CD-637349527123}" dt="2021-07-18T15:52:18.021" v="6588" actId="478"/>
          <ac:grpSpMkLst>
            <pc:docMk/>
            <pc:sldMk cId="31760108" sldId="1725"/>
            <ac:grpSpMk id="68" creationId="{26FCACDA-CA81-4B42-996D-72D189EF72E1}"/>
          </ac:grpSpMkLst>
        </pc:grpChg>
        <pc:grpChg chg="add mod topLvl">
          <ac:chgData name="Yash Ratanpal" userId="5db668b1-93e7-4c08-9786-4ed81315a653" providerId="ADAL" clId="{3F7A7787-00CA-42A0-97CD-637349527123}" dt="2021-07-18T16:33:23.456" v="7533" actId="164"/>
          <ac:grpSpMkLst>
            <pc:docMk/>
            <pc:sldMk cId="31760108" sldId="1725"/>
            <ac:grpSpMk id="72" creationId="{ADECC662-492C-46C4-8C80-1B491EDBAADE}"/>
          </ac:grpSpMkLst>
        </pc:grpChg>
        <pc:grpChg chg="add del mod topLvl">
          <ac:chgData name="Yash Ratanpal" userId="5db668b1-93e7-4c08-9786-4ed81315a653" providerId="ADAL" clId="{3F7A7787-00CA-42A0-97CD-637349527123}" dt="2021-07-18T16:10:06.560" v="6860" actId="478"/>
          <ac:grpSpMkLst>
            <pc:docMk/>
            <pc:sldMk cId="31760108" sldId="1725"/>
            <ac:grpSpMk id="100" creationId="{2B17A3F0-C93D-480A-A2FC-638FB0B9C339}"/>
          </ac:grpSpMkLst>
        </pc:grpChg>
        <pc:grpChg chg="add del mod topLvl">
          <ac:chgData name="Yash Ratanpal" userId="5db668b1-93e7-4c08-9786-4ed81315a653" providerId="ADAL" clId="{3F7A7787-00CA-42A0-97CD-637349527123}" dt="2021-07-18T16:10:06.938" v="6861" actId="478"/>
          <ac:grpSpMkLst>
            <pc:docMk/>
            <pc:sldMk cId="31760108" sldId="1725"/>
            <ac:grpSpMk id="109" creationId="{62C255EA-D9E6-4CBF-B4F5-FDE706549C13}"/>
          </ac:grpSpMkLst>
        </pc:grpChg>
        <pc:grpChg chg="add del mod topLvl">
          <ac:chgData name="Yash Ratanpal" userId="5db668b1-93e7-4c08-9786-4ed81315a653" providerId="ADAL" clId="{3F7A7787-00CA-42A0-97CD-637349527123}" dt="2021-07-18T16:04:40.934" v="6675" actId="478"/>
          <ac:grpSpMkLst>
            <pc:docMk/>
            <pc:sldMk cId="31760108" sldId="1725"/>
            <ac:grpSpMk id="117" creationId="{41CED50F-F82D-47E5-8C15-DDAA6D7DDE26}"/>
          </ac:grpSpMkLst>
        </pc:grpChg>
        <pc:grpChg chg="mod">
          <ac:chgData name="Yash Ratanpal" userId="5db668b1-93e7-4c08-9786-4ed81315a653" providerId="ADAL" clId="{3F7A7787-00CA-42A0-97CD-637349527123}" dt="2021-07-18T16:04:39.239" v="6674" actId="165"/>
          <ac:grpSpMkLst>
            <pc:docMk/>
            <pc:sldMk cId="31760108" sldId="1725"/>
            <ac:grpSpMk id="120" creationId="{F2304DC4-B22B-496F-8719-368D980A2EE9}"/>
          </ac:grpSpMkLst>
        </pc:grpChg>
        <pc:grpChg chg="mod">
          <ac:chgData name="Yash Ratanpal" userId="5db668b1-93e7-4c08-9786-4ed81315a653" providerId="ADAL" clId="{3F7A7787-00CA-42A0-97CD-637349527123}" dt="2021-07-18T16:04:39.239" v="6674" actId="165"/>
          <ac:grpSpMkLst>
            <pc:docMk/>
            <pc:sldMk cId="31760108" sldId="1725"/>
            <ac:grpSpMk id="123" creationId="{9C2419D2-544D-4CB3-8F15-F4811E3F7D48}"/>
          </ac:grpSpMkLst>
        </pc:grpChg>
        <pc:grpChg chg="mod">
          <ac:chgData name="Yash Ratanpal" userId="5db668b1-93e7-4c08-9786-4ed81315a653" providerId="ADAL" clId="{3F7A7787-00CA-42A0-97CD-637349527123}" dt="2021-07-18T16:04:39.239" v="6674" actId="165"/>
          <ac:grpSpMkLst>
            <pc:docMk/>
            <pc:sldMk cId="31760108" sldId="1725"/>
            <ac:grpSpMk id="124" creationId="{DEC895B1-2401-4E5C-A951-8BEF5509A929}"/>
          </ac:grpSpMkLst>
        </pc:grpChg>
        <pc:grpChg chg="add mod">
          <ac:chgData name="Yash Ratanpal" userId="5db668b1-93e7-4c08-9786-4ed81315a653" providerId="ADAL" clId="{3F7A7787-00CA-42A0-97CD-637349527123}" dt="2021-07-18T16:33:23.456" v="7533" actId="164"/>
          <ac:grpSpMkLst>
            <pc:docMk/>
            <pc:sldMk cId="31760108" sldId="1725"/>
            <ac:grpSpMk id="149" creationId="{B4B16D95-AA2B-4C16-9EC8-EE2FEF87D292}"/>
          </ac:grpSpMkLst>
        </pc:grpChg>
        <pc:grpChg chg="add del mod">
          <ac:chgData name="Yash Ratanpal" userId="5db668b1-93e7-4c08-9786-4ed81315a653" providerId="ADAL" clId="{3F7A7787-00CA-42A0-97CD-637349527123}" dt="2021-07-18T16:07:49.871" v="6798" actId="478"/>
          <ac:grpSpMkLst>
            <pc:docMk/>
            <pc:sldMk cId="31760108" sldId="1725"/>
            <ac:grpSpMk id="158" creationId="{4E3A2378-6B6A-43C7-9293-B0B853F17416}"/>
          </ac:grpSpMkLst>
        </pc:grpChg>
        <pc:grpChg chg="add del mod">
          <ac:chgData name="Yash Ratanpal" userId="5db668b1-93e7-4c08-9786-4ed81315a653" providerId="ADAL" clId="{3F7A7787-00CA-42A0-97CD-637349527123}" dt="2021-07-18T16:07:49.460" v="6797" actId="478"/>
          <ac:grpSpMkLst>
            <pc:docMk/>
            <pc:sldMk cId="31760108" sldId="1725"/>
            <ac:grpSpMk id="165" creationId="{BF57427D-C85F-43C7-93C1-CA4DC91BFC34}"/>
          </ac:grpSpMkLst>
        </pc:grpChg>
        <pc:grpChg chg="add del mod topLvl">
          <ac:chgData name="Yash Ratanpal" userId="5db668b1-93e7-4c08-9786-4ed81315a653" providerId="ADAL" clId="{3F7A7787-00CA-42A0-97CD-637349527123}" dt="2021-07-18T16:10:07.285" v="6862" actId="478"/>
          <ac:grpSpMkLst>
            <pc:docMk/>
            <pc:sldMk cId="31760108" sldId="1725"/>
            <ac:grpSpMk id="172" creationId="{583DFA5F-252B-48CC-B459-4B0FB673FE26}"/>
          </ac:grpSpMkLst>
        </pc:grpChg>
        <pc:grpChg chg="add del mod topLvl">
          <ac:chgData name="Yash Ratanpal" userId="5db668b1-93e7-4c08-9786-4ed81315a653" providerId="ADAL" clId="{3F7A7787-00CA-42A0-97CD-637349527123}" dt="2021-07-18T16:10:07.662" v="6863" actId="478"/>
          <ac:grpSpMkLst>
            <pc:docMk/>
            <pc:sldMk cId="31760108" sldId="1725"/>
            <ac:grpSpMk id="178" creationId="{5E429809-B996-4DDC-91A7-98999A37CCDE}"/>
          </ac:grpSpMkLst>
        </pc:grpChg>
        <pc:grpChg chg="add mod">
          <ac:chgData name="Yash Ratanpal" userId="5db668b1-93e7-4c08-9786-4ed81315a653" providerId="ADAL" clId="{3F7A7787-00CA-42A0-97CD-637349527123}" dt="2021-07-18T16:33:23.456" v="7533" actId="164"/>
          <ac:grpSpMkLst>
            <pc:docMk/>
            <pc:sldMk cId="31760108" sldId="1725"/>
            <ac:grpSpMk id="186" creationId="{D8DF96ED-171A-4D40-8AA3-606D71D6D8A2}"/>
          </ac:grpSpMkLst>
        </pc:grpChg>
        <pc:grpChg chg="add del mod">
          <ac:chgData name="Yash Ratanpal" userId="5db668b1-93e7-4c08-9786-4ed81315a653" providerId="ADAL" clId="{3F7A7787-00CA-42A0-97CD-637349527123}" dt="2021-07-18T16:10:12.457" v="6867"/>
          <ac:grpSpMkLst>
            <pc:docMk/>
            <pc:sldMk cId="31760108" sldId="1725"/>
            <ac:grpSpMk id="192" creationId="{F32F0531-698D-4DAA-8D40-BEDF93690D24}"/>
          </ac:grpSpMkLst>
        </pc:grpChg>
        <pc:grpChg chg="add mod">
          <ac:chgData name="Yash Ratanpal" userId="5db668b1-93e7-4c08-9786-4ed81315a653" providerId="ADAL" clId="{3F7A7787-00CA-42A0-97CD-637349527123}" dt="2021-07-18T16:33:23.456" v="7533" actId="164"/>
          <ac:grpSpMkLst>
            <pc:docMk/>
            <pc:sldMk cId="31760108" sldId="1725"/>
            <ac:grpSpMk id="198" creationId="{1B8A64D9-2A98-4F62-BEC9-EE0063BECB6F}"/>
          </ac:grpSpMkLst>
        </pc:grpChg>
        <pc:grpChg chg="add mod">
          <ac:chgData name="Yash Ratanpal" userId="5db668b1-93e7-4c08-9786-4ed81315a653" providerId="ADAL" clId="{3F7A7787-00CA-42A0-97CD-637349527123}" dt="2021-07-18T16:33:23.456" v="7533" actId="164"/>
          <ac:grpSpMkLst>
            <pc:docMk/>
            <pc:sldMk cId="31760108" sldId="1725"/>
            <ac:grpSpMk id="204" creationId="{C761BB91-C275-4D33-B727-1D1E0C499E44}"/>
          </ac:grpSpMkLst>
        </pc:grpChg>
        <pc:grpChg chg="add mod">
          <ac:chgData name="Yash Ratanpal" userId="5db668b1-93e7-4c08-9786-4ed81315a653" providerId="ADAL" clId="{3F7A7787-00CA-42A0-97CD-637349527123}" dt="2021-07-18T16:33:23.456" v="7533" actId="164"/>
          <ac:grpSpMkLst>
            <pc:docMk/>
            <pc:sldMk cId="31760108" sldId="1725"/>
            <ac:grpSpMk id="210" creationId="{8804B780-05A8-4CF1-923A-75DEB1A30128}"/>
          </ac:grpSpMkLst>
        </pc:grpChg>
        <pc:cxnChg chg="mod">
          <ac:chgData name="Yash Ratanpal" userId="5db668b1-93e7-4c08-9786-4ed81315a653" providerId="ADAL" clId="{3F7A7787-00CA-42A0-97CD-637349527123}" dt="2021-07-18T16:01:54.991" v="6601" actId="478"/>
          <ac:cxnSpMkLst>
            <pc:docMk/>
            <pc:sldMk cId="31760108" sldId="1725"/>
            <ac:cxnSpMk id="59" creationId="{5CBD4B01-6C79-4848-A4A2-DD2B65E94608}"/>
          </ac:cxnSpMkLst>
        </pc:cxnChg>
        <pc:cxnChg chg="add del mod">
          <ac:chgData name="Yash Ratanpal" userId="5db668b1-93e7-4c08-9786-4ed81315a653" providerId="ADAL" clId="{3F7A7787-00CA-42A0-97CD-637349527123}" dt="2021-07-18T16:06:13.459" v="6728" actId="478"/>
          <ac:cxnSpMkLst>
            <pc:docMk/>
            <pc:sldMk cId="31760108" sldId="1725"/>
            <ac:cxnSpMk id="141" creationId="{A701B98A-2B7B-4ED5-B77D-959A3BDAD160}"/>
          </ac:cxnSpMkLst>
        </pc:cxnChg>
        <pc:cxnChg chg="mod">
          <ac:chgData name="Yash Ratanpal" userId="5db668b1-93e7-4c08-9786-4ed81315a653" providerId="ADAL" clId="{3F7A7787-00CA-42A0-97CD-637349527123}" dt="2021-07-18T16:33:23.456" v="7533" actId="164"/>
          <ac:cxnSpMkLst>
            <pc:docMk/>
            <pc:sldMk cId="31760108" sldId="1725"/>
            <ac:cxnSpMk id="150" creationId="{2D38F854-0DFC-4486-BA52-2A3DC95438AD}"/>
          </ac:cxnSpMkLst>
        </pc:cxnChg>
      </pc:sldChg>
      <pc:sldChg chg="add del">
        <pc:chgData name="Yash Ratanpal" userId="5db668b1-93e7-4c08-9786-4ed81315a653" providerId="ADAL" clId="{3F7A7787-00CA-42A0-97CD-637349527123}" dt="2021-07-18T16:53:26.488" v="8231" actId="47"/>
        <pc:sldMkLst>
          <pc:docMk/>
          <pc:sldMk cId="235401801" sldId="1726"/>
        </pc:sldMkLst>
      </pc:sldChg>
      <pc:sldChg chg="delSp modSp add del mod">
        <pc:chgData name="Yash Ratanpal" userId="5db668b1-93e7-4c08-9786-4ed81315a653" providerId="ADAL" clId="{3F7A7787-00CA-42A0-97CD-637349527123}" dt="2021-07-18T16:21:12.693" v="7452" actId="47"/>
        <pc:sldMkLst>
          <pc:docMk/>
          <pc:sldMk cId="528217227" sldId="1726"/>
        </pc:sldMkLst>
        <pc:spChg chg="mod">
          <ac:chgData name="Yash Ratanpal" userId="5db668b1-93e7-4c08-9786-4ed81315a653" providerId="ADAL" clId="{3F7A7787-00CA-42A0-97CD-637349527123}" dt="2021-07-18T16:19:00.049" v="7451" actId="20577"/>
          <ac:spMkLst>
            <pc:docMk/>
            <pc:sldMk cId="528217227" sldId="1726"/>
            <ac:spMk id="67" creationId="{25370BD6-8939-4C02-B583-D3036DC6852E}"/>
          </ac:spMkLst>
        </pc:spChg>
        <pc:spChg chg="del">
          <ac:chgData name="Yash Ratanpal" userId="5db668b1-93e7-4c08-9786-4ed81315a653" providerId="ADAL" clId="{3F7A7787-00CA-42A0-97CD-637349527123}" dt="2021-07-18T16:18:51.244" v="7425" actId="478"/>
          <ac:spMkLst>
            <pc:docMk/>
            <pc:sldMk cId="528217227" sldId="1726"/>
            <ac:spMk id="157" creationId="{B9B65B1D-D934-4FBE-9601-6B1EA2FDB9EE}"/>
          </ac:spMkLst>
        </pc:spChg>
        <pc:grpChg chg="del">
          <ac:chgData name="Yash Ratanpal" userId="5db668b1-93e7-4c08-9786-4ed81315a653" providerId="ADAL" clId="{3F7A7787-00CA-42A0-97CD-637349527123}" dt="2021-07-18T16:18:51.244" v="7425" actId="478"/>
          <ac:grpSpMkLst>
            <pc:docMk/>
            <pc:sldMk cId="528217227" sldId="1726"/>
            <ac:grpSpMk id="149" creationId="{B4B16D95-AA2B-4C16-9EC8-EE2FEF87D292}"/>
          </ac:grpSpMkLst>
        </pc:grpChg>
        <pc:cxnChg chg="mod">
          <ac:chgData name="Yash Ratanpal" userId="5db668b1-93e7-4c08-9786-4ed81315a653" providerId="ADAL" clId="{3F7A7787-00CA-42A0-97CD-637349527123}" dt="2021-07-18T16:18:51.244" v="7425" actId="478"/>
          <ac:cxnSpMkLst>
            <pc:docMk/>
            <pc:sldMk cId="528217227" sldId="1726"/>
            <ac:cxnSpMk id="150" creationId="{2D38F854-0DFC-4486-BA52-2A3DC95438AD}"/>
          </ac:cxnSpMkLst>
        </pc:cxnChg>
      </pc:sldChg>
      <pc:sldChg chg="add del">
        <pc:chgData name="Yash Ratanpal" userId="5db668b1-93e7-4c08-9786-4ed81315a653" providerId="ADAL" clId="{3F7A7787-00CA-42A0-97CD-637349527123}" dt="2021-07-18T17:03:45.819" v="8321" actId="47"/>
        <pc:sldMkLst>
          <pc:docMk/>
          <pc:sldMk cId="1523148133" sldId="1726"/>
        </pc:sldMkLst>
      </pc:sldChg>
      <pc:sldChg chg="addSp delSp modSp add del mod">
        <pc:chgData name="Yash Ratanpal" userId="5db668b1-93e7-4c08-9786-4ed81315a653" providerId="ADAL" clId="{3F7A7787-00CA-42A0-97CD-637349527123}" dt="2021-07-18T17:39:58.701" v="8919" actId="47"/>
        <pc:sldMkLst>
          <pc:docMk/>
          <pc:sldMk cId="2938674022" sldId="1726"/>
        </pc:sldMkLst>
        <pc:spChg chg="add del mod">
          <ac:chgData name="Yash Ratanpal" userId="5db668b1-93e7-4c08-9786-4ed81315a653" providerId="ADAL" clId="{3F7A7787-00CA-42A0-97CD-637349527123}" dt="2021-07-18T17:32:52.638" v="8353" actId="21"/>
          <ac:spMkLst>
            <pc:docMk/>
            <pc:sldMk cId="2938674022" sldId="1726"/>
            <ac:spMk id="33" creationId="{0A31B582-5019-4D98-8F61-8412092D579B}"/>
          </ac:spMkLst>
        </pc:spChg>
      </pc:sldChg>
      <pc:sldChg chg="delSp modSp add del mod">
        <pc:chgData name="Yash Ratanpal" userId="5db668b1-93e7-4c08-9786-4ed81315a653" providerId="ADAL" clId="{3F7A7787-00CA-42A0-97CD-637349527123}" dt="2021-07-18T16:24:29.493" v="7485" actId="47"/>
        <pc:sldMkLst>
          <pc:docMk/>
          <pc:sldMk cId="3591831636" sldId="1726"/>
        </pc:sldMkLst>
        <pc:spChg chg="mod">
          <ac:chgData name="Yash Ratanpal" userId="5db668b1-93e7-4c08-9786-4ed81315a653" providerId="ADAL" clId="{3F7A7787-00CA-42A0-97CD-637349527123}" dt="2021-07-18T16:23:20.642" v="7484" actId="20577"/>
          <ac:spMkLst>
            <pc:docMk/>
            <pc:sldMk cId="3591831636" sldId="1726"/>
            <ac:spMk id="3" creationId="{00000000-0000-0000-0000-000000000000}"/>
          </ac:spMkLst>
        </pc:spChg>
        <pc:spChg chg="del">
          <ac:chgData name="Yash Ratanpal" userId="5db668b1-93e7-4c08-9786-4ed81315a653" providerId="ADAL" clId="{3F7A7787-00CA-42A0-97CD-637349527123}" dt="2021-07-18T16:23:04.664" v="7455" actId="478"/>
          <ac:spMkLst>
            <pc:docMk/>
            <pc:sldMk cId="3591831636" sldId="1726"/>
            <ac:spMk id="157" creationId="{B9B65B1D-D934-4FBE-9601-6B1EA2FDB9EE}"/>
          </ac:spMkLst>
        </pc:spChg>
        <pc:grpChg chg="del">
          <ac:chgData name="Yash Ratanpal" userId="5db668b1-93e7-4c08-9786-4ed81315a653" providerId="ADAL" clId="{3F7A7787-00CA-42A0-97CD-637349527123}" dt="2021-07-18T16:23:04.664" v="7455" actId="478"/>
          <ac:grpSpMkLst>
            <pc:docMk/>
            <pc:sldMk cId="3591831636" sldId="1726"/>
            <ac:grpSpMk id="149" creationId="{B4B16D95-AA2B-4C16-9EC8-EE2FEF87D292}"/>
          </ac:grpSpMkLst>
        </pc:grpChg>
        <pc:cxnChg chg="mod">
          <ac:chgData name="Yash Ratanpal" userId="5db668b1-93e7-4c08-9786-4ed81315a653" providerId="ADAL" clId="{3F7A7787-00CA-42A0-97CD-637349527123}" dt="2021-07-18T16:23:04.664" v="7455" actId="478"/>
          <ac:cxnSpMkLst>
            <pc:docMk/>
            <pc:sldMk cId="3591831636" sldId="1726"/>
            <ac:cxnSpMk id="150" creationId="{2D38F854-0DFC-4486-BA52-2A3DC95438AD}"/>
          </ac:cxnSpMkLst>
        </pc:cxnChg>
      </pc:sldChg>
      <pc:sldMasterChg chg="modSp modSldLayout">
        <pc:chgData name="Yash Ratanpal" userId="5db668b1-93e7-4c08-9786-4ed81315a653" providerId="ADAL" clId="{3F7A7787-00CA-42A0-97CD-637349527123}" dt="2021-07-11T11:37:51.357" v="246"/>
        <pc:sldMasterMkLst>
          <pc:docMk/>
          <pc:sldMasterMk cId="0" sldId="2147483660"/>
        </pc:sldMasterMkLst>
        <pc:spChg chg="mod">
          <ac:chgData name="Yash Ratanpal" userId="5db668b1-93e7-4c08-9786-4ed81315a653" providerId="ADAL" clId="{3F7A7787-00CA-42A0-97CD-637349527123}" dt="2021-07-11T11:37:51.357" v="246"/>
          <ac:spMkLst>
            <pc:docMk/>
            <pc:sldMasterMk cId="0" sldId="2147483660"/>
            <ac:spMk id="1026" creationId="{00000000-0000-0000-0000-000000000000}"/>
          </ac:spMkLst>
        </pc:spChg>
        <pc:spChg chg="mod">
          <ac:chgData name="Yash Ratanpal" userId="5db668b1-93e7-4c08-9786-4ed81315a653" providerId="ADAL" clId="{3F7A7787-00CA-42A0-97CD-637349527123}" dt="2021-07-11T11:37:51.357" v="246"/>
          <ac:spMkLst>
            <pc:docMk/>
            <pc:sldMasterMk cId="0" sldId="2147483660"/>
            <ac:spMk id="1027" creationId="{00000000-0000-0000-0000-000000000000}"/>
          </ac:spMkLst>
        </pc:spChg>
        <pc:spChg chg="mod">
          <ac:chgData name="Yash Ratanpal" userId="5db668b1-93e7-4c08-9786-4ed81315a653" providerId="ADAL" clId="{3F7A7787-00CA-42A0-97CD-637349527123}" dt="2021-07-11T11:37:51.357" v="246"/>
          <ac:spMkLst>
            <pc:docMk/>
            <pc:sldMasterMk cId="0" sldId="2147483660"/>
            <ac:spMk id="1028" creationId="{00000000-0000-0000-0000-000000000000}"/>
          </ac:spMkLst>
        </pc:spChg>
        <pc:spChg chg="mod">
          <ac:chgData name="Yash Ratanpal" userId="5db668b1-93e7-4c08-9786-4ed81315a653" providerId="ADAL" clId="{3F7A7787-00CA-42A0-97CD-637349527123}" dt="2021-07-11T11:37:51.357" v="246"/>
          <ac:spMkLst>
            <pc:docMk/>
            <pc:sldMasterMk cId="0" sldId="2147483660"/>
            <ac:spMk id="1029" creationId="{00000000-0000-0000-0000-000000000000}"/>
          </ac:spMkLst>
        </pc:spChg>
        <pc:spChg chg="mod">
          <ac:chgData name="Yash Ratanpal" userId="5db668b1-93e7-4c08-9786-4ed81315a653" providerId="ADAL" clId="{3F7A7787-00CA-42A0-97CD-637349527123}" dt="2021-07-11T11:37:51.357" v="246"/>
          <ac:spMkLst>
            <pc:docMk/>
            <pc:sldMasterMk cId="0" sldId="2147483660"/>
            <ac:spMk id="1030" creationId="{00000000-0000-0000-0000-000000000000}"/>
          </ac:spMkLst>
        </pc:spChg>
        <pc:sldLayoutChg chg="modSp">
          <pc:chgData name="Yash Ratanpal" userId="5db668b1-93e7-4c08-9786-4ed81315a653" providerId="ADAL" clId="{3F7A7787-00CA-42A0-97CD-637349527123}" dt="2021-07-11T11:37:51.357" v="246"/>
          <pc:sldLayoutMkLst>
            <pc:docMk/>
            <pc:sldMasterMk cId="0" sldId="2147483660"/>
            <pc:sldLayoutMk cId="0" sldId="2147483661"/>
          </pc:sldLayoutMkLst>
          <pc:spChg chg="mod">
            <ac:chgData name="Yash Ratanpal" userId="5db668b1-93e7-4c08-9786-4ed81315a653" providerId="ADAL" clId="{3F7A7787-00CA-42A0-97CD-637349527123}" dt="2021-07-11T11:37:51.357" v="246"/>
            <ac:spMkLst>
              <pc:docMk/>
              <pc:sldMasterMk cId="0" sldId="2147483660"/>
              <pc:sldLayoutMk cId="0" sldId="2147483661"/>
              <ac:spMk id="2" creationId="{00000000-0000-0000-0000-000000000000}"/>
            </ac:spMkLst>
          </pc:spChg>
          <pc:spChg chg="mod">
            <ac:chgData name="Yash Ratanpal" userId="5db668b1-93e7-4c08-9786-4ed81315a653" providerId="ADAL" clId="{3F7A7787-00CA-42A0-97CD-637349527123}" dt="2021-07-11T11:37:51.357" v="246"/>
            <ac:spMkLst>
              <pc:docMk/>
              <pc:sldMasterMk cId="0" sldId="2147483660"/>
              <pc:sldLayoutMk cId="0" sldId="2147483661"/>
              <ac:spMk id="3" creationId="{00000000-0000-0000-0000-000000000000}"/>
            </ac:spMkLst>
          </pc:spChg>
        </pc:sldLayoutChg>
        <pc:sldLayoutChg chg="modSp">
          <pc:chgData name="Yash Ratanpal" userId="5db668b1-93e7-4c08-9786-4ed81315a653" providerId="ADAL" clId="{3F7A7787-00CA-42A0-97CD-637349527123}" dt="2021-07-11T11:37:51.357" v="246"/>
          <pc:sldLayoutMkLst>
            <pc:docMk/>
            <pc:sldMasterMk cId="0" sldId="2147483660"/>
            <pc:sldLayoutMk cId="0" sldId="2147483663"/>
          </pc:sldLayoutMkLst>
          <pc:spChg chg="mod">
            <ac:chgData name="Yash Ratanpal" userId="5db668b1-93e7-4c08-9786-4ed81315a653" providerId="ADAL" clId="{3F7A7787-00CA-42A0-97CD-637349527123}" dt="2021-07-11T11:37:51.357" v="246"/>
            <ac:spMkLst>
              <pc:docMk/>
              <pc:sldMasterMk cId="0" sldId="2147483660"/>
              <pc:sldLayoutMk cId="0" sldId="2147483663"/>
              <ac:spMk id="2" creationId="{00000000-0000-0000-0000-000000000000}"/>
            </ac:spMkLst>
          </pc:spChg>
          <pc:spChg chg="mod">
            <ac:chgData name="Yash Ratanpal" userId="5db668b1-93e7-4c08-9786-4ed81315a653" providerId="ADAL" clId="{3F7A7787-00CA-42A0-97CD-637349527123}" dt="2021-07-11T11:37:51.357" v="246"/>
            <ac:spMkLst>
              <pc:docMk/>
              <pc:sldMasterMk cId="0" sldId="2147483660"/>
              <pc:sldLayoutMk cId="0" sldId="2147483663"/>
              <ac:spMk id="3" creationId="{00000000-0000-0000-0000-000000000000}"/>
            </ac:spMkLst>
          </pc:spChg>
        </pc:sldLayoutChg>
        <pc:sldLayoutChg chg="modSp">
          <pc:chgData name="Yash Ratanpal" userId="5db668b1-93e7-4c08-9786-4ed81315a653" providerId="ADAL" clId="{3F7A7787-00CA-42A0-97CD-637349527123}" dt="2021-07-11T11:37:51.357" v="246"/>
          <pc:sldLayoutMkLst>
            <pc:docMk/>
            <pc:sldMasterMk cId="0" sldId="2147483660"/>
            <pc:sldLayoutMk cId="0" sldId="2147483664"/>
          </pc:sldLayoutMkLst>
          <pc:spChg chg="mod">
            <ac:chgData name="Yash Ratanpal" userId="5db668b1-93e7-4c08-9786-4ed81315a653" providerId="ADAL" clId="{3F7A7787-00CA-42A0-97CD-637349527123}" dt="2021-07-11T11:37:51.357" v="246"/>
            <ac:spMkLst>
              <pc:docMk/>
              <pc:sldMasterMk cId="0" sldId="2147483660"/>
              <pc:sldLayoutMk cId="0" sldId="2147483664"/>
              <ac:spMk id="10" creationId="{00000000-0000-0000-0000-000000000000}"/>
            </ac:spMkLst>
          </pc:spChg>
          <pc:spChg chg="mod">
            <ac:chgData name="Yash Ratanpal" userId="5db668b1-93e7-4c08-9786-4ed81315a653" providerId="ADAL" clId="{3F7A7787-00CA-42A0-97CD-637349527123}" dt="2021-07-11T11:37:51.357" v="246"/>
            <ac:spMkLst>
              <pc:docMk/>
              <pc:sldMasterMk cId="0" sldId="2147483660"/>
              <pc:sldLayoutMk cId="0" sldId="2147483664"/>
              <ac:spMk id="11" creationId="{00000000-0000-0000-0000-000000000000}"/>
            </ac:spMkLst>
          </pc:spChg>
          <pc:spChg chg="mod">
            <ac:chgData name="Yash Ratanpal" userId="5db668b1-93e7-4c08-9786-4ed81315a653" providerId="ADAL" clId="{3F7A7787-00CA-42A0-97CD-637349527123}" dt="2021-07-11T11:37:51.357" v="246"/>
            <ac:spMkLst>
              <pc:docMk/>
              <pc:sldMasterMk cId="0" sldId="2147483660"/>
              <pc:sldLayoutMk cId="0" sldId="2147483664"/>
              <ac:spMk id="12" creationId="{00000000-0000-0000-0000-000000000000}"/>
            </ac:spMkLst>
          </pc:spChg>
          <pc:grpChg chg="mod">
            <ac:chgData name="Yash Ratanpal" userId="5db668b1-93e7-4c08-9786-4ed81315a653" providerId="ADAL" clId="{3F7A7787-00CA-42A0-97CD-637349527123}" dt="2021-07-11T11:37:51.357" v="246"/>
            <ac:grpSpMkLst>
              <pc:docMk/>
              <pc:sldMasterMk cId="0" sldId="2147483660"/>
              <pc:sldLayoutMk cId="0" sldId="2147483664"/>
              <ac:grpSpMk id="8" creationId="{00000000-0000-0000-0000-000000000000}"/>
            </ac:grpSpMkLst>
          </pc:grpChg>
          <pc:picChg chg="mod">
            <ac:chgData name="Yash Ratanpal" userId="5db668b1-93e7-4c08-9786-4ed81315a653" providerId="ADAL" clId="{3F7A7787-00CA-42A0-97CD-637349527123}" dt="2021-07-11T11:37:51.357" v="246"/>
            <ac:picMkLst>
              <pc:docMk/>
              <pc:sldMasterMk cId="0" sldId="2147483660"/>
              <pc:sldLayoutMk cId="0" sldId="2147483664"/>
              <ac:picMk id="9" creationId="{00000000-0000-0000-0000-000000000000}"/>
            </ac:picMkLst>
          </pc:picChg>
        </pc:sldLayoutChg>
      </pc:sldMasterChg>
      <pc:sldMasterChg chg="del delSldLayout">
        <pc:chgData name="Yash Ratanpal" userId="5db668b1-93e7-4c08-9786-4ed81315a653" providerId="ADAL" clId="{3F7A7787-00CA-42A0-97CD-637349527123}" dt="2021-07-11T11:28:40.077" v="125" actId="47"/>
        <pc:sldMasterMkLst>
          <pc:docMk/>
          <pc:sldMasterMk cId="2400931447" sldId="2147483673"/>
        </pc:sldMasterMkLst>
        <pc:sldLayoutChg chg="del">
          <pc:chgData name="Yash Ratanpal" userId="5db668b1-93e7-4c08-9786-4ed81315a653" providerId="ADAL" clId="{3F7A7787-00CA-42A0-97CD-637349527123}" dt="2021-07-11T11:28:40.077" v="125" actId="47"/>
          <pc:sldLayoutMkLst>
            <pc:docMk/>
            <pc:sldMasterMk cId="2400931447" sldId="2147483673"/>
            <pc:sldLayoutMk cId="2709482208" sldId="2147483674"/>
          </pc:sldLayoutMkLst>
        </pc:sldLayoutChg>
        <pc:sldLayoutChg chg="del">
          <pc:chgData name="Yash Ratanpal" userId="5db668b1-93e7-4c08-9786-4ed81315a653" providerId="ADAL" clId="{3F7A7787-00CA-42A0-97CD-637349527123}" dt="2021-07-11T11:28:40.077" v="125" actId="47"/>
          <pc:sldLayoutMkLst>
            <pc:docMk/>
            <pc:sldMasterMk cId="2400931447" sldId="2147483673"/>
            <pc:sldLayoutMk cId="4118370951" sldId="2147483675"/>
          </pc:sldLayoutMkLst>
        </pc:sldLayoutChg>
        <pc:sldLayoutChg chg="del">
          <pc:chgData name="Yash Ratanpal" userId="5db668b1-93e7-4c08-9786-4ed81315a653" providerId="ADAL" clId="{3F7A7787-00CA-42A0-97CD-637349527123}" dt="2021-07-11T11:28:40.077" v="125" actId="47"/>
          <pc:sldLayoutMkLst>
            <pc:docMk/>
            <pc:sldMasterMk cId="2400931447" sldId="2147483673"/>
            <pc:sldLayoutMk cId="1839011254" sldId="2147483676"/>
          </pc:sldLayoutMkLst>
        </pc:sldLayoutChg>
        <pc:sldLayoutChg chg="del">
          <pc:chgData name="Yash Ratanpal" userId="5db668b1-93e7-4c08-9786-4ed81315a653" providerId="ADAL" clId="{3F7A7787-00CA-42A0-97CD-637349527123}" dt="2021-07-11T11:28:40.077" v="125" actId="47"/>
          <pc:sldLayoutMkLst>
            <pc:docMk/>
            <pc:sldMasterMk cId="2400931447" sldId="2147483673"/>
            <pc:sldLayoutMk cId="2309050835" sldId="2147483677"/>
          </pc:sldLayoutMkLst>
        </pc:sldLayoutChg>
        <pc:sldLayoutChg chg="del">
          <pc:chgData name="Yash Ratanpal" userId="5db668b1-93e7-4c08-9786-4ed81315a653" providerId="ADAL" clId="{3F7A7787-00CA-42A0-97CD-637349527123}" dt="2021-07-11T11:28:40.077" v="125" actId="47"/>
          <pc:sldLayoutMkLst>
            <pc:docMk/>
            <pc:sldMasterMk cId="2400931447" sldId="2147483673"/>
            <pc:sldLayoutMk cId="2955172175" sldId="2147483678"/>
          </pc:sldLayoutMkLst>
        </pc:sldLayoutChg>
      </pc:sldMasterChg>
      <pc:sldMasterChg chg="modSp modSldLayout">
        <pc:chgData name="Yash Ratanpal" userId="5db668b1-93e7-4c08-9786-4ed81315a653" providerId="ADAL" clId="{3F7A7787-00CA-42A0-97CD-637349527123}" dt="2021-07-11T11:37:51.357" v="246"/>
        <pc:sldMasterMkLst>
          <pc:docMk/>
          <pc:sldMasterMk cId="3641339450" sldId="2147483673"/>
        </pc:sldMasterMkLst>
        <pc:spChg chg="mod">
          <ac:chgData name="Yash Ratanpal" userId="5db668b1-93e7-4c08-9786-4ed81315a653" providerId="ADAL" clId="{3F7A7787-00CA-42A0-97CD-637349527123}" dt="2021-07-11T11:37:51.357" v="246"/>
          <ac:spMkLst>
            <pc:docMk/>
            <pc:sldMasterMk cId="3641339450" sldId="2147483673"/>
            <ac:spMk id="2" creationId="{00000000-0000-0000-0000-000000000000}"/>
          </ac:spMkLst>
        </pc:spChg>
        <pc:spChg chg="mod">
          <ac:chgData name="Yash Ratanpal" userId="5db668b1-93e7-4c08-9786-4ed81315a653" providerId="ADAL" clId="{3F7A7787-00CA-42A0-97CD-637349527123}" dt="2021-07-11T11:37:51.357" v="246"/>
          <ac:spMkLst>
            <pc:docMk/>
            <pc:sldMasterMk cId="3641339450" sldId="2147483673"/>
            <ac:spMk id="3" creationId="{00000000-0000-0000-0000-000000000000}"/>
          </ac:spMkLst>
        </pc:spChg>
        <pc:spChg chg="mod">
          <ac:chgData name="Yash Ratanpal" userId="5db668b1-93e7-4c08-9786-4ed81315a653" providerId="ADAL" clId="{3F7A7787-00CA-42A0-97CD-637349527123}" dt="2021-07-11T11:37:51.357" v="246"/>
          <ac:spMkLst>
            <pc:docMk/>
            <pc:sldMasterMk cId="3641339450" sldId="2147483673"/>
            <ac:spMk id="4" creationId="{00000000-0000-0000-0000-000000000000}"/>
          </ac:spMkLst>
        </pc:spChg>
        <pc:spChg chg="mod">
          <ac:chgData name="Yash Ratanpal" userId="5db668b1-93e7-4c08-9786-4ed81315a653" providerId="ADAL" clId="{3F7A7787-00CA-42A0-97CD-637349527123}" dt="2021-07-11T11:37:51.357" v="246"/>
          <ac:spMkLst>
            <pc:docMk/>
            <pc:sldMasterMk cId="3641339450" sldId="2147483673"/>
            <ac:spMk id="5" creationId="{00000000-0000-0000-0000-000000000000}"/>
          </ac:spMkLst>
        </pc:spChg>
        <pc:spChg chg="mod">
          <ac:chgData name="Yash Ratanpal" userId="5db668b1-93e7-4c08-9786-4ed81315a653" providerId="ADAL" clId="{3F7A7787-00CA-42A0-97CD-637349527123}" dt="2021-07-11T11:37:51.357" v="246"/>
          <ac:spMkLst>
            <pc:docMk/>
            <pc:sldMasterMk cId="3641339450" sldId="2147483673"/>
            <ac:spMk id="6" creationId="{00000000-0000-0000-0000-000000000000}"/>
          </ac:spMkLst>
        </pc:spChg>
        <pc:sldLayoutChg chg="modSp">
          <pc:chgData name="Yash Ratanpal" userId="5db668b1-93e7-4c08-9786-4ed81315a653" providerId="ADAL" clId="{3F7A7787-00CA-42A0-97CD-637349527123}" dt="2021-07-11T11:37:51.357" v="246"/>
          <pc:sldLayoutMkLst>
            <pc:docMk/>
            <pc:sldMasterMk cId="721574228" sldId="2147483682"/>
            <pc:sldLayoutMk cId="1720469553" sldId="2147483674"/>
          </pc:sldLayoutMkLst>
          <pc:spChg chg="mod">
            <ac:chgData name="Yash Ratanpal" userId="5db668b1-93e7-4c08-9786-4ed81315a653" providerId="ADAL" clId="{3F7A7787-00CA-42A0-97CD-637349527123}" dt="2021-07-11T11:37:51.357" v="246"/>
            <ac:spMkLst>
              <pc:docMk/>
              <pc:sldMasterMk cId="721574228" sldId="2147483682"/>
              <pc:sldLayoutMk cId="1720469553" sldId="2147483674"/>
              <ac:spMk id="6" creationId="{00000000-0000-0000-0000-000000000000}"/>
            </ac:spMkLst>
          </pc:spChg>
          <pc:spChg chg="mod">
            <ac:chgData name="Yash Ratanpal" userId="5db668b1-93e7-4c08-9786-4ed81315a653" providerId="ADAL" clId="{3F7A7787-00CA-42A0-97CD-637349527123}" dt="2021-07-11T11:37:51.357" v="246"/>
            <ac:spMkLst>
              <pc:docMk/>
              <pc:sldMasterMk cId="721574228" sldId="2147483682"/>
              <pc:sldLayoutMk cId="1720469553" sldId="2147483674"/>
              <ac:spMk id="14" creationId="{5E37C7A4-CFBD-46CD-943C-100E5AA51B57}"/>
            </ac:spMkLst>
          </pc:spChg>
          <pc:spChg chg="mod">
            <ac:chgData name="Yash Ratanpal" userId="5db668b1-93e7-4c08-9786-4ed81315a653" providerId="ADAL" clId="{3F7A7787-00CA-42A0-97CD-637349527123}" dt="2021-07-11T11:37:51.357" v="246"/>
            <ac:spMkLst>
              <pc:docMk/>
              <pc:sldMasterMk cId="721574228" sldId="2147483682"/>
              <pc:sldLayoutMk cId="1720469553" sldId="2147483674"/>
              <ac:spMk id="15" creationId="{8831CD33-3664-4B01-A7E1-D23C181E40F1}"/>
            </ac:spMkLst>
          </pc:spChg>
          <pc:picChg chg="mod">
            <ac:chgData name="Yash Ratanpal" userId="5db668b1-93e7-4c08-9786-4ed81315a653" providerId="ADAL" clId="{3F7A7787-00CA-42A0-97CD-637349527123}" dt="2021-07-11T11:37:51.357" v="246"/>
            <ac:picMkLst>
              <pc:docMk/>
              <pc:sldMasterMk cId="721574228" sldId="2147483682"/>
              <pc:sldLayoutMk cId="1720469553" sldId="2147483674"/>
              <ac:picMk id="4" creationId="{03546F23-EDCD-4C11-BB8A-2AD3603F60E9}"/>
            </ac:picMkLst>
          </pc:picChg>
          <pc:picChg chg="mod">
            <ac:chgData name="Yash Ratanpal" userId="5db668b1-93e7-4c08-9786-4ed81315a653" providerId="ADAL" clId="{3F7A7787-00CA-42A0-97CD-637349527123}" dt="2021-07-11T11:37:51.357" v="246"/>
            <ac:picMkLst>
              <pc:docMk/>
              <pc:sldMasterMk cId="721574228" sldId="2147483682"/>
              <pc:sldLayoutMk cId="1720469553" sldId="2147483674"/>
              <ac:picMk id="19" creationId="{25225CB2-A222-4E85-A422-D5E58B1FA5D5}"/>
            </ac:picMkLst>
          </pc:picChg>
        </pc:sldLayoutChg>
        <pc:sldLayoutChg chg="modSp">
          <pc:chgData name="Yash Ratanpal" userId="5db668b1-93e7-4c08-9786-4ed81315a653" providerId="ADAL" clId="{3F7A7787-00CA-42A0-97CD-637349527123}" dt="2021-07-11T11:37:51.357" v="246"/>
          <pc:sldLayoutMkLst>
            <pc:docMk/>
            <pc:sldMasterMk cId="721574228" sldId="2147483682"/>
            <pc:sldLayoutMk cId="2017463183" sldId="2147483675"/>
          </pc:sldLayoutMkLst>
          <pc:spChg chg="mod">
            <ac:chgData name="Yash Ratanpal" userId="5db668b1-93e7-4c08-9786-4ed81315a653" providerId="ADAL" clId="{3F7A7787-00CA-42A0-97CD-637349527123}" dt="2021-07-11T11:37:51.357" v="246"/>
            <ac:spMkLst>
              <pc:docMk/>
              <pc:sldMasterMk cId="721574228" sldId="2147483682"/>
              <pc:sldLayoutMk cId="2017463183" sldId="2147483675"/>
              <ac:spMk id="17" creationId="{8E5DCFFB-17B5-4D49-A836-1F0495EC38CB}"/>
            </ac:spMkLst>
          </pc:spChg>
          <pc:picChg chg="mod">
            <ac:chgData name="Yash Ratanpal" userId="5db668b1-93e7-4c08-9786-4ed81315a653" providerId="ADAL" clId="{3F7A7787-00CA-42A0-97CD-637349527123}" dt="2021-07-11T11:37:51.357" v="246"/>
            <ac:picMkLst>
              <pc:docMk/>
              <pc:sldMasterMk cId="721574228" sldId="2147483682"/>
              <pc:sldLayoutMk cId="2017463183" sldId="2147483675"/>
              <ac:picMk id="6" creationId="{84013105-98CC-415E-9EE2-7920C8F6C8AB}"/>
            </ac:picMkLst>
          </pc:picChg>
          <pc:picChg chg="mod">
            <ac:chgData name="Yash Ratanpal" userId="5db668b1-93e7-4c08-9786-4ed81315a653" providerId="ADAL" clId="{3F7A7787-00CA-42A0-97CD-637349527123}" dt="2021-07-11T11:37:51.357" v="246"/>
            <ac:picMkLst>
              <pc:docMk/>
              <pc:sldMasterMk cId="721574228" sldId="2147483682"/>
              <pc:sldLayoutMk cId="2017463183" sldId="2147483675"/>
              <ac:picMk id="13" creationId="{BC27AAEA-5059-454F-88B2-BA7FE31895C2}"/>
            </ac:picMkLst>
          </pc:picChg>
        </pc:sldLayoutChg>
        <pc:sldLayoutChg chg="modSp">
          <pc:chgData name="Yash Ratanpal" userId="5db668b1-93e7-4c08-9786-4ed81315a653" providerId="ADAL" clId="{3F7A7787-00CA-42A0-97CD-637349527123}" dt="2021-07-11T11:37:51.357" v="246"/>
          <pc:sldLayoutMkLst>
            <pc:docMk/>
            <pc:sldMasterMk cId="721574228" sldId="2147483682"/>
            <pc:sldLayoutMk cId="2910332946" sldId="2147483676"/>
          </pc:sldLayoutMkLst>
          <pc:picChg chg="mod">
            <ac:chgData name="Yash Ratanpal" userId="5db668b1-93e7-4c08-9786-4ed81315a653" providerId="ADAL" clId="{3F7A7787-00CA-42A0-97CD-637349527123}" dt="2021-07-11T11:37:51.357" v="246"/>
            <ac:picMkLst>
              <pc:docMk/>
              <pc:sldMasterMk cId="721574228" sldId="2147483682"/>
              <pc:sldLayoutMk cId="2910332946" sldId="2147483676"/>
              <ac:picMk id="5" creationId="{A3CBECA8-1AAC-46D1-A07E-B52F93EC1EFF}"/>
            </ac:picMkLst>
          </pc:picChg>
        </pc:sldLayoutChg>
      </pc:sldMasterChg>
      <pc:sldMasterChg chg="modSp del delSldLayout modSldLayout">
        <pc:chgData name="Yash Ratanpal" userId="5db668b1-93e7-4c08-9786-4ed81315a653" providerId="ADAL" clId="{3F7A7787-00CA-42A0-97CD-637349527123}" dt="2021-07-11T11:49:58.122" v="669" actId="47"/>
        <pc:sldMasterMkLst>
          <pc:docMk/>
          <pc:sldMasterMk cId="2869784435" sldId="2147483678"/>
        </pc:sldMasterMkLst>
        <pc:spChg chg="mod">
          <ac:chgData name="Yash Ratanpal" userId="5db668b1-93e7-4c08-9786-4ed81315a653" providerId="ADAL" clId="{3F7A7787-00CA-42A0-97CD-637349527123}" dt="2021-07-11T11:37:51.357" v="246"/>
          <ac:spMkLst>
            <pc:docMk/>
            <pc:sldMasterMk cId="2869784435" sldId="2147483678"/>
            <ac:spMk id="2" creationId="{00000000-0000-0000-0000-000000000000}"/>
          </ac:spMkLst>
        </pc:spChg>
        <pc:spChg chg="mod">
          <ac:chgData name="Yash Ratanpal" userId="5db668b1-93e7-4c08-9786-4ed81315a653" providerId="ADAL" clId="{3F7A7787-00CA-42A0-97CD-637349527123}" dt="2021-07-11T11:37:51.357" v="246"/>
          <ac:spMkLst>
            <pc:docMk/>
            <pc:sldMasterMk cId="2869784435" sldId="2147483678"/>
            <ac:spMk id="3" creationId="{00000000-0000-0000-0000-000000000000}"/>
          </ac:spMkLst>
        </pc:spChg>
        <pc:spChg chg="mod">
          <ac:chgData name="Yash Ratanpal" userId="5db668b1-93e7-4c08-9786-4ed81315a653" providerId="ADAL" clId="{3F7A7787-00CA-42A0-97CD-637349527123}" dt="2021-07-11T11:37:51.357" v="246"/>
          <ac:spMkLst>
            <pc:docMk/>
            <pc:sldMasterMk cId="2869784435" sldId="2147483678"/>
            <ac:spMk id="19" creationId="{00000000-0000-0000-0000-000000000000}"/>
          </ac:spMkLst>
        </pc:spChg>
        <pc:graphicFrameChg chg="mod">
          <ac:chgData name="Yash Ratanpal" userId="5db668b1-93e7-4c08-9786-4ed81315a653" providerId="ADAL" clId="{3F7A7787-00CA-42A0-97CD-637349527123}" dt="2021-07-11T11:37:51.357" v="246"/>
          <ac:graphicFrameMkLst>
            <pc:docMk/>
            <pc:sldMasterMk cId="2869784435" sldId="2147483678"/>
            <ac:graphicFrameMk id="4" creationId="{00000000-0000-0000-0000-000000000000}"/>
          </ac:graphicFrameMkLst>
        </pc:graphicFrameChg>
        <pc:cxnChg chg="mod">
          <ac:chgData name="Yash Ratanpal" userId="5db668b1-93e7-4c08-9786-4ed81315a653" providerId="ADAL" clId="{3F7A7787-00CA-42A0-97CD-637349527123}" dt="2021-07-11T11:37:51.357" v="246"/>
          <ac:cxnSpMkLst>
            <pc:docMk/>
            <pc:sldMasterMk cId="2869784435" sldId="2147483678"/>
            <ac:cxnSpMk id="6" creationId="{00000000-0000-0000-0000-000000000000}"/>
          </ac:cxnSpMkLst>
        </pc:cxnChg>
        <pc:sldLayoutChg chg="del">
          <pc:chgData name="Yash Ratanpal" userId="5db668b1-93e7-4c08-9786-4ed81315a653" providerId="ADAL" clId="{3F7A7787-00CA-42A0-97CD-637349527123}" dt="2021-07-11T11:49:58.122" v="669" actId="47"/>
          <pc:sldLayoutMkLst>
            <pc:docMk/>
            <pc:sldMasterMk cId="2869784435" sldId="2147483678"/>
            <pc:sldLayoutMk cId="1131863567" sldId="2147483679"/>
          </pc:sldLayoutMkLst>
        </pc:sldLayoutChg>
        <pc:sldLayoutChg chg="modSp del">
          <pc:chgData name="Yash Ratanpal" userId="5db668b1-93e7-4c08-9786-4ed81315a653" providerId="ADAL" clId="{3F7A7787-00CA-42A0-97CD-637349527123}" dt="2021-07-11T11:49:58.122" v="669" actId="47"/>
          <pc:sldLayoutMkLst>
            <pc:docMk/>
            <pc:sldMasterMk cId="2869784435" sldId="2147483678"/>
            <pc:sldLayoutMk cId="3558909678" sldId="2147483680"/>
          </pc:sldLayoutMkLst>
          <pc:spChg chg="mod">
            <ac:chgData name="Yash Ratanpal" userId="5db668b1-93e7-4c08-9786-4ed81315a653" providerId="ADAL" clId="{3F7A7787-00CA-42A0-97CD-637349527123}" dt="2021-07-11T11:37:51.357" v="246"/>
            <ac:spMkLst>
              <pc:docMk/>
              <pc:sldMasterMk cId="2869784435" sldId="2147483678"/>
              <pc:sldLayoutMk cId="3558909678" sldId="2147483680"/>
              <ac:spMk id="2" creationId="{00000000-0000-0000-0000-000000000000}"/>
            </ac:spMkLst>
          </pc:spChg>
          <pc:spChg chg="mod">
            <ac:chgData name="Yash Ratanpal" userId="5db668b1-93e7-4c08-9786-4ed81315a653" providerId="ADAL" clId="{3F7A7787-00CA-42A0-97CD-637349527123}" dt="2021-07-11T11:37:51.357" v="246"/>
            <ac:spMkLst>
              <pc:docMk/>
              <pc:sldMasterMk cId="2869784435" sldId="2147483678"/>
              <pc:sldLayoutMk cId="3558909678" sldId="2147483680"/>
              <ac:spMk id="3" creationId="{00000000-0000-0000-0000-000000000000}"/>
            </ac:spMkLst>
          </pc:spChg>
          <pc:spChg chg="mod">
            <ac:chgData name="Yash Ratanpal" userId="5db668b1-93e7-4c08-9786-4ed81315a653" providerId="ADAL" clId="{3F7A7787-00CA-42A0-97CD-637349527123}" dt="2021-07-11T11:37:51.357" v="246"/>
            <ac:spMkLst>
              <pc:docMk/>
              <pc:sldMasterMk cId="2869784435" sldId="2147483678"/>
              <pc:sldLayoutMk cId="3558909678" sldId="2147483680"/>
              <ac:spMk id="7" creationId="{4CE106AD-1812-4267-B661-B0FC91FC7A6A}"/>
            </ac:spMkLst>
          </pc:spChg>
          <pc:spChg chg="mod">
            <ac:chgData name="Yash Ratanpal" userId="5db668b1-93e7-4c08-9786-4ed81315a653" providerId="ADAL" clId="{3F7A7787-00CA-42A0-97CD-637349527123}" dt="2021-07-11T11:37:51.357" v="246"/>
            <ac:spMkLst>
              <pc:docMk/>
              <pc:sldMasterMk cId="2869784435" sldId="2147483678"/>
              <pc:sldLayoutMk cId="3558909678" sldId="2147483680"/>
              <ac:spMk id="12" creationId="{00000000-0000-0000-0000-000000000000}"/>
            </ac:spMkLst>
          </pc:spChg>
        </pc:sldLayoutChg>
        <pc:sldLayoutChg chg="modSp del">
          <pc:chgData name="Yash Ratanpal" userId="5db668b1-93e7-4c08-9786-4ed81315a653" providerId="ADAL" clId="{3F7A7787-00CA-42A0-97CD-637349527123}" dt="2021-07-11T11:49:58.122" v="669" actId="47"/>
          <pc:sldLayoutMkLst>
            <pc:docMk/>
            <pc:sldMasterMk cId="2869784435" sldId="2147483678"/>
            <pc:sldLayoutMk cId="1571379637" sldId="2147483681"/>
          </pc:sldLayoutMkLst>
          <pc:picChg chg="mod">
            <ac:chgData name="Yash Ratanpal" userId="5db668b1-93e7-4c08-9786-4ed81315a653" providerId="ADAL" clId="{3F7A7787-00CA-42A0-97CD-637349527123}" dt="2021-07-11T11:37:51.357" v="246"/>
            <ac:picMkLst>
              <pc:docMk/>
              <pc:sldMasterMk cId="2869784435" sldId="2147483678"/>
              <pc:sldLayoutMk cId="1571379637" sldId="2147483681"/>
              <ac:picMk id="4" creationId="{00000000-0000-0000-0000-000000000000}"/>
            </ac:picMkLst>
          </pc:picChg>
          <pc:picChg chg="mod">
            <ac:chgData name="Yash Ratanpal" userId="5db668b1-93e7-4c08-9786-4ed81315a653" providerId="ADAL" clId="{3F7A7787-00CA-42A0-97CD-637349527123}" dt="2021-07-11T11:37:51.357" v="246"/>
            <ac:picMkLst>
              <pc:docMk/>
              <pc:sldMasterMk cId="2869784435" sldId="2147483678"/>
              <pc:sldLayoutMk cId="1571379637" sldId="2147483681"/>
              <ac:picMk id="7" creationId="{00000000-0000-0000-0000-000000000000}"/>
            </ac:picMkLst>
          </pc:picChg>
        </pc:sldLayoutChg>
      </pc:sldMasterChg>
      <pc:sldMasterChg chg="del delSldLayout">
        <pc:chgData name="Yash Ratanpal" userId="5db668b1-93e7-4c08-9786-4ed81315a653" providerId="ADAL" clId="{3F7A7787-00CA-42A0-97CD-637349527123}" dt="2021-07-11T11:43:35.543" v="419" actId="47"/>
        <pc:sldMasterMkLst>
          <pc:docMk/>
          <pc:sldMasterMk cId="721574228" sldId="2147483682"/>
        </pc:sldMasterMkLst>
        <pc:sldLayoutChg chg="del">
          <pc:chgData name="Yash Ratanpal" userId="5db668b1-93e7-4c08-9786-4ed81315a653" providerId="ADAL" clId="{3F7A7787-00CA-42A0-97CD-637349527123}" dt="2021-07-11T11:43:35.543" v="419" actId="47"/>
          <pc:sldLayoutMkLst>
            <pc:docMk/>
            <pc:sldMasterMk cId="721574228" sldId="2147483682"/>
            <pc:sldLayoutMk cId="1720469553" sldId="2147483674"/>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017463183" sldId="2147483675"/>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910332946" sldId="2147483676"/>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066409835" sldId="2147483683"/>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1844780380" sldId="2147483684"/>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759516439" sldId="2147483685"/>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1129869684" sldId="2147483686"/>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3907603064" sldId="2147483687"/>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549222975" sldId="2147483688"/>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1994675661" sldId="2147483689"/>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3316082964" sldId="2147483690"/>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2054813880" sldId="2147483691"/>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3927419477" sldId="2147483692"/>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473620144" sldId="2147483693"/>
          </pc:sldLayoutMkLst>
        </pc:sldLayoutChg>
        <pc:sldLayoutChg chg="del">
          <pc:chgData name="Yash Ratanpal" userId="5db668b1-93e7-4c08-9786-4ed81315a653" providerId="ADAL" clId="{3F7A7787-00CA-42A0-97CD-637349527123}" dt="2021-07-11T11:43:35.543" v="419" actId="47"/>
          <pc:sldLayoutMkLst>
            <pc:docMk/>
            <pc:sldMasterMk cId="721574228" sldId="2147483682"/>
            <pc:sldLayoutMk cId="1527730406" sldId="2147483694"/>
          </pc:sldLayoutMkLst>
        </pc:sldLayoutChg>
      </pc:sldMasterChg>
    </pc:docChg>
  </pc:docChgLst>
  <pc:docChgLst>
    <pc:chgData name="Yash Ratanpal" userId="5db668b1-93e7-4c08-9786-4ed81315a653" providerId="ADAL" clId="{6A8CBA8A-0DFA-49E5-9129-505E1F9E8E2C}"/>
    <pc:docChg chg="undo redo custSel addSld delSld modSld sldOrd delMainMaster">
      <pc:chgData name="Yash Ratanpal" userId="5db668b1-93e7-4c08-9786-4ed81315a653" providerId="ADAL" clId="{6A8CBA8A-0DFA-49E5-9129-505E1F9E8E2C}" dt="2021-07-25T11:51:04.428" v="6700" actId="20577"/>
      <pc:docMkLst>
        <pc:docMk/>
      </pc:docMkLst>
      <pc:sldChg chg="del">
        <pc:chgData name="Yash Ratanpal" userId="5db668b1-93e7-4c08-9786-4ed81315a653" providerId="ADAL" clId="{6A8CBA8A-0DFA-49E5-9129-505E1F9E8E2C}" dt="2021-07-25T10:42:05.076" v="4528" actId="47"/>
        <pc:sldMkLst>
          <pc:docMk/>
          <pc:sldMk cId="2517062226" sldId="1454"/>
        </pc:sldMkLst>
      </pc:sldChg>
      <pc:sldChg chg="del">
        <pc:chgData name="Yash Ratanpal" userId="5db668b1-93e7-4c08-9786-4ed81315a653" providerId="ADAL" clId="{6A8CBA8A-0DFA-49E5-9129-505E1F9E8E2C}" dt="2021-07-25T10:42:14.042" v="4530" actId="47"/>
        <pc:sldMkLst>
          <pc:docMk/>
          <pc:sldMk cId="1547311948" sldId="1455"/>
        </pc:sldMkLst>
      </pc:sldChg>
      <pc:sldChg chg="modSp mod">
        <pc:chgData name="Yash Ratanpal" userId="5db668b1-93e7-4c08-9786-4ed81315a653" providerId="ADAL" clId="{6A8CBA8A-0DFA-49E5-9129-505E1F9E8E2C}" dt="2021-07-25T11:51:04.428" v="6700" actId="20577"/>
        <pc:sldMkLst>
          <pc:docMk/>
          <pc:sldMk cId="3600778414" sldId="1702"/>
        </pc:sldMkLst>
        <pc:spChg chg="mod">
          <ac:chgData name="Yash Ratanpal" userId="5db668b1-93e7-4c08-9786-4ed81315a653" providerId="ADAL" clId="{6A8CBA8A-0DFA-49E5-9129-505E1F9E8E2C}" dt="2021-07-25T11:51:04.428" v="6700" actId="20577"/>
          <ac:spMkLst>
            <pc:docMk/>
            <pc:sldMk cId="3600778414" sldId="1702"/>
            <ac:spMk id="4" creationId="{00000000-0000-0000-0000-000000000000}"/>
          </ac:spMkLst>
        </pc:spChg>
      </pc:sldChg>
      <pc:sldChg chg="addSp delSp modSp mod">
        <pc:chgData name="Yash Ratanpal" userId="5db668b1-93e7-4c08-9786-4ed81315a653" providerId="ADAL" clId="{6A8CBA8A-0DFA-49E5-9129-505E1F9E8E2C}" dt="2021-07-25T08:22:15.115" v="1265" actId="14100"/>
        <pc:sldMkLst>
          <pc:docMk/>
          <pc:sldMk cId="920433170" sldId="1704"/>
        </pc:sldMkLst>
        <pc:spChg chg="add del mod">
          <ac:chgData name="Yash Ratanpal" userId="5db668b1-93e7-4c08-9786-4ed81315a653" providerId="ADAL" clId="{6A8CBA8A-0DFA-49E5-9129-505E1F9E8E2C}" dt="2021-07-25T08:19:56.799" v="1197"/>
          <ac:spMkLst>
            <pc:docMk/>
            <pc:sldMk cId="920433170" sldId="1704"/>
            <ac:spMk id="5" creationId="{3F0371F1-AE37-4364-B55C-E6DABA390B26}"/>
          </ac:spMkLst>
        </pc:spChg>
        <pc:spChg chg="add mod ord">
          <ac:chgData name="Yash Ratanpal" userId="5db668b1-93e7-4c08-9786-4ed81315a653" providerId="ADAL" clId="{6A8CBA8A-0DFA-49E5-9129-505E1F9E8E2C}" dt="2021-07-25T08:21:31.139" v="1213" actId="1582"/>
          <ac:spMkLst>
            <pc:docMk/>
            <pc:sldMk cId="920433170" sldId="1704"/>
            <ac:spMk id="6" creationId="{29B0503B-0F46-4096-ACB5-5229E680DBAE}"/>
          </ac:spMkLst>
        </pc:spChg>
        <pc:spChg chg="add mod ord">
          <ac:chgData name="Yash Ratanpal" userId="5db668b1-93e7-4c08-9786-4ed81315a653" providerId="ADAL" clId="{6A8CBA8A-0DFA-49E5-9129-505E1F9E8E2C}" dt="2021-07-25T08:21:34.919" v="1214" actId="1582"/>
          <ac:spMkLst>
            <pc:docMk/>
            <pc:sldMk cId="920433170" sldId="1704"/>
            <ac:spMk id="70" creationId="{AEFD6C59-8D18-475D-AFC4-A0ED5A9A7CE1}"/>
          </ac:spMkLst>
        </pc:spChg>
        <pc:spChg chg="add mod">
          <ac:chgData name="Yash Ratanpal" userId="5db668b1-93e7-4c08-9786-4ed81315a653" providerId="ADAL" clId="{6A8CBA8A-0DFA-49E5-9129-505E1F9E8E2C}" dt="2021-07-25T08:22:15.115" v="1265" actId="14100"/>
          <ac:spMkLst>
            <pc:docMk/>
            <pc:sldMk cId="920433170" sldId="1704"/>
            <ac:spMk id="71" creationId="{71DFDDEE-6BA0-42AE-B4C4-EB3FA8B37719}"/>
          </ac:spMkLst>
        </pc:spChg>
        <pc:spChg chg="mod">
          <ac:chgData name="Yash Ratanpal" userId="5db668b1-93e7-4c08-9786-4ed81315a653" providerId="ADAL" clId="{6A8CBA8A-0DFA-49E5-9129-505E1F9E8E2C}" dt="2021-07-25T08:21:04.443" v="1212" actId="113"/>
          <ac:spMkLst>
            <pc:docMk/>
            <pc:sldMk cId="920433170" sldId="1704"/>
            <ac:spMk id="170" creationId="{5BF48E65-18FA-4FDB-8B96-6F7DA64AC15E}"/>
          </ac:spMkLst>
        </pc:spChg>
      </pc:sldChg>
      <pc:sldChg chg="modSp mod">
        <pc:chgData name="Yash Ratanpal" userId="5db668b1-93e7-4c08-9786-4ed81315a653" providerId="ADAL" clId="{6A8CBA8A-0DFA-49E5-9129-505E1F9E8E2C}" dt="2021-07-25T10:32:08.113" v="4413" actId="113"/>
        <pc:sldMkLst>
          <pc:docMk/>
          <pc:sldMk cId="2749337049" sldId="1706"/>
        </pc:sldMkLst>
        <pc:spChg chg="mod">
          <ac:chgData name="Yash Ratanpal" userId="5db668b1-93e7-4c08-9786-4ed81315a653" providerId="ADAL" clId="{6A8CBA8A-0DFA-49E5-9129-505E1F9E8E2C}" dt="2021-07-25T07:30:50.006" v="53" actId="20577"/>
          <ac:spMkLst>
            <pc:docMk/>
            <pc:sldMk cId="2749337049" sldId="1706"/>
            <ac:spMk id="29" creationId="{C370C591-5E1D-48AE-8FC2-6FD7C21531A2}"/>
          </ac:spMkLst>
        </pc:spChg>
        <pc:spChg chg="mod">
          <ac:chgData name="Yash Ratanpal" userId="5db668b1-93e7-4c08-9786-4ed81315a653" providerId="ADAL" clId="{6A8CBA8A-0DFA-49E5-9129-505E1F9E8E2C}" dt="2021-07-25T07:31:17.267" v="69" actId="1076"/>
          <ac:spMkLst>
            <pc:docMk/>
            <pc:sldMk cId="2749337049" sldId="1706"/>
            <ac:spMk id="54" creationId="{0A35EAA0-0743-440D-B4F4-E601D22279A6}"/>
          </ac:spMkLst>
        </pc:spChg>
        <pc:spChg chg="mod">
          <ac:chgData name="Yash Ratanpal" userId="5db668b1-93e7-4c08-9786-4ed81315a653" providerId="ADAL" clId="{6A8CBA8A-0DFA-49E5-9129-505E1F9E8E2C}" dt="2021-07-25T10:32:08.113" v="4413" actId="113"/>
          <ac:spMkLst>
            <pc:docMk/>
            <pc:sldMk cId="2749337049" sldId="1706"/>
            <ac:spMk id="55" creationId="{D6FC3068-FD75-4FEC-BB33-6CC78B8F0DBD}"/>
          </ac:spMkLst>
        </pc:spChg>
      </pc:sldChg>
      <pc:sldChg chg="addSp delSp modSp mod">
        <pc:chgData name="Yash Ratanpal" userId="5db668b1-93e7-4c08-9786-4ed81315a653" providerId="ADAL" clId="{6A8CBA8A-0DFA-49E5-9129-505E1F9E8E2C}" dt="2021-07-25T07:54:41.852" v="642" actId="1076"/>
        <pc:sldMkLst>
          <pc:docMk/>
          <pc:sldMk cId="1731196988" sldId="1710"/>
        </pc:sldMkLst>
        <pc:spChg chg="mod">
          <ac:chgData name="Yash Ratanpal" userId="5db668b1-93e7-4c08-9786-4ed81315a653" providerId="ADAL" clId="{6A8CBA8A-0DFA-49E5-9129-505E1F9E8E2C}" dt="2021-07-25T07:54:41.852" v="642" actId="1076"/>
          <ac:spMkLst>
            <pc:docMk/>
            <pc:sldMk cId="1731196988" sldId="1710"/>
            <ac:spMk id="3" creationId="{00000000-0000-0000-0000-000000000000}"/>
          </ac:spMkLst>
        </pc:spChg>
        <pc:spChg chg="mod">
          <ac:chgData name="Yash Ratanpal" userId="5db668b1-93e7-4c08-9786-4ed81315a653" providerId="ADAL" clId="{6A8CBA8A-0DFA-49E5-9129-505E1F9E8E2C}" dt="2021-07-25T07:49:50.389" v="562" actId="164"/>
          <ac:spMkLst>
            <pc:docMk/>
            <pc:sldMk cId="1731196988" sldId="1710"/>
            <ac:spMk id="144" creationId="{4F88608A-C458-4D79-A468-9B74953A8C65}"/>
          </ac:spMkLst>
        </pc:spChg>
        <pc:spChg chg="mod topLvl">
          <ac:chgData name="Yash Ratanpal" userId="5db668b1-93e7-4c08-9786-4ed81315a653" providerId="ADAL" clId="{6A8CBA8A-0DFA-49E5-9129-505E1F9E8E2C}" dt="2021-07-25T07:49:50.389" v="562" actId="164"/>
          <ac:spMkLst>
            <pc:docMk/>
            <pc:sldMk cId="1731196988" sldId="1710"/>
            <ac:spMk id="146" creationId="{13969BBD-D4ED-4D3A-BC06-7AAAE4D1C26D}"/>
          </ac:spMkLst>
        </pc:spChg>
        <pc:spChg chg="mod topLvl">
          <ac:chgData name="Yash Ratanpal" userId="5db668b1-93e7-4c08-9786-4ed81315a653" providerId="ADAL" clId="{6A8CBA8A-0DFA-49E5-9129-505E1F9E8E2C}" dt="2021-07-25T07:49:50.389" v="562" actId="164"/>
          <ac:spMkLst>
            <pc:docMk/>
            <pc:sldMk cId="1731196988" sldId="1710"/>
            <ac:spMk id="147" creationId="{6C7858E4-45D2-4A14-92E0-8BAC87EC5DDA}"/>
          </ac:spMkLst>
        </pc:spChg>
        <pc:spChg chg="mod topLvl">
          <ac:chgData name="Yash Ratanpal" userId="5db668b1-93e7-4c08-9786-4ed81315a653" providerId="ADAL" clId="{6A8CBA8A-0DFA-49E5-9129-505E1F9E8E2C}" dt="2021-07-25T07:49:50.389" v="562" actId="164"/>
          <ac:spMkLst>
            <pc:docMk/>
            <pc:sldMk cId="1731196988" sldId="1710"/>
            <ac:spMk id="148" creationId="{E8BA97BB-4813-4377-B54E-C595487858FC}"/>
          </ac:spMkLst>
        </pc:spChg>
        <pc:spChg chg="mod topLvl">
          <ac:chgData name="Yash Ratanpal" userId="5db668b1-93e7-4c08-9786-4ed81315a653" providerId="ADAL" clId="{6A8CBA8A-0DFA-49E5-9129-505E1F9E8E2C}" dt="2021-07-25T07:49:50.389" v="562" actId="164"/>
          <ac:spMkLst>
            <pc:docMk/>
            <pc:sldMk cId="1731196988" sldId="1710"/>
            <ac:spMk id="149" creationId="{315E95FD-2B37-4BCD-B595-5B847C85AB4E}"/>
          </ac:spMkLst>
        </pc:spChg>
        <pc:spChg chg="mod topLvl">
          <ac:chgData name="Yash Ratanpal" userId="5db668b1-93e7-4c08-9786-4ed81315a653" providerId="ADAL" clId="{6A8CBA8A-0DFA-49E5-9129-505E1F9E8E2C}" dt="2021-07-25T07:49:50.389" v="562" actId="164"/>
          <ac:spMkLst>
            <pc:docMk/>
            <pc:sldMk cId="1731196988" sldId="1710"/>
            <ac:spMk id="150" creationId="{C503B24A-05BC-4ED5-B4D9-B9EC2A2C7E78}"/>
          </ac:spMkLst>
        </pc:spChg>
        <pc:spChg chg="mod topLvl">
          <ac:chgData name="Yash Ratanpal" userId="5db668b1-93e7-4c08-9786-4ed81315a653" providerId="ADAL" clId="{6A8CBA8A-0DFA-49E5-9129-505E1F9E8E2C}" dt="2021-07-25T07:49:50.389" v="562" actId="164"/>
          <ac:spMkLst>
            <pc:docMk/>
            <pc:sldMk cId="1731196988" sldId="1710"/>
            <ac:spMk id="151" creationId="{B8778CC7-180B-491A-9444-421E68185079}"/>
          </ac:spMkLst>
        </pc:spChg>
        <pc:spChg chg="mod topLvl">
          <ac:chgData name="Yash Ratanpal" userId="5db668b1-93e7-4c08-9786-4ed81315a653" providerId="ADAL" clId="{6A8CBA8A-0DFA-49E5-9129-505E1F9E8E2C}" dt="2021-07-25T07:49:50.389" v="562" actId="164"/>
          <ac:spMkLst>
            <pc:docMk/>
            <pc:sldMk cId="1731196988" sldId="1710"/>
            <ac:spMk id="152" creationId="{5153EBDF-663E-4546-B29E-9587C7223D3D}"/>
          </ac:spMkLst>
        </pc:spChg>
        <pc:spChg chg="mod topLvl">
          <ac:chgData name="Yash Ratanpal" userId="5db668b1-93e7-4c08-9786-4ed81315a653" providerId="ADAL" clId="{6A8CBA8A-0DFA-49E5-9129-505E1F9E8E2C}" dt="2021-07-25T07:49:50.389" v="562" actId="164"/>
          <ac:spMkLst>
            <pc:docMk/>
            <pc:sldMk cId="1731196988" sldId="1710"/>
            <ac:spMk id="153" creationId="{20F21290-7CBA-42A5-BDA6-4B5AEEC0A074}"/>
          </ac:spMkLst>
        </pc:spChg>
        <pc:spChg chg="mod topLvl">
          <ac:chgData name="Yash Ratanpal" userId="5db668b1-93e7-4c08-9786-4ed81315a653" providerId="ADAL" clId="{6A8CBA8A-0DFA-49E5-9129-505E1F9E8E2C}" dt="2021-07-25T07:49:50.389" v="562" actId="164"/>
          <ac:spMkLst>
            <pc:docMk/>
            <pc:sldMk cId="1731196988" sldId="1710"/>
            <ac:spMk id="154" creationId="{549EAC1E-FE17-4EE9-9D85-B2248CEB139C}"/>
          </ac:spMkLst>
        </pc:spChg>
        <pc:spChg chg="mod topLvl">
          <ac:chgData name="Yash Ratanpal" userId="5db668b1-93e7-4c08-9786-4ed81315a653" providerId="ADAL" clId="{6A8CBA8A-0DFA-49E5-9129-505E1F9E8E2C}" dt="2021-07-25T07:51:43.087" v="609" actId="20577"/>
          <ac:spMkLst>
            <pc:docMk/>
            <pc:sldMk cId="1731196988" sldId="1710"/>
            <ac:spMk id="155" creationId="{E92EB2FD-5356-49EE-AC7E-9C41F457F452}"/>
          </ac:spMkLst>
        </pc:spChg>
        <pc:spChg chg="mod topLvl">
          <ac:chgData name="Yash Ratanpal" userId="5db668b1-93e7-4c08-9786-4ed81315a653" providerId="ADAL" clId="{6A8CBA8A-0DFA-49E5-9129-505E1F9E8E2C}" dt="2021-07-25T07:49:50.389" v="562" actId="164"/>
          <ac:spMkLst>
            <pc:docMk/>
            <pc:sldMk cId="1731196988" sldId="1710"/>
            <ac:spMk id="156" creationId="{AD6FD6A0-FC86-454C-8287-2A0F22CFB165}"/>
          </ac:spMkLst>
        </pc:spChg>
        <pc:spChg chg="mod topLvl">
          <ac:chgData name="Yash Ratanpal" userId="5db668b1-93e7-4c08-9786-4ed81315a653" providerId="ADAL" clId="{6A8CBA8A-0DFA-49E5-9129-505E1F9E8E2C}" dt="2021-07-25T07:49:50.389" v="562" actId="164"/>
          <ac:spMkLst>
            <pc:docMk/>
            <pc:sldMk cId="1731196988" sldId="1710"/>
            <ac:spMk id="157" creationId="{2EDB25AE-C652-4D3C-9452-7EF7F3A0F86C}"/>
          </ac:spMkLst>
        </pc:spChg>
        <pc:spChg chg="mod topLvl">
          <ac:chgData name="Yash Ratanpal" userId="5db668b1-93e7-4c08-9786-4ed81315a653" providerId="ADAL" clId="{6A8CBA8A-0DFA-49E5-9129-505E1F9E8E2C}" dt="2021-07-25T07:49:50.389" v="562" actId="164"/>
          <ac:spMkLst>
            <pc:docMk/>
            <pc:sldMk cId="1731196988" sldId="1710"/>
            <ac:spMk id="158" creationId="{3D10F117-8391-400C-A50D-55A26A78A725}"/>
          </ac:spMkLst>
        </pc:spChg>
        <pc:spChg chg="mod topLvl">
          <ac:chgData name="Yash Ratanpal" userId="5db668b1-93e7-4c08-9786-4ed81315a653" providerId="ADAL" clId="{6A8CBA8A-0DFA-49E5-9129-505E1F9E8E2C}" dt="2021-07-25T07:49:50.389" v="562" actId="164"/>
          <ac:spMkLst>
            <pc:docMk/>
            <pc:sldMk cId="1731196988" sldId="1710"/>
            <ac:spMk id="159" creationId="{7866C994-67A8-4C93-A73F-193F160C2E45}"/>
          </ac:spMkLst>
        </pc:spChg>
        <pc:spChg chg="mod topLvl">
          <ac:chgData name="Yash Ratanpal" userId="5db668b1-93e7-4c08-9786-4ed81315a653" providerId="ADAL" clId="{6A8CBA8A-0DFA-49E5-9129-505E1F9E8E2C}" dt="2021-07-25T07:50:24.175" v="574" actId="108"/>
          <ac:spMkLst>
            <pc:docMk/>
            <pc:sldMk cId="1731196988" sldId="1710"/>
            <ac:spMk id="160" creationId="{6D2A8BBF-0CD4-4D28-9AFB-3E38D22C02CC}"/>
          </ac:spMkLst>
        </pc:spChg>
        <pc:spChg chg="mod topLvl">
          <ac:chgData name="Yash Ratanpal" userId="5db668b1-93e7-4c08-9786-4ed81315a653" providerId="ADAL" clId="{6A8CBA8A-0DFA-49E5-9129-505E1F9E8E2C}" dt="2021-07-25T07:50:38.197" v="589" actId="20577"/>
          <ac:spMkLst>
            <pc:docMk/>
            <pc:sldMk cId="1731196988" sldId="1710"/>
            <ac:spMk id="161" creationId="{A98B1800-AEC0-472C-8393-7F3EC919A12F}"/>
          </ac:spMkLst>
        </pc:spChg>
        <pc:spChg chg="mod topLvl">
          <ac:chgData name="Yash Ratanpal" userId="5db668b1-93e7-4c08-9786-4ed81315a653" providerId="ADAL" clId="{6A8CBA8A-0DFA-49E5-9129-505E1F9E8E2C}" dt="2021-07-25T07:50:18.385" v="570" actId="108"/>
          <ac:spMkLst>
            <pc:docMk/>
            <pc:sldMk cId="1731196988" sldId="1710"/>
            <ac:spMk id="162" creationId="{0A381D9A-2F08-4E8B-BA72-B8A5B509305E}"/>
          </ac:spMkLst>
        </pc:spChg>
        <pc:spChg chg="mod topLvl">
          <ac:chgData name="Yash Ratanpal" userId="5db668b1-93e7-4c08-9786-4ed81315a653" providerId="ADAL" clId="{6A8CBA8A-0DFA-49E5-9129-505E1F9E8E2C}" dt="2021-07-25T07:50:19.706" v="571" actId="108"/>
          <ac:spMkLst>
            <pc:docMk/>
            <pc:sldMk cId="1731196988" sldId="1710"/>
            <ac:spMk id="163" creationId="{0945EE5D-1884-49F5-A5B1-8B8F8D36ED3A}"/>
          </ac:spMkLst>
        </pc:spChg>
        <pc:spChg chg="mod">
          <ac:chgData name="Yash Ratanpal" userId="5db668b1-93e7-4c08-9786-4ed81315a653" providerId="ADAL" clId="{6A8CBA8A-0DFA-49E5-9129-505E1F9E8E2C}" dt="2021-07-25T07:49:50.389" v="562" actId="164"/>
          <ac:spMkLst>
            <pc:docMk/>
            <pc:sldMk cId="1731196988" sldId="1710"/>
            <ac:spMk id="164" creationId="{7F9C84A1-B52A-4264-8EB5-7ACBA4988BC3}"/>
          </ac:spMkLst>
        </pc:spChg>
        <pc:spChg chg="mod">
          <ac:chgData name="Yash Ratanpal" userId="5db668b1-93e7-4c08-9786-4ed81315a653" providerId="ADAL" clId="{6A8CBA8A-0DFA-49E5-9129-505E1F9E8E2C}" dt="2021-07-25T07:49:50.389" v="562" actId="164"/>
          <ac:spMkLst>
            <pc:docMk/>
            <pc:sldMk cId="1731196988" sldId="1710"/>
            <ac:spMk id="165" creationId="{39E4CAAD-C74C-44A7-A52B-786F2E6BE058}"/>
          </ac:spMkLst>
        </pc:spChg>
        <pc:grpChg chg="add mod">
          <ac:chgData name="Yash Ratanpal" userId="5db668b1-93e7-4c08-9786-4ed81315a653" providerId="ADAL" clId="{6A8CBA8A-0DFA-49E5-9129-505E1F9E8E2C}" dt="2021-07-25T07:49:46.243" v="561" actId="164"/>
          <ac:grpSpMkLst>
            <pc:docMk/>
            <pc:sldMk cId="1731196988" sldId="1710"/>
            <ac:grpSpMk id="4" creationId="{5F0F8E2D-9DC9-4E4F-B3D4-1CA0630D5330}"/>
          </ac:grpSpMkLst>
        </pc:grpChg>
        <pc:grpChg chg="add mod">
          <ac:chgData name="Yash Ratanpal" userId="5db668b1-93e7-4c08-9786-4ed81315a653" providerId="ADAL" clId="{6A8CBA8A-0DFA-49E5-9129-505E1F9E8E2C}" dt="2021-07-25T07:49:58.545" v="566" actId="14100"/>
          <ac:grpSpMkLst>
            <pc:docMk/>
            <pc:sldMk cId="1731196988" sldId="1710"/>
            <ac:grpSpMk id="5" creationId="{D95C308D-6FC5-4076-823E-45A1B3CD2EEC}"/>
          </ac:grpSpMkLst>
        </pc:grpChg>
        <pc:grpChg chg="del">
          <ac:chgData name="Yash Ratanpal" userId="5db668b1-93e7-4c08-9786-4ed81315a653" providerId="ADAL" clId="{6A8CBA8A-0DFA-49E5-9129-505E1F9E8E2C}" dt="2021-07-25T07:34:47.169" v="171" actId="165"/>
          <ac:grpSpMkLst>
            <pc:docMk/>
            <pc:sldMk cId="1731196988" sldId="1710"/>
            <ac:grpSpMk id="145" creationId="{BD51CD96-E3AF-4D78-A0A9-D82BB8B2A1D9}"/>
          </ac:grpSpMkLst>
        </pc:grpChg>
      </pc:sldChg>
      <pc:sldChg chg="addSp delSp modSp mod addAnim delAnim modAnim">
        <pc:chgData name="Yash Ratanpal" userId="5db668b1-93e7-4c08-9786-4ed81315a653" providerId="ADAL" clId="{6A8CBA8A-0DFA-49E5-9129-505E1F9E8E2C}" dt="2021-07-25T11:27:55.964" v="6009" actId="20577"/>
        <pc:sldMkLst>
          <pc:docMk/>
          <pc:sldMk cId="3413008602" sldId="1712"/>
        </pc:sldMkLst>
        <pc:spChg chg="mod">
          <ac:chgData name="Yash Ratanpal" userId="5db668b1-93e7-4c08-9786-4ed81315a653" providerId="ADAL" clId="{6A8CBA8A-0DFA-49E5-9129-505E1F9E8E2C}" dt="2021-07-25T10:32:52.537" v="4456" actId="20577"/>
          <ac:spMkLst>
            <pc:docMk/>
            <pc:sldMk cId="3413008602" sldId="1712"/>
            <ac:spMk id="3" creationId="{00000000-0000-0000-0000-000000000000}"/>
          </ac:spMkLst>
        </pc:spChg>
        <pc:spChg chg="del mod topLvl">
          <ac:chgData name="Yash Ratanpal" userId="5db668b1-93e7-4c08-9786-4ed81315a653" providerId="ADAL" clId="{6A8CBA8A-0DFA-49E5-9129-505E1F9E8E2C}" dt="2021-07-25T10:33:23.180" v="4481" actId="478"/>
          <ac:spMkLst>
            <pc:docMk/>
            <pc:sldMk cId="3413008602" sldId="1712"/>
            <ac:spMk id="24" creationId="{EB3818DC-FFE8-457E-8B24-6DC41AA1DD2F}"/>
          </ac:spMkLst>
        </pc:spChg>
        <pc:spChg chg="mod">
          <ac:chgData name="Yash Ratanpal" userId="5db668b1-93e7-4c08-9786-4ed81315a653" providerId="ADAL" clId="{6A8CBA8A-0DFA-49E5-9129-505E1F9E8E2C}" dt="2021-07-25T10:33:11.946" v="4477" actId="165"/>
          <ac:spMkLst>
            <pc:docMk/>
            <pc:sldMk cId="3413008602" sldId="1712"/>
            <ac:spMk id="26" creationId="{EB22053A-55AC-437C-9A08-C95BEA919E9B}"/>
          </ac:spMkLst>
        </pc:spChg>
        <pc:spChg chg="mod">
          <ac:chgData name="Yash Ratanpal" userId="5db668b1-93e7-4c08-9786-4ed81315a653" providerId="ADAL" clId="{6A8CBA8A-0DFA-49E5-9129-505E1F9E8E2C}" dt="2021-07-25T10:33:11.946" v="4477" actId="165"/>
          <ac:spMkLst>
            <pc:docMk/>
            <pc:sldMk cId="3413008602" sldId="1712"/>
            <ac:spMk id="27" creationId="{CF861375-267B-4F2B-99ED-DFCF7F79B4C2}"/>
          </ac:spMkLst>
        </pc:spChg>
        <pc:spChg chg="del mod topLvl">
          <ac:chgData name="Yash Ratanpal" userId="5db668b1-93e7-4c08-9786-4ed81315a653" providerId="ADAL" clId="{6A8CBA8A-0DFA-49E5-9129-505E1F9E8E2C}" dt="2021-07-25T10:34:03.242" v="4490" actId="478"/>
          <ac:spMkLst>
            <pc:docMk/>
            <pc:sldMk cId="3413008602" sldId="1712"/>
            <ac:spMk id="28" creationId="{8C3E7B96-3703-4FBF-84DF-5D7114C640F7}"/>
          </ac:spMkLst>
        </pc:spChg>
        <pc:spChg chg="mod">
          <ac:chgData name="Yash Ratanpal" userId="5db668b1-93e7-4c08-9786-4ed81315a653" providerId="ADAL" clId="{6A8CBA8A-0DFA-49E5-9129-505E1F9E8E2C}" dt="2021-07-25T10:33:11.946" v="4477" actId="165"/>
          <ac:spMkLst>
            <pc:docMk/>
            <pc:sldMk cId="3413008602" sldId="1712"/>
            <ac:spMk id="31" creationId="{F3F48C6B-5A4F-412A-923C-20DE914B00F7}"/>
          </ac:spMkLst>
        </pc:spChg>
        <pc:spChg chg="mod">
          <ac:chgData name="Yash Ratanpal" userId="5db668b1-93e7-4c08-9786-4ed81315a653" providerId="ADAL" clId="{6A8CBA8A-0DFA-49E5-9129-505E1F9E8E2C}" dt="2021-07-25T10:33:11.946" v="4477" actId="165"/>
          <ac:spMkLst>
            <pc:docMk/>
            <pc:sldMk cId="3413008602" sldId="1712"/>
            <ac:spMk id="32" creationId="{FAD69AC0-6DF4-410A-A140-5A59BF321779}"/>
          </ac:spMkLst>
        </pc:spChg>
        <pc:spChg chg="mod">
          <ac:chgData name="Yash Ratanpal" userId="5db668b1-93e7-4c08-9786-4ed81315a653" providerId="ADAL" clId="{6A8CBA8A-0DFA-49E5-9129-505E1F9E8E2C}" dt="2021-07-25T10:33:11.946" v="4477" actId="165"/>
          <ac:spMkLst>
            <pc:docMk/>
            <pc:sldMk cId="3413008602" sldId="1712"/>
            <ac:spMk id="33" creationId="{19B6D1C6-29CD-4D70-9A6E-250A10B9CE26}"/>
          </ac:spMkLst>
        </pc:spChg>
        <pc:spChg chg="mod">
          <ac:chgData name="Yash Ratanpal" userId="5db668b1-93e7-4c08-9786-4ed81315a653" providerId="ADAL" clId="{6A8CBA8A-0DFA-49E5-9129-505E1F9E8E2C}" dt="2021-07-25T10:33:11.946" v="4477" actId="165"/>
          <ac:spMkLst>
            <pc:docMk/>
            <pc:sldMk cId="3413008602" sldId="1712"/>
            <ac:spMk id="34" creationId="{64ED84D5-2D62-4C50-9622-FA86071C9DC6}"/>
          </ac:spMkLst>
        </pc:spChg>
        <pc:spChg chg="mod">
          <ac:chgData name="Yash Ratanpal" userId="5db668b1-93e7-4c08-9786-4ed81315a653" providerId="ADAL" clId="{6A8CBA8A-0DFA-49E5-9129-505E1F9E8E2C}" dt="2021-07-25T10:33:11.946" v="4477" actId="165"/>
          <ac:spMkLst>
            <pc:docMk/>
            <pc:sldMk cId="3413008602" sldId="1712"/>
            <ac:spMk id="35" creationId="{DB7D7DA9-A075-4718-9716-C28080BD3000}"/>
          </ac:spMkLst>
        </pc:spChg>
        <pc:spChg chg="mod">
          <ac:chgData name="Yash Ratanpal" userId="5db668b1-93e7-4c08-9786-4ed81315a653" providerId="ADAL" clId="{6A8CBA8A-0DFA-49E5-9129-505E1F9E8E2C}" dt="2021-07-25T10:33:11.946" v="4477" actId="165"/>
          <ac:spMkLst>
            <pc:docMk/>
            <pc:sldMk cId="3413008602" sldId="1712"/>
            <ac:spMk id="36" creationId="{42AA1961-0E5C-4EE6-BC84-AAE87978ED24}"/>
          </ac:spMkLst>
        </pc:spChg>
        <pc:spChg chg="mod">
          <ac:chgData name="Yash Ratanpal" userId="5db668b1-93e7-4c08-9786-4ed81315a653" providerId="ADAL" clId="{6A8CBA8A-0DFA-49E5-9129-505E1F9E8E2C}" dt="2021-07-25T10:33:11.946" v="4477" actId="165"/>
          <ac:spMkLst>
            <pc:docMk/>
            <pc:sldMk cId="3413008602" sldId="1712"/>
            <ac:spMk id="37" creationId="{1E780DD5-69F8-4589-BF33-76A04EC4F700}"/>
          </ac:spMkLst>
        </pc:spChg>
        <pc:spChg chg="mod">
          <ac:chgData name="Yash Ratanpal" userId="5db668b1-93e7-4c08-9786-4ed81315a653" providerId="ADAL" clId="{6A8CBA8A-0DFA-49E5-9129-505E1F9E8E2C}" dt="2021-07-25T10:33:11.946" v="4477" actId="165"/>
          <ac:spMkLst>
            <pc:docMk/>
            <pc:sldMk cId="3413008602" sldId="1712"/>
            <ac:spMk id="38" creationId="{35007344-A998-42D2-89F5-385BFDDF4AFE}"/>
          </ac:spMkLst>
        </pc:spChg>
        <pc:spChg chg="mod">
          <ac:chgData name="Yash Ratanpal" userId="5db668b1-93e7-4c08-9786-4ed81315a653" providerId="ADAL" clId="{6A8CBA8A-0DFA-49E5-9129-505E1F9E8E2C}" dt="2021-07-25T10:33:11.946" v="4477" actId="165"/>
          <ac:spMkLst>
            <pc:docMk/>
            <pc:sldMk cId="3413008602" sldId="1712"/>
            <ac:spMk id="39" creationId="{8357B115-39DA-43F1-9B1D-FD9825289F7E}"/>
          </ac:spMkLst>
        </pc:spChg>
        <pc:spChg chg="mod">
          <ac:chgData name="Yash Ratanpal" userId="5db668b1-93e7-4c08-9786-4ed81315a653" providerId="ADAL" clId="{6A8CBA8A-0DFA-49E5-9129-505E1F9E8E2C}" dt="2021-07-25T10:33:11.946" v="4477" actId="165"/>
          <ac:spMkLst>
            <pc:docMk/>
            <pc:sldMk cId="3413008602" sldId="1712"/>
            <ac:spMk id="40" creationId="{35C18B47-26F2-4D78-852D-5D82351079C8}"/>
          </ac:spMkLst>
        </pc:spChg>
        <pc:spChg chg="mod">
          <ac:chgData name="Yash Ratanpal" userId="5db668b1-93e7-4c08-9786-4ed81315a653" providerId="ADAL" clId="{6A8CBA8A-0DFA-49E5-9129-505E1F9E8E2C}" dt="2021-07-25T10:33:11.946" v="4477" actId="165"/>
          <ac:spMkLst>
            <pc:docMk/>
            <pc:sldMk cId="3413008602" sldId="1712"/>
            <ac:spMk id="41" creationId="{D43064BE-5BA9-4670-8BFD-EDA80068F39F}"/>
          </ac:spMkLst>
        </pc:spChg>
        <pc:spChg chg="mod">
          <ac:chgData name="Yash Ratanpal" userId="5db668b1-93e7-4c08-9786-4ed81315a653" providerId="ADAL" clId="{6A8CBA8A-0DFA-49E5-9129-505E1F9E8E2C}" dt="2021-07-25T10:33:11.946" v="4477" actId="165"/>
          <ac:spMkLst>
            <pc:docMk/>
            <pc:sldMk cId="3413008602" sldId="1712"/>
            <ac:spMk id="42" creationId="{3DFABC3D-7668-4DDD-915C-55E635DED6A9}"/>
          </ac:spMkLst>
        </pc:spChg>
        <pc:spChg chg="mod">
          <ac:chgData name="Yash Ratanpal" userId="5db668b1-93e7-4c08-9786-4ed81315a653" providerId="ADAL" clId="{6A8CBA8A-0DFA-49E5-9129-505E1F9E8E2C}" dt="2021-07-25T10:39:11.024" v="4492"/>
          <ac:spMkLst>
            <pc:docMk/>
            <pc:sldMk cId="3413008602" sldId="1712"/>
            <ac:spMk id="46" creationId="{887CACA3-34D0-4822-8C5A-CE7BDE2A646B}"/>
          </ac:spMkLst>
        </pc:spChg>
        <pc:spChg chg="mod">
          <ac:chgData name="Yash Ratanpal" userId="5db668b1-93e7-4c08-9786-4ed81315a653" providerId="ADAL" clId="{6A8CBA8A-0DFA-49E5-9129-505E1F9E8E2C}" dt="2021-07-25T10:39:11.024" v="4492"/>
          <ac:spMkLst>
            <pc:docMk/>
            <pc:sldMk cId="3413008602" sldId="1712"/>
            <ac:spMk id="47" creationId="{A9710C4C-7E84-41A9-B3B8-EB95E7CE0651}"/>
          </ac:spMkLst>
        </pc:spChg>
        <pc:spChg chg="del mod topLvl">
          <ac:chgData name="Yash Ratanpal" userId="5db668b1-93e7-4c08-9786-4ed81315a653" providerId="ADAL" clId="{6A8CBA8A-0DFA-49E5-9129-505E1F9E8E2C}" dt="2021-07-25T10:55:46.806" v="4894" actId="478"/>
          <ac:spMkLst>
            <pc:docMk/>
            <pc:sldMk cId="3413008602" sldId="1712"/>
            <ac:spMk id="49" creationId="{C06D5628-9C94-4827-83EB-E72A23202453}"/>
          </ac:spMkLst>
        </pc:spChg>
        <pc:spChg chg="mod topLvl">
          <ac:chgData name="Yash Ratanpal" userId="5db668b1-93e7-4c08-9786-4ed81315a653" providerId="ADAL" clId="{6A8CBA8A-0DFA-49E5-9129-505E1F9E8E2C}" dt="2021-07-25T11:27:43.174" v="5968" actId="113"/>
          <ac:spMkLst>
            <pc:docMk/>
            <pc:sldMk cId="3413008602" sldId="1712"/>
            <ac:spMk id="50" creationId="{B717427A-3B5C-4D04-940C-F96C0201DD57}"/>
          </ac:spMkLst>
        </pc:spChg>
        <pc:spChg chg="add del mod">
          <ac:chgData name="Yash Ratanpal" userId="5db668b1-93e7-4c08-9786-4ed81315a653" providerId="ADAL" clId="{6A8CBA8A-0DFA-49E5-9129-505E1F9E8E2C}" dt="2021-07-25T10:53:38.923" v="4815"/>
          <ac:spMkLst>
            <pc:docMk/>
            <pc:sldMk cId="3413008602" sldId="1712"/>
            <ac:spMk id="56" creationId="{8D496945-0B03-42F9-A593-DEF22215A2E1}"/>
          </ac:spMkLst>
        </pc:spChg>
        <pc:spChg chg="add del mod">
          <ac:chgData name="Yash Ratanpal" userId="5db668b1-93e7-4c08-9786-4ed81315a653" providerId="ADAL" clId="{6A8CBA8A-0DFA-49E5-9129-505E1F9E8E2C}" dt="2021-07-25T10:53:48.168" v="4819"/>
          <ac:spMkLst>
            <pc:docMk/>
            <pc:sldMk cId="3413008602" sldId="1712"/>
            <ac:spMk id="61" creationId="{B0503081-D010-4F14-B26D-96F5055E5E56}"/>
          </ac:spMkLst>
        </pc:spChg>
        <pc:spChg chg="add mod">
          <ac:chgData name="Yash Ratanpal" userId="5db668b1-93e7-4c08-9786-4ed81315a653" providerId="ADAL" clId="{6A8CBA8A-0DFA-49E5-9129-505E1F9E8E2C}" dt="2021-07-25T11:03:24.693" v="5338" actId="14100"/>
          <ac:spMkLst>
            <pc:docMk/>
            <pc:sldMk cId="3413008602" sldId="1712"/>
            <ac:spMk id="66" creationId="{8A75C82D-1106-40F1-87E0-69CEB56E22AB}"/>
          </ac:spMkLst>
        </pc:spChg>
        <pc:spChg chg="add del">
          <ac:chgData name="Yash Ratanpal" userId="5db668b1-93e7-4c08-9786-4ed81315a653" providerId="ADAL" clId="{6A8CBA8A-0DFA-49E5-9129-505E1F9E8E2C}" dt="2021-07-25T10:54:21.390" v="4826" actId="22"/>
          <ac:spMkLst>
            <pc:docMk/>
            <pc:sldMk cId="3413008602" sldId="1712"/>
            <ac:spMk id="67" creationId="{377A2393-1348-4958-B875-6B2C4680AC21}"/>
          </ac:spMkLst>
        </pc:spChg>
        <pc:spChg chg="add del mod">
          <ac:chgData name="Yash Ratanpal" userId="5db668b1-93e7-4c08-9786-4ed81315a653" providerId="ADAL" clId="{6A8CBA8A-0DFA-49E5-9129-505E1F9E8E2C}" dt="2021-07-25T10:54:40.713" v="4836" actId="478"/>
          <ac:spMkLst>
            <pc:docMk/>
            <pc:sldMk cId="3413008602" sldId="1712"/>
            <ac:spMk id="68" creationId="{7AE16D64-E3F9-4E1D-83F7-EF952E6D61AF}"/>
          </ac:spMkLst>
        </pc:spChg>
        <pc:spChg chg="del mod topLvl">
          <ac:chgData name="Yash Ratanpal" userId="5db668b1-93e7-4c08-9786-4ed81315a653" providerId="ADAL" clId="{6A8CBA8A-0DFA-49E5-9129-505E1F9E8E2C}" dt="2021-07-25T10:54:29.145" v="4832" actId="478"/>
          <ac:spMkLst>
            <pc:docMk/>
            <pc:sldMk cId="3413008602" sldId="1712"/>
            <ac:spMk id="70" creationId="{6B267577-752B-4D82-82EC-ADFF268C1DDA}"/>
          </ac:spMkLst>
        </pc:spChg>
        <pc:spChg chg="mod topLvl">
          <ac:chgData name="Yash Ratanpal" userId="5db668b1-93e7-4c08-9786-4ed81315a653" providerId="ADAL" clId="{6A8CBA8A-0DFA-49E5-9129-505E1F9E8E2C}" dt="2021-07-25T11:06:55.276" v="5418" actId="14100"/>
          <ac:spMkLst>
            <pc:docMk/>
            <pc:sldMk cId="3413008602" sldId="1712"/>
            <ac:spMk id="71" creationId="{DE02AF69-13F4-4282-AC0F-A52598163951}"/>
          </ac:spMkLst>
        </pc:spChg>
        <pc:spChg chg="del mod topLvl">
          <ac:chgData name="Yash Ratanpal" userId="5db668b1-93e7-4c08-9786-4ed81315a653" providerId="ADAL" clId="{6A8CBA8A-0DFA-49E5-9129-505E1F9E8E2C}" dt="2021-07-25T10:55:15.112" v="4891" actId="478"/>
          <ac:spMkLst>
            <pc:docMk/>
            <pc:sldMk cId="3413008602" sldId="1712"/>
            <ac:spMk id="73" creationId="{7A2E9027-9257-4AE6-9BF5-434C4991DFD9}"/>
          </ac:spMkLst>
        </pc:spChg>
        <pc:spChg chg="del mod topLvl">
          <ac:chgData name="Yash Ratanpal" userId="5db668b1-93e7-4c08-9786-4ed81315a653" providerId="ADAL" clId="{6A8CBA8A-0DFA-49E5-9129-505E1F9E8E2C}" dt="2021-07-25T10:55:18.086" v="4892" actId="478"/>
          <ac:spMkLst>
            <pc:docMk/>
            <pc:sldMk cId="3413008602" sldId="1712"/>
            <ac:spMk id="74" creationId="{CEEA849C-520D-4A7B-9E0B-799CAFB4024D}"/>
          </ac:spMkLst>
        </pc:spChg>
        <pc:spChg chg="add mod">
          <ac:chgData name="Yash Ratanpal" userId="5db668b1-93e7-4c08-9786-4ed81315a653" providerId="ADAL" clId="{6A8CBA8A-0DFA-49E5-9129-505E1F9E8E2C}" dt="2021-07-25T11:10:02.086" v="5466" actId="113"/>
          <ac:spMkLst>
            <pc:docMk/>
            <pc:sldMk cId="3413008602" sldId="1712"/>
            <ac:spMk id="75" creationId="{13BC00E0-10CD-49A3-B029-B5AE0DB0786B}"/>
          </ac:spMkLst>
        </pc:spChg>
        <pc:spChg chg="add del mod">
          <ac:chgData name="Yash Ratanpal" userId="5db668b1-93e7-4c08-9786-4ed81315a653" providerId="ADAL" clId="{6A8CBA8A-0DFA-49E5-9129-505E1F9E8E2C}" dt="2021-07-25T10:57:08.969" v="4922" actId="478"/>
          <ac:spMkLst>
            <pc:docMk/>
            <pc:sldMk cId="3413008602" sldId="1712"/>
            <ac:spMk id="76" creationId="{FA196CDE-4D0F-42F7-A1FD-784EB87D8137}"/>
          </ac:spMkLst>
        </pc:spChg>
        <pc:spChg chg="add del mod">
          <ac:chgData name="Yash Ratanpal" userId="5db668b1-93e7-4c08-9786-4ed81315a653" providerId="ADAL" clId="{6A8CBA8A-0DFA-49E5-9129-505E1F9E8E2C}" dt="2021-07-25T11:06:23.855" v="5411" actId="478"/>
          <ac:spMkLst>
            <pc:docMk/>
            <pc:sldMk cId="3413008602" sldId="1712"/>
            <ac:spMk id="77" creationId="{F0EF972D-F4E8-4520-B8A6-06D1F74B76BF}"/>
          </ac:spMkLst>
        </pc:spChg>
        <pc:spChg chg="add mod">
          <ac:chgData name="Yash Ratanpal" userId="5db668b1-93e7-4c08-9786-4ed81315a653" providerId="ADAL" clId="{6A8CBA8A-0DFA-49E5-9129-505E1F9E8E2C}" dt="2021-07-25T11:06:52.993" v="5417" actId="1076"/>
          <ac:spMkLst>
            <pc:docMk/>
            <pc:sldMk cId="3413008602" sldId="1712"/>
            <ac:spMk id="78" creationId="{8770DC8E-7D0F-44A3-9EEC-9353BE1E1D7A}"/>
          </ac:spMkLst>
        </pc:spChg>
        <pc:spChg chg="add mod">
          <ac:chgData name="Yash Ratanpal" userId="5db668b1-93e7-4c08-9786-4ed81315a653" providerId="ADAL" clId="{6A8CBA8A-0DFA-49E5-9129-505E1F9E8E2C}" dt="2021-07-25T11:27:55.964" v="6009" actId="20577"/>
          <ac:spMkLst>
            <pc:docMk/>
            <pc:sldMk cId="3413008602" sldId="1712"/>
            <ac:spMk id="82" creationId="{8C85BBCC-1BB5-4166-9C6E-67DE9EC1D7BE}"/>
          </ac:spMkLst>
        </pc:spChg>
        <pc:grpChg chg="del mod topLvl">
          <ac:chgData name="Yash Ratanpal" userId="5db668b1-93e7-4c08-9786-4ed81315a653" providerId="ADAL" clId="{6A8CBA8A-0DFA-49E5-9129-505E1F9E8E2C}" dt="2021-07-25T10:34:03.242" v="4490" actId="478"/>
          <ac:grpSpMkLst>
            <pc:docMk/>
            <pc:sldMk cId="3413008602" sldId="1712"/>
            <ac:grpSpMk id="25" creationId="{D376140C-B4C2-4D4A-A9B3-E32C1FB6CA1B}"/>
          </ac:grpSpMkLst>
        </pc:grpChg>
        <pc:grpChg chg="del mod topLvl">
          <ac:chgData name="Yash Ratanpal" userId="5db668b1-93e7-4c08-9786-4ed81315a653" providerId="ADAL" clId="{6A8CBA8A-0DFA-49E5-9129-505E1F9E8E2C}" dt="2021-07-25T10:33:13.782" v="4478" actId="478"/>
          <ac:grpSpMkLst>
            <pc:docMk/>
            <pc:sldMk cId="3413008602" sldId="1712"/>
            <ac:grpSpMk id="30" creationId="{8B623FBA-DD1B-47DF-9210-AF07777601C2}"/>
          </ac:grpSpMkLst>
        </pc:grpChg>
        <pc:grpChg chg="del">
          <ac:chgData name="Yash Ratanpal" userId="5db668b1-93e7-4c08-9786-4ed81315a653" providerId="ADAL" clId="{6A8CBA8A-0DFA-49E5-9129-505E1F9E8E2C}" dt="2021-07-25T10:33:11.946" v="4477" actId="165"/>
          <ac:grpSpMkLst>
            <pc:docMk/>
            <pc:sldMk cId="3413008602" sldId="1712"/>
            <ac:grpSpMk id="44" creationId="{6805D841-338E-4EDC-9FB2-EDC150083FE5}"/>
          </ac:grpSpMkLst>
        </pc:grpChg>
        <pc:grpChg chg="add del mod">
          <ac:chgData name="Yash Ratanpal" userId="5db668b1-93e7-4c08-9786-4ed81315a653" providerId="ADAL" clId="{6A8CBA8A-0DFA-49E5-9129-505E1F9E8E2C}" dt="2021-07-25T10:39:12.367" v="4493"/>
          <ac:grpSpMkLst>
            <pc:docMk/>
            <pc:sldMk cId="3413008602" sldId="1712"/>
            <ac:grpSpMk id="45" creationId="{312F48A5-4C65-4795-954A-9F8FF3895735}"/>
          </ac:grpSpMkLst>
        </pc:grpChg>
        <pc:grpChg chg="add del mod">
          <ac:chgData name="Yash Ratanpal" userId="5db668b1-93e7-4c08-9786-4ed81315a653" providerId="ADAL" clId="{6A8CBA8A-0DFA-49E5-9129-505E1F9E8E2C}" dt="2021-07-25T10:55:46.806" v="4894" actId="478"/>
          <ac:grpSpMkLst>
            <pc:docMk/>
            <pc:sldMk cId="3413008602" sldId="1712"/>
            <ac:grpSpMk id="48" creationId="{5F69EF16-B65E-4A47-81DB-9F58FF544F3F}"/>
          </ac:grpSpMkLst>
        </pc:grpChg>
        <pc:grpChg chg="add del mod">
          <ac:chgData name="Yash Ratanpal" userId="5db668b1-93e7-4c08-9786-4ed81315a653" providerId="ADAL" clId="{6A8CBA8A-0DFA-49E5-9129-505E1F9E8E2C}" dt="2021-07-25T10:54:29.145" v="4832" actId="478"/>
          <ac:grpSpMkLst>
            <pc:docMk/>
            <pc:sldMk cId="3413008602" sldId="1712"/>
            <ac:grpSpMk id="69" creationId="{0B3CC9F5-CFF0-4116-A065-40E9B2332023}"/>
          </ac:grpSpMkLst>
        </pc:grpChg>
        <pc:grpChg chg="add del mod">
          <ac:chgData name="Yash Ratanpal" userId="5db668b1-93e7-4c08-9786-4ed81315a653" providerId="ADAL" clId="{6A8CBA8A-0DFA-49E5-9129-505E1F9E8E2C}" dt="2021-07-25T10:55:15.112" v="4891" actId="478"/>
          <ac:grpSpMkLst>
            <pc:docMk/>
            <pc:sldMk cId="3413008602" sldId="1712"/>
            <ac:grpSpMk id="72" creationId="{D01142A4-D7FD-4D80-BF09-06C8C284F150}"/>
          </ac:grpSpMkLst>
        </pc:grpChg>
        <pc:graphicFrameChg chg="del mod topLvl">
          <ac:chgData name="Yash Ratanpal" userId="5db668b1-93e7-4c08-9786-4ed81315a653" providerId="ADAL" clId="{6A8CBA8A-0DFA-49E5-9129-505E1F9E8E2C}" dt="2021-07-25T10:34:04.615" v="4491" actId="478"/>
          <ac:graphicFrameMkLst>
            <pc:docMk/>
            <pc:sldMk cId="3413008602" sldId="1712"/>
            <ac:graphicFrameMk id="43" creationId="{2C4EF820-238F-4607-910A-60242C9751F4}"/>
          </ac:graphicFrameMkLst>
        </pc:graphicFrameChg>
        <pc:graphicFrameChg chg="add del mod">
          <ac:chgData name="Yash Ratanpal" userId="5db668b1-93e7-4c08-9786-4ed81315a653" providerId="ADAL" clId="{6A8CBA8A-0DFA-49E5-9129-505E1F9E8E2C}" dt="2021-07-25T10:46:04.091" v="4554" actId="478"/>
          <ac:graphicFrameMkLst>
            <pc:docMk/>
            <pc:sldMk cId="3413008602" sldId="1712"/>
            <ac:graphicFrameMk id="51" creationId="{6CAF653C-52F7-4174-AB8F-A4B99E39BB95}"/>
          </ac:graphicFrameMkLst>
        </pc:graphicFrameChg>
        <pc:graphicFrameChg chg="add del mod">
          <ac:chgData name="Yash Ratanpal" userId="5db668b1-93e7-4c08-9786-4ed81315a653" providerId="ADAL" clId="{6A8CBA8A-0DFA-49E5-9129-505E1F9E8E2C}" dt="2021-07-25T10:46:19.417" v="4561" actId="478"/>
          <ac:graphicFrameMkLst>
            <pc:docMk/>
            <pc:sldMk cId="3413008602" sldId="1712"/>
            <ac:graphicFrameMk id="52" creationId="{AD09F217-69A8-452F-AF0B-4D67B96E7B15}"/>
          </ac:graphicFrameMkLst>
        </pc:graphicFrameChg>
        <pc:graphicFrameChg chg="add del mod">
          <ac:chgData name="Yash Ratanpal" userId="5db668b1-93e7-4c08-9786-4ed81315a653" providerId="ADAL" clId="{6A8CBA8A-0DFA-49E5-9129-505E1F9E8E2C}" dt="2021-07-25T10:47:10.324" v="4583" actId="478"/>
          <ac:graphicFrameMkLst>
            <pc:docMk/>
            <pc:sldMk cId="3413008602" sldId="1712"/>
            <ac:graphicFrameMk id="53" creationId="{AD09F217-69A8-452F-AF0B-4D67B96E7B15}"/>
          </ac:graphicFrameMkLst>
        </pc:graphicFrameChg>
        <pc:graphicFrameChg chg="add mod">
          <ac:chgData name="Yash Ratanpal" userId="5db668b1-93e7-4c08-9786-4ed81315a653" providerId="ADAL" clId="{6A8CBA8A-0DFA-49E5-9129-505E1F9E8E2C}" dt="2021-07-25T10:46:34.958" v="4570"/>
          <ac:graphicFrameMkLst>
            <pc:docMk/>
            <pc:sldMk cId="3413008602" sldId="1712"/>
            <ac:graphicFrameMk id="54" creationId="{EEC61628-4DA7-48B1-B033-4D5075B7A6EB}"/>
          </ac:graphicFrameMkLst>
        </pc:graphicFrameChg>
        <pc:graphicFrameChg chg="add del mod">
          <ac:chgData name="Yash Ratanpal" userId="5db668b1-93e7-4c08-9786-4ed81315a653" providerId="ADAL" clId="{6A8CBA8A-0DFA-49E5-9129-505E1F9E8E2C}" dt="2021-07-25T10:47:10.826" v="4584" actId="478"/>
          <ac:graphicFrameMkLst>
            <pc:docMk/>
            <pc:sldMk cId="3413008602" sldId="1712"/>
            <ac:graphicFrameMk id="55" creationId="{EEC61628-4DA7-48B1-B033-4D5075B7A6EB}"/>
          </ac:graphicFrameMkLst>
        </pc:graphicFrameChg>
        <pc:graphicFrameChg chg="add del mod">
          <ac:chgData name="Yash Ratanpal" userId="5db668b1-93e7-4c08-9786-4ed81315a653" providerId="ADAL" clId="{6A8CBA8A-0DFA-49E5-9129-505E1F9E8E2C}" dt="2021-07-25T10:53:38.923" v="4815"/>
          <ac:graphicFrameMkLst>
            <pc:docMk/>
            <pc:sldMk cId="3413008602" sldId="1712"/>
            <ac:graphicFrameMk id="58" creationId="{D3CAA159-2F9F-4A22-A55C-B89FDEACF023}"/>
          </ac:graphicFrameMkLst>
        </pc:graphicFrameChg>
        <pc:graphicFrameChg chg="add del mod">
          <ac:chgData name="Yash Ratanpal" userId="5db668b1-93e7-4c08-9786-4ed81315a653" providerId="ADAL" clId="{6A8CBA8A-0DFA-49E5-9129-505E1F9E8E2C}" dt="2021-07-25T10:53:38.923" v="4815"/>
          <ac:graphicFrameMkLst>
            <pc:docMk/>
            <pc:sldMk cId="3413008602" sldId="1712"/>
            <ac:graphicFrameMk id="59" creationId="{9C0471D4-DE64-42E7-A640-7FBA29CFEE73}"/>
          </ac:graphicFrameMkLst>
        </pc:graphicFrameChg>
        <pc:graphicFrameChg chg="add del mod">
          <ac:chgData name="Yash Ratanpal" userId="5db668b1-93e7-4c08-9786-4ed81315a653" providerId="ADAL" clId="{6A8CBA8A-0DFA-49E5-9129-505E1F9E8E2C}" dt="2021-07-25T10:53:48.168" v="4819"/>
          <ac:graphicFrameMkLst>
            <pc:docMk/>
            <pc:sldMk cId="3413008602" sldId="1712"/>
            <ac:graphicFrameMk id="63" creationId="{4B42785F-947A-40E1-8469-6133EEA3FB15}"/>
          </ac:graphicFrameMkLst>
        </pc:graphicFrameChg>
        <pc:graphicFrameChg chg="add del mod">
          <ac:chgData name="Yash Ratanpal" userId="5db668b1-93e7-4c08-9786-4ed81315a653" providerId="ADAL" clId="{6A8CBA8A-0DFA-49E5-9129-505E1F9E8E2C}" dt="2021-07-25T10:53:48.168" v="4819"/>
          <ac:graphicFrameMkLst>
            <pc:docMk/>
            <pc:sldMk cId="3413008602" sldId="1712"/>
            <ac:graphicFrameMk id="64" creationId="{AA3D3467-0271-4249-BE49-997838C2562D}"/>
          </ac:graphicFrameMkLst>
        </pc:graphicFrameChg>
        <pc:graphicFrameChg chg="add del mod modGraphic">
          <ac:chgData name="Yash Ratanpal" userId="5db668b1-93e7-4c08-9786-4ed81315a653" providerId="ADAL" clId="{6A8CBA8A-0DFA-49E5-9129-505E1F9E8E2C}" dt="2021-07-25T11:09:15.646" v="5458" actId="14100"/>
          <ac:graphicFrameMkLst>
            <pc:docMk/>
            <pc:sldMk cId="3413008602" sldId="1712"/>
            <ac:graphicFrameMk id="79" creationId="{0FE1F9AC-35D7-42FD-8C39-ADB9A1EEAC57}"/>
          </ac:graphicFrameMkLst>
        </pc:graphicFrameChg>
        <pc:graphicFrameChg chg="add del mod modGraphic">
          <ac:chgData name="Yash Ratanpal" userId="5db668b1-93e7-4c08-9786-4ed81315a653" providerId="ADAL" clId="{6A8CBA8A-0DFA-49E5-9129-505E1F9E8E2C}" dt="2021-07-25T11:09:19.161" v="5460" actId="14100"/>
          <ac:graphicFrameMkLst>
            <pc:docMk/>
            <pc:sldMk cId="3413008602" sldId="1712"/>
            <ac:graphicFrameMk id="80" creationId="{C7512D2C-6701-47EC-9A3F-6183A6992ACA}"/>
          </ac:graphicFrameMkLst>
        </pc:graphicFrameChg>
        <pc:picChg chg="add del mod">
          <ac:chgData name="Yash Ratanpal" userId="5db668b1-93e7-4c08-9786-4ed81315a653" providerId="ADAL" clId="{6A8CBA8A-0DFA-49E5-9129-505E1F9E8E2C}" dt="2021-07-25T11:08:30.684" v="5444" actId="22"/>
          <ac:picMkLst>
            <pc:docMk/>
            <pc:sldMk cId="3413008602" sldId="1712"/>
            <ac:picMk id="7" creationId="{065C5FFB-A1AD-4056-A4FC-BD409EC27931}"/>
          </ac:picMkLst>
        </pc:picChg>
        <pc:cxnChg chg="del mod topLvl">
          <ac:chgData name="Yash Ratanpal" userId="5db668b1-93e7-4c08-9786-4ed81315a653" providerId="ADAL" clId="{6A8CBA8A-0DFA-49E5-9129-505E1F9E8E2C}" dt="2021-07-25T10:33:13.782" v="4478" actId="478"/>
          <ac:cxnSpMkLst>
            <pc:docMk/>
            <pc:sldMk cId="3413008602" sldId="1712"/>
            <ac:cxnSpMk id="29" creationId="{737AABC2-746B-4951-A97E-6F7F2A20AA7E}"/>
          </ac:cxnSpMkLst>
        </pc:cxnChg>
        <pc:cxnChg chg="add del mod">
          <ac:chgData name="Yash Ratanpal" userId="5db668b1-93e7-4c08-9786-4ed81315a653" providerId="ADAL" clId="{6A8CBA8A-0DFA-49E5-9129-505E1F9E8E2C}" dt="2021-07-25T10:53:38.923" v="4815"/>
          <ac:cxnSpMkLst>
            <pc:docMk/>
            <pc:sldMk cId="3413008602" sldId="1712"/>
            <ac:cxnSpMk id="57" creationId="{0734C512-4C74-47D8-AD76-8F07F75424D1}"/>
          </ac:cxnSpMkLst>
        </pc:cxnChg>
        <pc:cxnChg chg="add del mod">
          <ac:chgData name="Yash Ratanpal" userId="5db668b1-93e7-4c08-9786-4ed81315a653" providerId="ADAL" clId="{6A8CBA8A-0DFA-49E5-9129-505E1F9E8E2C}" dt="2021-07-25T10:53:38.923" v="4815"/>
          <ac:cxnSpMkLst>
            <pc:docMk/>
            <pc:sldMk cId="3413008602" sldId="1712"/>
            <ac:cxnSpMk id="60" creationId="{42C9BD94-219F-4B30-87D3-9A2742F8CBBD}"/>
          </ac:cxnSpMkLst>
        </pc:cxnChg>
        <pc:cxnChg chg="add del mod">
          <ac:chgData name="Yash Ratanpal" userId="5db668b1-93e7-4c08-9786-4ed81315a653" providerId="ADAL" clId="{6A8CBA8A-0DFA-49E5-9129-505E1F9E8E2C}" dt="2021-07-25T10:53:48.168" v="4819"/>
          <ac:cxnSpMkLst>
            <pc:docMk/>
            <pc:sldMk cId="3413008602" sldId="1712"/>
            <ac:cxnSpMk id="62" creationId="{6403B232-839C-4F79-9B44-77085AA63A3A}"/>
          </ac:cxnSpMkLst>
        </pc:cxnChg>
        <pc:cxnChg chg="add del mod">
          <ac:chgData name="Yash Ratanpal" userId="5db668b1-93e7-4c08-9786-4ed81315a653" providerId="ADAL" clId="{6A8CBA8A-0DFA-49E5-9129-505E1F9E8E2C}" dt="2021-07-25T10:53:48.168" v="4819"/>
          <ac:cxnSpMkLst>
            <pc:docMk/>
            <pc:sldMk cId="3413008602" sldId="1712"/>
            <ac:cxnSpMk id="65" creationId="{59477719-B460-4FD4-9FD7-54B51A88CBCB}"/>
          </ac:cxnSpMkLst>
        </pc:cxnChg>
        <pc:cxnChg chg="add del mod">
          <ac:chgData name="Yash Ratanpal" userId="5db668b1-93e7-4c08-9786-4ed81315a653" providerId="ADAL" clId="{6A8CBA8A-0DFA-49E5-9129-505E1F9E8E2C}" dt="2021-07-25T11:07:12.683" v="5421" actId="478"/>
          <ac:cxnSpMkLst>
            <pc:docMk/>
            <pc:sldMk cId="3413008602" sldId="1712"/>
            <ac:cxnSpMk id="81" creationId="{67BF430D-A69C-42F9-B1BB-C0524CAB27AB}"/>
          </ac:cxnSpMkLst>
        </pc:cxnChg>
      </pc:sldChg>
      <pc:sldChg chg="modSp mod">
        <pc:chgData name="Yash Ratanpal" userId="5db668b1-93e7-4c08-9786-4ed81315a653" providerId="ADAL" clId="{6A8CBA8A-0DFA-49E5-9129-505E1F9E8E2C}" dt="2021-07-25T11:45:58.564" v="6472" actId="20577"/>
        <pc:sldMkLst>
          <pc:docMk/>
          <pc:sldMk cId="2215528273" sldId="1715"/>
        </pc:sldMkLst>
        <pc:spChg chg="mod">
          <ac:chgData name="Yash Ratanpal" userId="5db668b1-93e7-4c08-9786-4ed81315a653" providerId="ADAL" clId="{6A8CBA8A-0DFA-49E5-9129-505E1F9E8E2C}" dt="2021-07-25T11:45:58.564" v="6472" actId="20577"/>
          <ac:spMkLst>
            <pc:docMk/>
            <pc:sldMk cId="2215528273" sldId="1715"/>
            <ac:spMk id="3" creationId="{00000000-0000-0000-0000-000000000000}"/>
          </ac:spMkLst>
        </pc:spChg>
      </pc:sldChg>
      <pc:sldChg chg="modSp mod">
        <pc:chgData name="Yash Ratanpal" userId="5db668b1-93e7-4c08-9786-4ed81315a653" providerId="ADAL" clId="{6A8CBA8A-0DFA-49E5-9129-505E1F9E8E2C}" dt="2021-07-25T11:46:18.729" v="6481" actId="20577"/>
        <pc:sldMkLst>
          <pc:docMk/>
          <pc:sldMk cId="2852442038" sldId="1716"/>
        </pc:sldMkLst>
        <pc:spChg chg="mod">
          <ac:chgData name="Yash Ratanpal" userId="5db668b1-93e7-4c08-9786-4ed81315a653" providerId="ADAL" clId="{6A8CBA8A-0DFA-49E5-9129-505E1F9E8E2C}" dt="2021-07-25T11:46:18.729" v="6481" actId="20577"/>
          <ac:spMkLst>
            <pc:docMk/>
            <pc:sldMk cId="2852442038" sldId="1716"/>
            <ac:spMk id="3" creationId="{00000000-0000-0000-0000-000000000000}"/>
          </ac:spMkLst>
        </pc:spChg>
      </pc:sldChg>
      <pc:sldChg chg="modSp mod">
        <pc:chgData name="Yash Ratanpal" userId="5db668b1-93e7-4c08-9786-4ed81315a653" providerId="ADAL" clId="{6A8CBA8A-0DFA-49E5-9129-505E1F9E8E2C}" dt="2021-07-25T11:46:57.155" v="6487" actId="1076"/>
        <pc:sldMkLst>
          <pc:docMk/>
          <pc:sldMk cId="1933103214" sldId="1718"/>
        </pc:sldMkLst>
        <pc:spChg chg="mod">
          <ac:chgData name="Yash Ratanpal" userId="5db668b1-93e7-4c08-9786-4ed81315a653" providerId="ADAL" clId="{6A8CBA8A-0DFA-49E5-9129-505E1F9E8E2C}" dt="2021-07-25T11:46:57.155" v="6487" actId="1076"/>
          <ac:spMkLst>
            <pc:docMk/>
            <pc:sldMk cId="1933103214" sldId="1718"/>
            <ac:spMk id="12" creationId="{14089CA9-BEE7-4F25-97FD-EE66A4F6E6CF}"/>
          </ac:spMkLst>
        </pc:spChg>
        <pc:grpChg chg="mod">
          <ac:chgData name="Yash Ratanpal" userId="5db668b1-93e7-4c08-9786-4ed81315a653" providerId="ADAL" clId="{6A8CBA8A-0DFA-49E5-9129-505E1F9E8E2C}" dt="2021-07-25T11:46:47.942" v="6484" actId="14100"/>
          <ac:grpSpMkLst>
            <pc:docMk/>
            <pc:sldMk cId="1933103214" sldId="1718"/>
            <ac:grpSpMk id="13" creationId="{72A41D7B-8649-4007-A5FA-AD6A791A4E4D}"/>
          </ac:grpSpMkLst>
        </pc:grpChg>
      </pc:sldChg>
      <pc:sldChg chg="addSp modSp del mod">
        <pc:chgData name="Yash Ratanpal" userId="5db668b1-93e7-4c08-9786-4ed81315a653" providerId="ADAL" clId="{6A8CBA8A-0DFA-49E5-9129-505E1F9E8E2C}" dt="2021-07-25T08:12:19.346" v="718" actId="47"/>
        <pc:sldMkLst>
          <pc:docMk/>
          <pc:sldMk cId="1075433366" sldId="1721"/>
        </pc:sldMkLst>
        <pc:spChg chg="mod">
          <ac:chgData name="Yash Ratanpal" userId="5db668b1-93e7-4c08-9786-4ed81315a653" providerId="ADAL" clId="{6A8CBA8A-0DFA-49E5-9129-505E1F9E8E2C}" dt="2021-07-25T07:54:46.500" v="643" actId="1076"/>
          <ac:spMkLst>
            <pc:docMk/>
            <pc:sldMk cId="1075433366" sldId="1721"/>
            <ac:spMk id="3" creationId="{00000000-0000-0000-0000-000000000000}"/>
          </ac:spMkLst>
        </pc:spChg>
        <pc:spChg chg="mod">
          <ac:chgData name="Yash Ratanpal" userId="5db668b1-93e7-4c08-9786-4ed81315a653" providerId="ADAL" clId="{6A8CBA8A-0DFA-49E5-9129-505E1F9E8E2C}" dt="2021-07-25T07:54:26.769" v="640"/>
          <ac:spMkLst>
            <pc:docMk/>
            <pc:sldMk cId="1075433366" sldId="1721"/>
            <ac:spMk id="5" creationId="{03BD241D-8D77-49DC-B538-4C291F01D75D}"/>
          </ac:spMkLst>
        </pc:spChg>
        <pc:spChg chg="mod">
          <ac:chgData name="Yash Ratanpal" userId="5db668b1-93e7-4c08-9786-4ed81315a653" providerId="ADAL" clId="{6A8CBA8A-0DFA-49E5-9129-505E1F9E8E2C}" dt="2021-07-25T07:54:26.769" v="640"/>
          <ac:spMkLst>
            <pc:docMk/>
            <pc:sldMk cId="1075433366" sldId="1721"/>
            <ac:spMk id="6" creationId="{62D4A9C0-30B8-4510-852A-9E024FB37DD5}"/>
          </ac:spMkLst>
        </pc:spChg>
        <pc:spChg chg="mod">
          <ac:chgData name="Yash Ratanpal" userId="5db668b1-93e7-4c08-9786-4ed81315a653" providerId="ADAL" clId="{6A8CBA8A-0DFA-49E5-9129-505E1F9E8E2C}" dt="2021-07-25T07:54:26.769" v="640"/>
          <ac:spMkLst>
            <pc:docMk/>
            <pc:sldMk cId="1075433366" sldId="1721"/>
            <ac:spMk id="7" creationId="{BE57BB7B-50B4-4CFD-8ABD-44013BA29096}"/>
          </ac:spMkLst>
        </pc:spChg>
        <pc:spChg chg="mod">
          <ac:chgData name="Yash Ratanpal" userId="5db668b1-93e7-4c08-9786-4ed81315a653" providerId="ADAL" clId="{6A8CBA8A-0DFA-49E5-9129-505E1F9E8E2C}" dt="2021-07-25T07:54:26.769" v="640"/>
          <ac:spMkLst>
            <pc:docMk/>
            <pc:sldMk cId="1075433366" sldId="1721"/>
            <ac:spMk id="8" creationId="{B1EFF735-2340-44CF-A1E8-33C695265768}"/>
          </ac:spMkLst>
        </pc:spChg>
        <pc:spChg chg="mod">
          <ac:chgData name="Yash Ratanpal" userId="5db668b1-93e7-4c08-9786-4ed81315a653" providerId="ADAL" clId="{6A8CBA8A-0DFA-49E5-9129-505E1F9E8E2C}" dt="2021-07-25T07:54:26.769" v="640"/>
          <ac:spMkLst>
            <pc:docMk/>
            <pc:sldMk cId="1075433366" sldId="1721"/>
            <ac:spMk id="9" creationId="{B8B9A09B-B59F-4D96-BDC6-D991D77524AD}"/>
          </ac:spMkLst>
        </pc:spChg>
        <pc:spChg chg="mod">
          <ac:chgData name="Yash Ratanpal" userId="5db668b1-93e7-4c08-9786-4ed81315a653" providerId="ADAL" clId="{6A8CBA8A-0DFA-49E5-9129-505E1F9E8E2C}" dt="2021-07-25T07:54:26.769" v="640"/>
          <ac:spMkLst>
            <pc:docMk/>
            <pc:sldMk cId="1075433366" sldId="1721"/>
            <ac:spMk id="10" creationId="{139C590D-9EC5-40A6-8722-B5FA9B363CE6}"/>
          </ac:spMkLst>
        </pc:spChg>
        <pc:spChg chg="mod">
          <ac:chgData name="Yash Ratanpal" userId="5db668b1-93e7-4c08-9786-4ed81315a653" providerId="ADAL" clId="{6A8CBA8A-0DFA-49E5-9129-505E1F9E8E2C}" dt="2021-07-25T07:54:26.769" v="640"/>
          <ac:spMkLst>
            <pc:docMk/>
            <pc:sldMk cId="1075433366" sldId="1721"/>
            <ac:spMk id="11" creationId="{5068346A-F0E5-4EFF-AEEF-BC94B10E9FAC}"/>
          </ac:spMkLst>
        </pc:spChg>
        <pc:spChg chg="mod">
          <ac:chgData name="Yash Ratanpal" userId="5db668b1-93e7-4c08-9786-4ed81315a653" providerId="ADAL" clId="{6A8CBA8A-0DFA-49E5-9129-505E1F9E8E2C}" dt="2021-07-25T07:54:26.769" v="640"/>
          <ac:spMkLst>
            <pc:docMk/>
            <pc:sldMk cId="1075433366" sldId="1721"/>
            <ac:spMk id="12" creationId="{98A38E07-48D6-4044-9828-8F137D4D2519}"/>
          </ac:spMkLst>
        </pc:spChg>
        <pc:spChg chg="mod">
          <ac:chgData name="Yash Ratanpal" userId="5db668b1-93e7-4c08-9786-4ed81315a653" providerId="ADAL" clId="{6A8CBA8A-0DFA-49E5-9129-505E1F9E8E2C}" dt="2021-07-25T07:54:26.769" v="640"/>
          <ac:spMkLst>
            <pc:docMk/>
            <pc:sldMk cId="1075433366" sldId="1721"/>
            <ac:spMk id="13" creationId="{15143FCC-3146-46B4-8685-A63A240B700C}"/>
          </ac:spMkLst>
        </pc:spChg>
        <pc:spChg chg="mod">
          <ac:chgData name="Yash Ratanpal" userId="5db668b1-93e7-4c08-9786-4ed81315a653" providerId="ADAL" clId="{6A8CBA8A-0DFA-49E5-9129-505E1F9E8E2C}" dt="2021-07-25T07:54:26.769" v="640"/>
          <ac:spMkLst>
            <pc:docMk/>
            <pc:sldMk cId="1075433366" sldId="1721"/>
            <ac:spMk id="14" creationId="{DE214920-8C90-48D7-AAD4-E469EC460534}"/>
          </ac:spMkLst>
        </pc:spChg>
        <pc:spChg chg="mod">
          <ac:chgData name="Yash Ratanpal" userId="5db668b1-93e7-4c08-9786-4ed81315a653" providerId="ADAL" clId="{6A8CBA8A-0DFA-49E5-9129-505E1F9E8E2C}" dt="2021-07-25T07:54:26.769" v="640"/>
          <ac:spMkLst>
            <pc:docMk/>
            <pc:sldMk cId="1075433366" sldId="1721"/>
            <ac:spMk id="15" creationId="{EB2E1B09-EE14-43C1-AF92-32F3DBAC4CAD}"/>
          </ac:spMkLst>
        </pc:spChg>
        <pc:spChg chg="mod">
          <ac:chgData name="Yash Ratanpal" userId="5db668b1-93e7-4c08-9786-4ed81315a653" providerId="ADAL" clId="{6A8CBA8A-0DFA-49E5-9129-505E1F9E8E2C}" dt="2021-07-25T07:54:26.769" v="640"/>
          <ac:spMkLst>
            <pc:docMk/>
            <pc:sldMk cId="1075433366" sldId="1721"/>
            <ac:spMk id="16" creationId="{87D34834-2D49-4499-9C5B-FD670756E158}"/>
          </ac:spMkLst>
        </pc:spChg>
        <pc:spChg chg="mod">
          <ac:chgData name="Yash Ratanpal" userId="5db668b1-93e7-4c08-9786-4ed81315a653" providerId="ADAL" clId="{6A8CBA8A-0DFA-49E5-9129-505E1F9E8E2C}" dt="2021-07-25T07:54:26.769" v="640"/>
          <ac:spMkLst>
            <pc:docMk/>
            <pc:sldMk cId="1075433366" sldId="1721"/>
            <ac:spMk id="17" creationId="{73FA325E-79DC-493C-80C2-C8F96C5E827C}"/>
          </ac:spMkLst>
        </pc:spChg>
        <pc:spChg chg="mod">
          <ac:chgData name="Yash Ratanpal" userId="5db668b1-93e7-4c08-9786-4ed81315a653" providerId="ADAL" clId="{6A8CBA8A-0DFA-49E5-9129-505E1F9E8E2C}" dt="2021-07-25T07:54:26.769" v="640"/>
          <ac:spMkLst>
            <pc:docMk/>
            <pc:sldMk cId="1075433366" sldId="1721"/>
            <ac:spMk id="18" creationId="{ED40F38B-FF76-4120-9CBA-8C68B3CAD18A}"/>
          </ac:spMkLst>
        </pc:spChg>
        <pc:spChg chg="mod">
          <ac:chgData name="Yash Ratanpal" userId="5db668b1-93e7-4c08-9786-4ed81315a653" providerId="ADAL" clId="{6A8CBA8A-0DFA-49E5-9129-505E1F9E8E2C}" dt="2021-07-25T07:54:26.769" v="640"/>
          <ac:spMkLst>
            <pc:docMk/>
            <pc:sldMk cId="1075433366" sldId="1721"/>
            <ac:spMk id="19" creationId="{503D69DE-C751-4A33-BD4D-74933D00CA7C}"/>
          </ac:spMkLst>
        </pc:spChg>
        <pc:spChg chg="mod">
          <ac:chgData name="Yash Ratanpal" userId="5db668b1-93e7-4c08-9786-4ed81315a653" providerId="ADAL" clId="{6A8CBA8A-0DFA-49E5-9129-505E1F9E8E2C}" dt="2021-07-25T07:54:26.769" v="640"/>
          <ac:spMkLst>
            <pc:docMk/>
            <pc:sldMk cId="1075433366" sldId="1721"/>
            <ac:spMk id="20" creationId="{A854511E-677D-469F-A8CC-1B559EE43E43}"/>
          </ac:spMkLst>
        </pc:spChg>
        <pc:spChg chg="mod">
          <ac:chgData name="Yash Ratanpal" userId="5db668b1-93e7-4c08-9786-4ed81315a653" providerId="ADAL" clId="{6A8CBA8A-0DFA-49E5-9129-505E1F9E8E2C}" dt="2021-07-25T07:54:26.769" v="640"/>
          <ac:spMkLst>
            <pc:docMk/>
            <pc:sldMk cId="1075433366" sldId="1721"/>
            <ac:spMk id="21" creationId="{D7FEE125-E780-49A2-98E8-CE6F326279E7}"/>
          </ac:spMkLst>
        </pc:spChg>
        <pc:spChg chg="mod">
          <ac:chgData name="Yash Ratanpal" userId="5db668b1-93e7-4c08-9786-4ed81315a653" providerId="ADAL" clId="{6A8CBA8A-0DFA-49E5-9129-505E1F9E8E2C}" dt="2021-07-25T07:54:26.769" v="640"/>
          <ac:spMkLst>
            <pc:docMk/>
            <pc:sldMk cId="1075433366" sldId="1721"/>
            <ac:spMk id="22" creationId="{0D273346-5B1C-45B3-9C6C-9FB6DD6F4EC3}"/>
          </ac:spMkLst>
        </pc:spChg>
        <pc:spChg chg="mod">
          <ac:chgData name="Yash Ratanpal" userId="5db668b1-93e7-4c08-9786-4ed81315a653" providerId="ADAL" clId="{6A8CBA8A-0DFA-49E5-9129-505E1F9E8E2C}" dt="2021-07-25T07:54:26.769" v="640"/>
          <ac:spMkLst>
            <pc:docMk/>
            <pc:sldMk cId="1075433366" sldId="1721"/>
            <ac:spMk id="23" creationId="{17F3936E-7CF0-43CA-8FE6-E85B7F4A1598}"/>
          </ac:spMkLst>
        </pc:spChg>
        <pc:spChg chg="mod">
          <ac:chgData name="Yash Ratanpal" userId="5db668b1-93e7-4c08-9786-4ed81315a653" providerId="ADAL" clId="{6A8CBA8A-0DFA-49E5-9129-505E1F9E8E2C}" dt="2021-07-25T07:54:26.769" v="640"/>
          <ac:spMkLst>
            <pc:docMk/>
            <pc:sldMk cId="1075433366" sldId="1721"/>
            <ac:spMk id="24" creationId="{BFB36B22-92F6-46FF-98E5-63F141C0875F}"/>
          </ac:spMkLst>
        </pc:spChg>
        <pc:spChg chg="mod">
          <ac:chgData name="Yash Ratanpal" userId="5db668b1-93e7-4c08-9786-4ed81315a653" providerId="ADAL" clId="{6A8CBA8A-0DFA-49E5-9129-505E1F9E8E2C}" dt="2021-07-25T07:54:26.769" v="640"/>
          <ac:spMkLst>
            <pc:docMk/>
            <pc:sldMk cId="1075433366" sldId="1721"/>
            <ac:spMk id="25" creationId="{7AD90F43-E16C-4BD0-8132-9C3C01404712}"/>
          </ac:spMkLst>
        </pc:spChg>
        <pc:grpChg chg="add mod">
          <ac:chgData name="Yash Ratanpal" userId="5db668b1-93e7-4c08-9786-4ed81315a653" providerId="ADAL" clId="{6A8CBA8A-0DFA-49E5-9129-505E1F9E8E2C}" dt="2021-07-25T07:54:26.769" v="640"/>
          <ac:grpSpMkLst>
            <pc:docMk/>
            <pc:sldMk cId="1075433366" sldId="1721"/>
            <ac:grpSpMk id="4" creationId="{6B3AA113-331A-43E8-8199-091B8A8FB249}"/>
          </ac:grpSpMkLst>
        </pc:grpChg>
      </pc:sldChg>
      <pc:sldChg chg="modSp mod">
        <pc:chgData name="Yash Ratanpal" userId="5db668b1-93e7-4c08-9786-4ed81315a653" providerId="ADAL" clId="{6A8CBA8A-0DFA-49E5-9129-505E1F9E8E2C}" dt="2021-07-25T08:19:26.737" v="1191" actId="20577"/>
        <pc:sldMkLst>
          <pc:docMk/>
          <pc:sldMk cId="1691604744" sldId="1723"/>
        </pc:sldMkLst>
        <pc:spChg chg="mod">
          <ac:chgData name="Yash Ratanpal" userId="5db668b1-93e7-4c08-9786-4ed81315a653" providerId="ADAL" clId="{6A8CBA8A-0DFA-49E5-9129-505E1F9E8E2C}" dt="2021-07-25T08:19:13.036" v="1165" actId="14100"/>
          <ac:spMkLst>
            <pc:docMk/>
            <pc:sldMk cId="1691604744" sldId="1723"/>
            <ac:spMk id="3" creationId="{00000000-0000-0000-0000-000000000000}"/>
          </ac:spMkLst>
        </pc:spChg>
        <pc:spChg chg="mod">
          <ac:chgData name="Yash Ratanpal" userId="5db668b1-93e7-4c08-9786-4ed81315a653" providerId="ADAL" clId="{6A8CBA8A-0DFA-49E5-9129-505E1F9E8E2C}" dt="2021-07-25T08:19:26.737" v="1191" actId="20577"/>
          <ac:spMkLst>
            <pc:docMk/>
            <pc:sldMk cId="1691604744" sldId="1723"/>
            <ac:spMk id="88" creationId="{FBB4E47F-1B37-47DD-A844-D520E189D285}"/>
          </ac:spMkLst>
        </pc:spChg>
      </pc:sldChg>
      <pc:sldChg chg="modSp mod">
        <pc:chgData name="Yash Ratanpal" userId="5db668b1-93e7-4c08-9786-4ed81315a653" providerId="ADAL" clId="{6A8CBA8A-0DFA-49E5-9129-505E1F9E8E2C}" dt="2021-07-25T08:52:45.040" v="1897" actId="114"/>
        <pc:sldMkLst>
          <pc:docMk/>
          <pc:sldMk cId="2464015565" sldId="1724"/>
        </pc:sldMkLst>
        <pc:spChg chg="mod">
          <ac:chgData name="Yash Ratanpal" userId="5db668b1-93e7-4c08-9786-4ed81315a653" providerId="ADAL" clId="{6A8CBA8A-0DFA-49E5-9129-505E1F9E8E2C}" dt="2021-07-25T08:52:45.040" v="1897" actId="114"/>
          <ac:spMkLst>
            <pc:docMk/>
            <pc:sldMk cId="2464015565" sldId="1724"/>
            <ac:spMk id="71" creationId="{B0D97D00-9D0E-4890-878D-F1A2AFD3322F}"/>
          </ac:spMkLst>
        </pc:spChg>
      </pc:sldChg>
      <pc:sldChg chg="addSp delSp modSp mod ord">
        <pc:chgData name="Yash Ratanpal" userId="5db668b1-93e7-4c08-9786-4ed81315a653" providerId="ADAL" clId="{6A8CBA8A-0DFA-49E5-9129-505E1F9E8E2C}" dt="2021-07-25T09:04:54.303" v="2435" actId="20577"/>
        <pc:sldMkLst>
          <pc:docMk/>
          <pc:sldMk cId="31760108" sldId="1725"/>
        </pc:sldMkLst>
        <pc:spChg chg="mod">
          <ac:chgData name="Yash Ratanpal" userId="5db668b1-93e7-4c08-9786-4ed81315a653" providerId="ADAL" clId="{6A8CBA8A-0DFA-49E5-9129-505E1F9E8E2C}" dt="2021-07-25T09:04:54.303" v="2435" actId="20577"/>
          <ac:spMkLst>
            <pc:docMk/>
            <pc:sldMk cId="31760108" sldId="1725"/>
            <ac:spMk id="3" creationId="{00000000-0000-0000-0000-000000000000}"/>
          </ac:spMkLst>
        </pc:spChg>
        <pc:spChg chg="add mod ord">
          <ac:chgData name="Yash Ratanpal" userId="5db668b1-93e7-4c08-9786-4ed81315a653" providerId="ADAL" clId="{6A8CBA8A-0DFA-49E5-9129-505E1F9E8E2C}" dt="2021-07-25T08:45:28.178" v="1555" actId="14100"/>
          <ac:spMkLst>
            <pc:docMk/>
            <pc:sldMk cId="31760108" sldId="1725"/>
            <ac:spMk id="4" creationId="{CCD4D0DD-3AD1-4BB4-9FAA-449DDA84DB3F}"/>
          </ac:spMkLst>
        </pc:spChg>
        <pc:spChg chg="add del mod">
          <ac:chgData name="Yash Ratanpal" userId="5db668b1-93e7-4c08-9786-4ed81315a653" providerId="ADAL" clId="{6A8CBA8A-0DFA-49E5-9129-505E1F9E8E2C}" dt="2021-07-25T08:45:43.222" v="1558"/>
          <ac:spMkLst>
            <pc:docMk/>
            <pc:sldMk cId="31760108" sldId="1725"/>
            <ac:spMk id="51" creationId="{7495A4C6-429A-4EF6-B484-DAFBA545D3D9}"/>
          </ac:spMkLst>
        </pc:spChg>
        <pc:spChg chg="add mod">
          <ac:chgData name="Yash Ratanpal" userId="5db668b1-93e7-4c08-9786-4ed81315a653" providerId="ADAL" clId="{6A8CBA8A-0DFA-49E5-9129-505E1F9E8E2C}" dt="2021-07-25T08:45:55.387" v="1595" actId="20577"/>
          <ac:spMkLst>
            <pc:docMk/>
            <pc:sldMk cId="31760108" sldId="1725"/>
            <ac:spMk id="52" creationId="{D426CD51-8884-485C-B1D6-B49A3EBE2C96}"/>
          </ac:spMkLst>
        </pc:spChg>
        <pc:spChg chg="mod">
          <ac:chgData name="Yash Ratanpal" userId="5db668b1-93e7-4c08-9786-4ed81315a653" providerId="ADAL" clId="{6A8CBA8A-0DFA-49E5-9129-505E1F9E8E2C}" dt="2021-07-25T08:45:34.280" v="1556" actId="1076"/>
          <ac:spMkLst>
            <pc:docMk/>
            <pc:sldMk cId="31760108" sldId="1725"/>
            <ac:spMk id="157" creationId="{B9B65B1D-D934-4FBE-9601-6B1EA2FDB9EE}"/>
          </ac:spMkLst>
        </pc:spChg>
        <pc:grpChg chg="mod">
          <ac:chgData name="Yash Ratanpal" userId="5db668b1-93e7-4c08-9786-4ed81315a653" providerId="ADAL" clId="{6A8CBA8A-0DFA-49E5-9129-505E1F9E8E2C}" dt="2021-07-25T08:45:58.898" v="1596" actId="1076"/>
          <ac:grpSpMkLst>
            <pc:docMk/>
            <pc:sldMk cId="31760108" sldId="1725"/>
            <ac:grpSpMk id="149" creationId="{B4B16D95-AA2B-4C16-9EC8-EE2FEF87D292}"/>
          </ac:grpSpMkLst>
        </pc:grpChg>
      </pc:sldChg>
      <pc:sldChg chg="addSp delSp modSp add mod">
        <pc:chgData name="Yash Ratanpal" userId="5db668b1-93e7-4c08-9786-4ed81315a653" providerId="ADAL" clId="{6A8CBA8A-0DFA-49E5-9129-505E1F9E8E2C}" dt="2021-07-25T09:07:01.093" v="2456" actId="14100"/>
        <pc:sldMkLst>
          <pc:docMk/>
          <pc:sldMk cId="3017249640" sldId="1726"/>
        </pc:sldMkLst>
        <pc:spChg chg="mod">
          <ac:chgData name="Yash Ratanpal" userId="5db668b1-93e7-4c08-9786-4ed81315a653" providerId="ADAL" clId="{6A8CBA8A-0DFA-49E5-9129-505E1F9E8E2C}" dt="2021-07-25T09:04:42.452" v="2403" actId="20577"/>
          <ac:spMkLst>
            <pc:docMk/>
            <pc:sldMk cId="3017249640" sldId="1726"/>
            <ac:spMk id="3" creationId="{00000000-0000-0000-0000-000000000000}"/>
          </ac:spMkLst>
        </pc:spChg>
        <pc:spChg chg="add mod topLvl">
          <ac:chgData name="Yash Ratanpal" userId="5db668b1-93e7-4c08-9786-4ed81315a653" providerId="ADAL" clId="{6A8CBA8A-0DFA-49E5-9129-505E1F9E8E2C}" dt="2021-07-25T08:55:48.696" v="1951" actId="403"/>
          <ac:spMkLst>
            <pc:docMk/>
            <pc:sldMk cId="3017249640" sldId="1726"/>
            <ac:spMk id="50" creationId="{BEDD390B-2983-4A4C-9979-047215730B1F}"/>
          </ac:spMkLst>
        </pc:spChg>
        <pc:spChg chg="add mod topLvl">
          <ac:chgData name="Yash Ratanpal" userId="5db668b1-93e7-4c08-9786-4ed81315a653" providerId="ADAL" clId="{6A8CBA8A-0DFA-49E5-9129-505E1F9E8E2C}" dt="2021-07-25T09:02:41.725" v="2347" actId="20577"/>
          <ac:spMkLst>
            <pc:docMk/>
            <pc:sldMk cId="3017249640" sldId="1726"/>
            <ac:spMk id="51" creationId="{0DCCCAC2-7A58-4525-B195-CF3BA5E6DD26}"/>
          </ac:spMkLst>
        </pc:spChg>
        <pc:spChg chg="add mod topLvl">
          <ac:chgData name="Yash Ratanpal" userId="5db668b1-93e7-4c08-9786-4ed81315a653" providerId="ADAL" clId="{6A8CBA8A-0DFA-49E5-9129-505E1F9E8E2C}" dt="2021-07-25T09:02:48.089" v="2376" actId="20577"/>
          <ac:spMkLst>
            <pc:docMk/>
            <pc:sldMk cId="3017249640" sldId="1726"/>
            <ac:spMk id="52" creationId="{49BF2847-CD2D-465D-96C8-EAB9EABABCB7}"/>
          </ac:spMkLst>
        </pc:spChg>
        <pc:spChg chg="add del mod topLvl">
          <ac:chgData name="Yash Ratanpal" userId="5db668b1-93e7-4c08-9786-4ed81315a653" providerId="ADAL" clId="{6A8CBA8A-0DFA-49E5-9129-505E1F9E8E2C}" dt="2021-07-25T08:41:08.079" v="1369" actId="478"/>
          <ac:spMkLst>
            <pc:docMk/>
            <pc:sldMk cId="3017249640" sldId="1726"/>
            <ac:spMk id="53" creationId="{96A47947-EA76-44AE-BCD2-382B7C172234}"/>
          </ac:spMkLst>
        </pc:spChg>
        <pc:spChg chg="mod topLvl">
          <ac:chgData name="Yash Ratanpal" userId="5db668b1-93e7-4c08-9786-4ed81315a653" providerId="ADAL" clId="{6A8CBA8A-0DFA-49E5-9129-505E1F9E8E2C}" dt="2021-07-25T08:55:36.127" v="1941" actId="403"/>
          <ac:spMkLst>
            <pc:docMk/>
            <pc:sldMk cId="3017249640" sldId="1726"/>
            <ac:spMk id="55" creationId="{69085FAC-F008-47F2-BDF2-5B29B939429B}"/>
          </ac:spMkLst>
        </pc:spChg>
        <pc:spChg chg="mod topLvl">
          <ac:chgData name="Yash Ratanpal" userId="5db668b1-93e7-4c08-9786-4ed81315a653" providerId="ADAL" clId="{6A8CBA8A-0DFA-49E5-9129-505E1F9E8E2C}" dt="2021-07-25T08:55:38.687" v="1942" actId="108"/>
          <ac:spMkLst>
            <pc:docMk/>
            <pc:sldMk cId="3017249640" sldId="1726"/>
            <ac:spMk id="56" creationId="{B21CA961-B4C7-41CC-A122-B4CA6E11D370}"/>
          </ac:spMkLst>
        </pc:spChg>
        <pc:spChg chg="mod topLvl">
          <ac:chgData name="Yash Ratanpal" userId="5db668b1-93e7-4c08-9786-4ed81315a653" providerId="ADAL" clId="{6A8CBA8A-0DFA-49E5-9129-505E1F9E8E2C}" dt="2021-07-25T08:55:43.585" v="1948" actId="20577"/>
          <ac:spMkLst>
            <pc:docMk/>
            <pc:sldMk cId="3017249640" sldId="1726"/>
            <ac:spMk id="57" creationId="{100A5B21-AD6E-4E71-8C93-085ADB270BC3}"/>
          </ac:spMkLst>
        </pc:spChg>
        <pc:spChg chg="del mod topLvl">
          <ac:chgData name="Yash Ratanpal" userId="5db668b1-93e7-4c08-9786-4ed81315a653" providerId="ADAL" clId="{6A8CBA8A-0DFA-49E5-9129-505E1F9E8E2C}" dt="2021-07-25T08:41:47.728" v="1378" actId="478"/>
          <ac:spMkLst>
            <pc:docMk/>
            <pc:sldMk cId="3017249640" sldId="1726"/>
            <ac:spMk id="58" creationId="{5BB6AE64-9131-4620-9461-88060A2EF3F5}"/>
          </ac:spMkLst>
        </pc:spChg>
        <pc:spChg chg="mod topLvl">
          <ac:chgData name="Yash Ratanpal" userId="5db668b1-93e7-4c08-9786-4ed81315a653" providerId="ADAL" clId="{6A8CBA8A-0DFA-49E5-9129-505E1F9E8E2C}" dt="2021-07-25T08:56:32.614" v="1982" actId="20577"/>
          <ac:spMkLst>
            <pc:docMk/>
            <pc:sldMk cId="3017249640" sldId="1726"/>
            <ac:spMk id="59" creationId="{BC926858-2F4E-4146-A82C-778B9C2A879D}"/>
          </ac:spMkLst>
        </pc:spChg>
        <pc:spChg chg="mod topLvl">
          <ac:chgData name="Yash Ratanpal" userId="5db668b1-93e7-4c08-9786-4ed81315a653" providerId="ADAL" clId="{6A8CBA8A-0DFA-49E5-9129-505E1F9E8E2C}" dt="2021-07-25T08:57:28.297" v="1993" actId="20577"/>
          <ac:spMkLst>
            <pc:docMk/>
            <pc:sldMk cId="3017249640" sldId="1726"/>
            <ac:spMk id="60" creationId="{BE0B5880-634B-4BD0-8041-CD095B40BA41}"/>
          </ac:spMkLst>
        </pc:spChg>
        <pc:spChg chg="mod topLvl">
          <ac:chgData name="Yash Ratanpal" userId="5db668b1-93e7-4c08-9786-4ed81315a653" providerId="ADAL" clId="{6A8CBA8A-0DFA-49E5-9129-505E1F9E8E2C}" dt="2021-07-25T09:01:30.981" v="2271" actId="20577"/>
          <ac:spMkLst>
            <pc:docMk/>
            <pc:sldMk cId="3017249640" sldId="1726"/>
            <ac:spMk id="61" creationId="{08E4BCC1-3BF0-4B82-980D-76FD6E01A35A}"/>
          </ac:spMkLst>
        </pc:spChg>
        <pc:spChg chg="mod topLvl">
          <ac:chgData name="Yash Ratanpal" userId="5db668b1-93e7-4c08-9786-4ed81315a653" providerId="ADAL" clId="{6A8CBA8A-0DFA-49E5-9129-505E1F9E8E2C}" dt="2021-07-25T09:01:46.591" v="2297" actId="20577"/>
          <ac:spMkLst>
            <pc:docMk/>
            <pc:sldMk cId="3017249640" sldId="1726"/>
            <ac:spMk id="62" creationId="{BAEFF113-58EE-4F6A-8ED9-7CDB3CB5EA68}"/>
          </ac:spMkLst>
        </pc:spChg>
        <pc:spChg chg="mod topLvl">
          <ac:chgData name="Yash Ratanpal" userId="5db668b1-93e7-4c08-9786-4ed81315a653" providerId="ADAL" clId="{6A8CBA8A-0DFA-49E5-9129-505E1F9E8E2C}" dt="2021-07-25T08:59:40.064" v="2057" actId="20577"/>
          <ac:spMkLst>
            <pc:docMk/>
            <pc:sldMk cId="3017249640" sldId="1726"/>
            <ac:spMk id="63" creationId="{24FC3620-8286-4311-84C9-8872EA2D0EC3}"/>
          </ac:spMkLst>
        </pc:spChg>
        <pc:spChg chg="mod topLvl">
          <ac:chgData name="Yash Ratanpal" userId="5db668b1-93e7-4c08-9786-4ed81315a653" providerId="ADAL" clId="{6A8CBA8A-0DFA-49E5-9129-505E1F9E8E2C}" dt="2021-07-25T09:01:19.992" v="2242" actId="20577"/>
          <ac:spMkLst>
            <pc:docMk/>
            <pc:sldMk cId="3017249640" sldId="1726"/>
            <ac:spMk id="64" creationId="{3C4C1868-CB78-41A8-9C9B-A2CD13192B32}"/>
          </ac:spMkLst>
        </pc:spChg>
        <pc:spChg chg="del mod topLvl">
          <ac:chgData name="Yash Ratanpal" userId="5db668b1-93e7-4c08-9786-4ed81315a653" providerId="ADAL" clId="{6A8CBA8A-0DFA-49E5-9129-505E1F9E8E2C}" dt="2021-07-25T08:41:47.728" v="1378" actId="478"/>
          <ac:spMkLst>
            <pc:docMk/>
            <pc:sldMk cId="3017249640" sldId="1726"/>
            <ac:spMk id="65" creationId="{BEC5C292-9EE4-4C6B-9230-BCEE8EE6D46B}"/>
          </ac:spMkLst>
        </pc:spChg>
        <pc:spChg chg="del mod topLvl">
          <ac:chgData name="Yash Ratanpal" userId="5db668b1-93e7-4c08-9786-4ed81315a653" providerId="ADAL" clId="{6A8CBA8A-0DFA-49E5-9129-505E1F9E8E2C}" dt="2021-07-25T08:41:47.728" v="1378" actId="478"/>
          <ac:spMkLst>
            <pc:docMk/>
            <pc:sldMk cId="3017249640" sldId="1726"/>
            <ac:spMk id="66" creationId="{BB48ADB8-0218-45BD-B113-774FA3C87A72}"/>
          </ac:spMkLst>
        </pc:spChg>
        <pc:spChg chg="del">
          <ac:chgData name="Yash Ratanpal" userId="5db668b1-93e7-4c08-9786-4ed81315a653" providerId="ADAL" clId="{6A8CBA8A-0DFA-49E5-9129-505E1F9E8E2C}" dt="2021-07-25T08:39:54.913" v="1317" actId="478"/>
          <ac:spMkLst>
            <pc:docMk/>
            <pc:sldMk cId="3017249640" sldId="1726"/>
            <ac:spMk id="67" creationId="{25370BD6-8939-4C02-B583-D3036DC6852E}"/>
          </ac:spMkLst>
        </pc:spChg>
        <pc:spChg chg="del mod topLvl">
          <ac:chgData name="Yash Ratanpal" userId="5db668b1-93e7-4c08-9786-4ed81315a653" providerId="ADAL" clId="{6A8CBA8A-0DFA-49E5-9129-505E1F9E8E2C}" dt="2021-07-25T08:41:14.693" v="1371" actId="478"/>
          <ac:spMkLst>
            <pc:docMk/>
            <pc:sldMk cId="3017249640" sldId="1726"/>
            <ac:spMk id="68" creationId="{A6682AE2-2185-41EE-BD70-39686F053AA0}"/>
          </ac:spMkLst>
        </pc:spChg>
        <pc:spChg chg="del">
          <ac:chgData name="Yash Ratanpal" userId="5db668b1-93e7-4c08-9786-4ed81315a653" providerId="ADAL" clId="{6A8CBA8A-0DFA-49E5-9129-505E1F9E8E2C}" dt="2021-07-25T08:39:54.913" v="1317" actId="478"/>
          <ac:spMkLst>
            <pc:docMk/>
            <pc:sldMk cId="3017249640" sldId="1726"/>
            <ac:spMk id="69" creationId="{E9B90832-5753-4BC4-94AE-8D62BF034EF7}"/>
          </ac:spMkLst>
        </pc:spChg>
        <pc:spChg chg="del mod topLvl">
          <ac:chgData name="Yash Ratanpal" userId="5db668b1-93e7-4c08-9786-4ed81315a653" providerId="ADAL" clId="{6A8CBA8A-0DFA-49E5-9129-505E1F9E8E2C}" dt="2021-07-25T08:41:14.693" v="1371" actId="478"/>
          <ac:spMkLst>
            <pc:docMk/>
            <pc:sldMk cId="3017249640" sldId="1726"/>
            <ac:spMk id="70" creationId="{76D5E9CD-E8FD-4911-95AE-61B5FA8942C4}"/>
          </ac:spMkLst>
        </pc:spChg>
        <pc:spChg chg="del mod topLvl">
          <ac:chgData name="Yash Ratanpal" userId="5db668b1-93e7-4c08-9786-4ed81315a653" providerId="ADAL" clId="{6A8CBA8A-0DFA-49E5-9129-505E1F9E8E2C}" dt="2021-07-25T08:41:14.693" v="1371" actId="478"/>
          <ac:spMkLst>
            <pc:docMk/>
            <pc:sldMk cId="3017249640" sldId="1726"/>
            <ac:spMk id="71" creationId="{29D0A0E8-759A-4694-AEC4-F5194A3DEDEF}"/>
          </ac:spMkLst>
        </pc:spChg>
        <pc:spChg chg="del mod topLvl">
          <ac:chgData name="Yash Ratanpal" userId="5db668b1-93e7-4c08-9786-4ed81315a653" providerId="ADAL" clId="{6A8CBA8A-0DFA-49E5-9129-505E1F9E8E2C}" dt="2021-07-25T08:41:14.693" v="1371" actId="478"/>
          <ac:spMkLst>
            <pc:docMk/>
            <pc:sldMk cId="3017249640" sldId="1726"/>
            <ac:spMk id="75" creationId="{A25E8BDE-55E2-49C1-B618-64906D7684AC}"/>
          </ac:spMkLst>
        </pc:spChg>
        <pc:spChg chg="del mod topLvl">
          <ac:chgData name="Yash Ratanpal" userId="5db668b1-93e7-4c08-9786-4ed81315a653" providerId="ADAL" clId="{6A8CBA8A-0DFA-49E5-9129-505E1F9E8E2C}" dt="2021-07-25T08:41:47.728" v="1378" actId="478"/>
          <ac:spMkLst>
            <pc:docMk/>
            <pc:sldMk cId="3017249640" sldId="1726"/>
            <ac:spMk id="76" creationId="{EAF10157-5693-4B4F-9F6A-41375E4EA10C}"/>
          </ac:spMkLst>
        </pc:spChg>
        <pc:spChg chg="del mod topLvl">
          <ac:chgData name="Yash Ratanpal" userId="5db668b1-93e7-4c08-9786-4ed81315a653" providerId="ADAL" clId="{6A8CBA8A-0DFA-49E5-9129-505E1F9E8E2C}" dt="2021-07-25T08:41:47.728" v="1378" actId="478"/>
          <ac:spMkLst>
            <pc:docMk/>
            <pc:sldMk cId="3017249640" sldId="1726"/>
            <ac:spMk id="77" creationId="{CCA39491-B82A-435A-A47C-159B83967B14}"/>
          </ac:spMkLst>
        </pc:spChg>
        <pc:spChg chg="del mod topLvl">
          <ac:chgData name="Yash Ratanpal" userId="5db668b1-93e7-4c08-9786-4ed81315a653" providerId="ADAL" clId="{6A8CBA8A-0DFA-49E5-9129-505E1F9E8E2C}" dt="2021-07-25T08:41:47.728" v="1378" actId="478"/>
          <ac:spMkLst>
            <pc:docMk/>
            <pc:sldMk cId="3017249640" sldId="1726"/>
            <ac:spMk id="78" creationId="{8A559948-5099-4CE7-9BD8-4EEFDE95E80A}"/>
          </ac:spMkLst>
        </pc:spChg>
        <pc:spChg chg="del mod topLvl">
          <ac:chgData name="Yash Ratanpal" userId="5db668b1-93e7-4c08-9786-4ed81315a653" providerId="ADAL" clId="{6A8CBA8A-0DFA-49E5-9129-505E1F9E8E2C}" dt="2021-07-25T08:41:14.693" v="1371" actId="478"/>
          <ac:spMkLst>
            <pc:docMk/>
            <pc:sldMk cId="3017249640" sldId="1726"/>
            <ac:spMk id="79" creationId="{F7234AE1-4D99-49D1-821B-99348CF183B1}"/>
          </ac:spMkLst>
        </pc:spChg>
        <pc:spChg chg="mod">
          <ac:chgData name="Yash Ratanpal" userId="5db668b1-93e7-4c08-9786-4ed81315a653" providerId="ADAL" clId="{6A8CBA8A-0DFA-49E5-9129-505E1F9E8E2C}" dt="2021-07-25T08:41:31.835" v="1374"/>
          <ac:spMkLst>
            <pc:docMk/>
            <pc:sldMk cId="3017249640" sldId="1726"/>
            <ac:spMk id="81" creationId="{E67C3D63-0FF3-450E-AA06-65837C44571C}"/>
          </ac:spMkLst>
        </pc:spChg>
        <pc:spChg chg="mod">
          <ac:chgData name="Yash Ratanpal" userId="5db668b1-93e7-4c08-9786-4ed81315a653" providerId="ADAL" clId="{6A8CBA8A-0DFA-49E5-9129-505E1F9E8E2C}" dt="2021-07-25T08:52:32.606" v="1894" actId="20577"/>
          <ac:spMkLst>
            <pc:docMk/>
            <pc:sldMk cId="3017249640" sldId="1726"/>
            <ac:spMk id="82" creationId="{BEB4958C-22E3-43E0-B871-A92A55A24615}"/>
          </ac:spMkLst>
        </pc:spChg>
        <pc:spChg chg="add del mod">
          <ac:chgData name="Yash Ratanpal" userId="5db668b1-93e7-4c08-9786-4ed81315a653" providerId="ADAL" clId="{6A8CBA8A-0DFA-49E5-9129-505E1F9E8E2C}" dt="2021-07-25T08:44:18.777" v="1516" actId="478"/>
          <ac:spMkLst>
            <pc:docMk/>
            <pc:sldMk cId="3017249640" sldId="1726"/>
            <ac:spMk id="83" creationId="{BEC1F317-8044-44C3-B97D-E91F67741A27}"/>
          </ac:spMkLst>
        </pc:spChg>
        <pc:spChg chg="add del mod">
          <ac:chgData name="Yash Ratanpal" userId="5db668b1-93e7-4c08-9786-4ed81315a653" providerId="ADAL" clId="{6A8CBA8A-0DFA-49E5-9129-505E1F9E8E2C}" dt="2021-07-25T08:47:08.115" v="1641"/>
          <ac:spMkLst>
            <pc:docMk/>
            <pc:sldMk cId="3017249640" sldId="1726"/>
            <ac:spMk id="85" creationId="{606D8FBB-D126-4E73-845B-CF840D5E390A}"/>
          </ac:spMkLst>
        </pc:spChg>
        <pc:spChg chg="add del mod">
          <ac:chgData name="Yash Ratanpal" userId="5db668b1-93e7-4c08-9786-4ed81315a653" providerId="ADAL" clId="{6A8CBA8A-0DFA-49E5-9129-505E1F9E8E2C}" dt="2021-07-25T08:47:08.115" v="1641"/>
          <ac:spMkLst>
            <pc:docMk/>
            <pc:sldMk cId="3017249640" sldId="1726"/>
            <ac:spMk id="86" creationId="{2E219394-ED03-4FFB-8495-63DDAAC85BC2}"/>
          </ac:spMkLst>
        </pc:spChg>
        <pc:spChg chg="add del mod">
          <ac:chgData name="Yash Ratanpal" userId="5db668b1-93e7-4c08-9786-4ed81315a653" providerId="ADAL" clId="{6A8CBA8A-0DFA-49E5-9129-505E1F9E8E2C}" dt="2021-07-25T08:47:08.115" v="1641"/>
          <ac:spMkLst>
            <pc:docMk/>
            <pc:sldMk cId="3017249640" sldId="1726"/>
            <ac:spMk id="87" creationId="{23BCF245-DFFD-41BF-BF7E-27901800FC50}"/>
          </ac:spMkLst>
        </pc:spChg>
        <pc:spChg chg="add del mod">
          <ac:chgData name="Yash Ratanpal" userId="5db668b1-93e7-4c08-9786-4ed81315a653" providerId="ADAL" clId="{6A8CBA8A-0DFA-49E5-9129-505E1F9E8E2C}" dt="2021-07-25T08:55:13.243" v="1931" actId="478"/>
          <ac:spMkLst>
            <pc:docMk/>
            <pc:sldMk cId="3017249640" sldId="1726"/>
            <ac:spMk id="88" creationId="{A3506683-12D5-42A6-BE44-ADA4B2F94860}"/>
          </ac:spMkLst>
        </pc:spChg>
        <pc:spChg chg="add del mod">
          <ac:chgData name="Yash Ratanpal" userId="5db668b1-93e7-4c08-9786-4ed81315a653" providerId="ADAL" clId="{6A8CBA8A-0DFA-49E5-9129-505E1F9E8E2C}" dt="2021-07-25T08:55:13.243" v="1931" actId="478"/>
          <ac:spMkLst>
            <pc:docMk/>
            <pc:sldMk cId="3017249640" sldId="1726"/>
            <ac:spMk id="89" creationId="{80DF1D8B-473B-49D5-8EC1-E108128EC081}"/>
          </ac:spMkLst>
        </pc:spChg>
        <pc:spChg chg="add del mod">
          <ac:chgData name="Yash Ratanpal" userId="5db668b1-93e7-4c08-9786-4ed81315a653" providerId="ADAL" clId="{6A8CBA8A-0DFA-49E5-9129-505E1F9E8E2C}" dt="2021-07-25T08:55:13.243" v="1931" actId="478"/>
          <ac:spMkLst>
            <pc:docMk/>
            <pc:sldMk cId="3017249640" sldId="1726"/>
            <ac:spMk id="90" creationId="{8EF93C42-B3D6-4972-A209-8A8D5398DCDE}"/>
          </ac:spMkLst>
        </pc:spChg>
        <pc:spChg chg="mod">
          <ac:chgData name="Yash Ratanpal" userId="5db668b1-93e7-4c08-9786-4ed81315a653" providerId="ADAL" clId="{6A8CBA8A-0DFA-49E5-9129-505E1F9E8E2C}" dt="2021-07-25T09:06:11.779" v="2437"/>
          <ac:spMkLst>
            <pc:docMk/>
            <pc:sldMk cId="3017249640" sldId="1726"/>
            <ac:spMk id="92" creationId="{0AF30B03-B717-4091-8F45-E7629222DAF0}"/>
          </ac:spMkLst>
        </pc:spChg>
        <pc:spChg chg="mod">
          <ac:chgData name="Yash Ratanpal" userId="5db668b1-93e7-4c08-9786-4ed81315a653" providerId="ADAL" clId="{6A8CBA8A-0DFA-49E5-9129-505E1F9E8E2C}" dt="2021-07-25T09:06:55.580" v="2455" actId="313"/>
          <ac:spMkLst>
            <pc:docMk/>
            <pc:sldMk cId="3017249640" sldId="1726"/>
            <ac:spMk id="93" creationId="{DA111B85-BD03-44B9-9C9F-0530B1583B49}"/>
          </ac:spMkLst>
        </pc:spChg>
        <pc:spChg chg="del">
          <ac:chgData name="Yash Ratanpal" userId="5db668b1-93e7-4c08-9786-4ed81315a653" providerId="ADAL" clId="{6A8CBA8A-0DFA-49E5-9129-505E1F9E8E2C}" dt="2021-07-25T08:39:54.913" v="1317" actId="478"/>
          <ac:spMkLst>
            <pc:docMk/>
            <pc:sldMk cId="3017249640" sldId="1726"/>
            <ac:spMk id="115" creationId="{4F26BE46-7C80-41EA-ADB4-4A23B6AE6F45}"/>
          </ac:spMkLst>
        </pc:spChg>
        <pc:spChg chg="del">
          <ac:chgData name="Yash Ratanpal" userId="5db668b1-93e7-4c08-9786-4ed81315a653" providerId="ADAL" clId="{6A8CBA8A-0DFA-49E5-9129-505E1F9E8E2C}" dt="2021-07-25T08:39:54.913" v="1317" actId="478"/>
          <ac:spMkLst>
            <pc:docMk/>
            <pc:sldMk cId="3017249640" sldId="1726"/>
            <ac:spMk id="116" creationId="{1F023FFC-1411-4EED-B7AC-5B2E1AD3FB00}"/>
          </ac:spMkLst>
        </pc:spChg>
        <pc:spChg chg="del">
          <ac:chgData name="Yash Ratanpal" userId="5db668b1-93e7-4c08-9786-4ed81315a653" providerId="ADAL" clId="{6A8CBA8A-0DFA-49E5-9129-505E1F9E8E2C}" dt="2021-07-25T08:39:54.913" v="1317" actId="478"/>
          <ac:spMkLst>
            <pc:docMk/>
            <pc:sldMk cId="3017249640" sldId="1726"/>
            <ac:spMk id="157" creationId="{B9B65B1D-D934-4FBE-9601-6B1EA2FDB9EE}"/>
          </ac:spMkLst>
        </pc:spChg>
        <pc:spChg chg="del">
          <ac:chgData name="Yash Ratanpal" userId="5db668b1-93e7-4c08-9786-4ed81315a653" providerId="ADAL" clId="{6A8CBA8A-0DFA-49E5-9129-505E1F9E8E2C}" dt="2021-07-25T08:39:54.913" v="1317" actId="478"/>
          <ac:spMkLst>
            <pc:docMk/>
            <pc:sldMk cId="3017249640" sldId="1726"/>
            <ac:spMk id="184" creationId="{788A32B9-3519-4F27-B87A-10D6BA1D8794}"/>
          </ac:spMkLst>
        </pc:spChg>
        <pc:spChg chg="del">
          <ac:chgData name="Yash Ratanpal" userId="5db668b1-93e7-4c08-9786-4ed81315a653" providerId="ADAL" clId="{6A8CBA8A-0DFA-49E5-9129-505E1F9E8E2C}" dt="2021-07-25T08:39:54.913" v="1317" actId="478"/>
          <ac:spMkLst>
            <pc:docMk/>
            <pc:sldMk cId="3017249640" sldId="1726"/>
            <ac:spMk id="185" creationId="{1ED2DFF6-D395-437D-BC40-B99A8344DF31}"/>
          </ac:spMkLst>
        </pc:spChg>
        <pc:grpChg chg="add del mod">
          <ac:chgData name="Yash Ratanpal" userId="5db668b1-93e7-4c08-9786-4ed81315a653" providerId="ADAL" clId="{6A8CBA8A-0DFA-49E5-9129-505E1F9E8E2C}" dt="2021-07-25T08:41:06.058" v="1368" actId="165"/>
          <ac:grpSpMkLst>
            <pc:docMk/>
            <pc:sldMk cId="3017249640" sldId="1726"/>
            <ac:grpSpMk id="4" creationId="{345B6B7A-C4F2-41D0-BAF7-6E4769A744C3}"/>
          </ac:grpSpMkLst>
        </pc:grpChg>
        <pc:grpChg chg="add del mod">
          <ac:chgData name="Yash Ratanpal" userId="5db668b1-93e7-4c08-9786-4ed81315a653" providerId="ADAL" clId="{6A8CBA8A-0DFA-49E5-9129-505E1F9E8E2C}" dt="2021-07-25T08:41:45.643" v="1377" actId="165"/>
          <ac:grpSpMkLst>
            <pc:docMk/>
            <pc:sldMk cId="3017249640" sldId="1726"/>
            <ac:grpSpMk id="5" creationId="{E375EE45-7FA2-4086-9AE3-D2AEE27CA28F}"/>
          </ac:grpSpMkLst>
        </pc:grpChg>
        <pc:grpChg chg="add mod">
          <ac:chgData name="Yash Ratanpal" userId="5db668b1-93e7-4c08-9786-4ed81315a653" providerId="ADAL" clId="{6A8CBA8A-0DFA-49E5-9129-505E1F9E8E2C}" dt="2021-07-25T09:06:10.205" v="2436" actId="14100"/>
          <ac:grpSpMkLst>
            <pc:docMk/>
            <pc:sldMk cId="3017249640" sldId="1726"/>
            <ac:grpSpMk id="6" creationId="{9EB8AF2A-34B4-47F0-8E00-C3F51D697D28}"/>
          </ac:grpSpMkLst>
        </pc:grpChg>
        <pc:grpChg chg="del">
          <ac:chgData name="Yash Ratanpal" userId="5db668b1-93e7-4c08-9786-4ed81315a653" providerId="ADAL" clId="{6A8CBA8A-0DFA-49E5-9129-505E1F9E8E2C}" dt="2021-07-25T08:39:54.913" v="1317" actId="478"/>
          <ac:grpSpMkLst>
            <pc:docMk/>
            <pc:sldMk cId="3017249640" sldId="1726"/>
            <ac:grpSpMk id="11" creationId="{738B0C55-F8FA-44CA-A50F-A379876CF3FB}"/>
          </ac:grpSpMkLst>
        </pc:grpChg>
        <pc:grpChg chg="add del mod topLvl">
          <ac:chgData name="Yash Ratanpal" userId="5db668b1-93e7-4c08-9786-4ed81315a653" providerId="ADAL" clId="{6A8CBA8A-0DFA-49E5-9129-505E1F9E8E2C}" dt="2021-07-25T08:41:12.738" v="1370" actId="165"/>
          <ac:grpSpMkLst>
            <pc:docMk/>
            <pc:sldMk cId="3017249640" sldId="1726"/>
            <ac:grpSpMk id="54" creationId="{F5A4C8E7-DA67-4ECC-A07C-EA293DE94199}"/>
          </ac:grpSpMkLst>
        </pc:grpChg>
        <pc:grpChg chg="add mod">
          <ac:chgData name="Yash Ratanpal" userId="5db668b1-93e7-4c08-9786-4ed81315a653" providerId="ADAL" clId="{6A8CBA8A-0DFA-49E5-9129-505E1F9E8E2C}" dt="2021-07-25T08:42:44.043" v="1486" actId="1076"/>
          <ac:grpSpMkLst>
            <pc:docMk/>
            <pc:sldMk cId="3017249640" sldId="1726"/>
            <ac:grpSpMk id="80" creationId="{3D02C7B7-C39E-4B6A-A178-5499E658EA02}"/>
          </ac:grpSpMkLst>
        </pc:grpChg>
        <pc:grpChg chg="add mod">
          <ac:chgData name="Yash Ratanpal" userId="5db668b1-93e7-4c08-9786-4ed81315a653" providerId="ADAL" clId="{6A8CBA8A-0DFA-49E5-9129-505E1F9E8E2C}" dt="2021-07-25T09:07:01.093" v="2456" actId="14100"/>
          <ac:grpSpMkLst>
            <pc:docMk/>
            <pc:sldMk cId="3017249640" sldId="1726"/>
            <ac:grpSpMk id="91" creationId="{D3EF83A6-F13E-45DB-8E8D-D2F02FF2530E}"/>
          </ac:grpSpMkLst>
        </pc:grpChg>
        <pc:grpChg chg="del">
          <ac:chgData name="Yash Ratanpal" userId="5db668b1-93e7-4c08-9786-4ed81315a653" providerId="ADAL" clId="{6A8CBA8A-0DFA-49E5-9129-505E1F9E8E2C}" dt="2021-07-25T08:39:54.913" v="1317" actId="478"/>
          <ac:grpSpMkLst>
            <pc:docMk/>
            <pc:sldMk cId="3017249640" sldId="1726"/>
            <ac:grpSpMk id="149" creationId="{B4B16D95-AA2B-4C16-9EC8-EE2FEF87D292}"/>
          </ac:grpSpMkLst>
        </pc:grpChg>
        <pc:cxnChg chg="mod">
          <ac:chgData name="Yash Ratanpal" userId="5db668b1-93e7-4c08-9786-4ed81315a653" providerId="ADAL" clId="{6A8CBA8A-0DFA-49E5-9129-505E1F9E8E2C}" dt="2021-07-25T08:39:54.913" v="1317" actId="478"/>
          <ac:cxnSpMkLst>
            <pc:docMk/>
            <pc:sldMk cId="3017249640" sldId="1726"/>
            <ac:cxnSpMk id="150" creationId="{2D38F854-0DFC-4486-BA52-2A3DC95438AD}"/>
          </ac:cxnSpMkLst>
        </pc:cxnChg>
      </pc:sldChg>
      <pc:sldChg chg="add del">
        <pc:chgData name="Yash Ratanpal" userId="5db668b1-93e7-4c08-9786-4ed81315a653" providerId="ADAL" clId="{6A8CBA8A-0DFA-49E5-9129-505E1F9E8E2C}" dt="2021-07-25T09:03:48.493" v="2378" actId="47"/>
        <pc:sldMkLst>
          <pc:docMk/>
          <pc:sldMk cId="1256271342" sldId="1727"/>
        </pc:sldMkLst>
      </pc:sldChg>
      <pc:sldChg chg="addSp delSp modSp add mod modAnim">
        <pc:chgData name="Yash Ratanpal" userId="5db668b1-93e7-4c08-9786-4ed81315a653" providerId="ADAL" clId="{6A8CBA8A-0DFA-49E5-9129-505E1F9E8E2C}" dt="2021-07-25T10:31:03.304" v="4412" actId="20577"/>
        <pc:sldMkLst>
          <pc:docMk/>
          <pc:sldMk cId="3100553508" sldId="1727"/>
        </pc:sldMkLst>
        <pc:spChg chg="mod">
          <ac:chgData name="Yash Ratanpal" userId="5db668b1-93e7-4c08-9786-4ed81315a653" providerId="ADAL" clId="{6A8CBA8A-0DFA-49E5-9129-505E1F9E8E2C}" dt="2021-07-25T09:51:06.240" v="2477" actId="20577"/>
          <ac:spMkLst>
            <pc:docMk/>
            <pc:sldMk cId="3100553508" sldId="1727"/>
            <ac:spMk id="3" creationId="{00000000-0000-0000-0000-000000000000}"/>
          </ac:spMkLst>
        </pc:spChg>
        <pc:spChg chg="add mod">
          <ac:chgData name="Yash Ratanpal" userId="5db668b1-93e7-4c08-9786-4ed81315a653" providerId="ADAL" clId="{6A8CBA8A-0DFA-49E5-9129-505E1F9E8E2C}" dt="2021-07-25T09:57:12.079" v="2871" actId="164"/>
          <ac:spMkLst>
            <pc:docMk/>
            <pc:sldMk cId="3100553508" sldId="1727"/>
            <ac:spMk id="23" creationId="{E792C3E2-233F-47E7-B0EB-E61F9F37E077}"/>
          </ac:spMkLst>
        </pc:spChg>
        <pc:spChg chg="add mod">
          <ac:chgData name="Yash Ratanpal" userId="5db668b1-93e7-4c08-9786-4ed81315a653" providerId="ADAL" clId="{6A8CBA8A-0DFA-49E5-9129-505E1F9E8E2C}" dt="2021-07-25T09:57:12.079" v="2871" actId="164"/>
          <ac:spMkLst>
            <pc:docMk/>
            <pc:sldMk cId="3100553508" sldId="1727"/>
            <ac:spMk id="24" creationId="{F1560619-D697-41B6-8BF0-7913674C1CCF}"/>
          </ac:spMkLst>
        </pc:spChg>
        <pc:spChg chg="add mod">
          <ac:chgData name="Yash Ratanpal" userId="5db668b1-93e7-4c08-9786-4ed81315a653" providerId="ADAL" clId="{6A8CBA8A-0DFA-49E5-9129-505E1F9E8E2C}" dt="2021-07-25T09:57:12.079" v="2871" actId="164"/>
          <ac:spMkLst>
            <pc:docMk/>
            <pc:sldMk cId="3100553508" sldId="1727"/>
            <ac:spMk id="25" creationId="{D27E12D7-5BAC-41A3-9A1A-F4E2559BD05F}"/>
          </ac:spMkLst>
        </pc:spChg>
        <pc:spChg chg="add mod">
          <ac:chgData name="Yash Ratanpal" userId="5db668b1-93e7-4c08-9786-4ed81315a653" providerId="ADAL" clId="{6A8CBA8A-0DFA-49E5-9129-505E1F9E8E2C}" dt="2021-07-25T10:11:27.122" v="3639" actId="313"/>
          <ac:spMkLst>
            <pc:docMk/>
            <pc:sldMk cId="3100553508" sldId="1727"/>
            <ac:spMk id="27" creationId="{F3A70B61-3DF3-4B34-A93A-E16AF6562591}"/>
          </ac:spMkLst>
        </pc:spChg>
        <pc:spChg chg="add mod">
          <ac:chgData name="Yash Ratanpal" userId="5db668b1-93e7-4c08-9786-4ed81315a653" providerId="ADAL" clId="{6A8CBA8A-0DFA-49E5-9129-505E1F9E8E2C}" dt="2021-07-25T10:05:43.266" v="3330" actId="20577"/>
          <ac:spMkLst>
            <pc:docMk/>
            <pc:sldMk cId="3100553508" sldId="1727"/>
            <ac:spMk id="28" creationId="{7F475DF0-7AA3-4914-856C-D0AB929E7BA0}"/>
          </ac:spMkLst>
        </pc:spChg>
        <pc:spChg chg="add mod">
          <ac:chgData name="Yash Ratanpal" userId="5db668b1-93e7-4c08-9786-4ed81315a653" providerId="ADAL" clId="{6A8CBA8A-0DFA-49E5-9129-505E1F9E8E2C}" dt="2021-07-25T10:05:29.398" v="3311" actId="20577"/>
          <ac:spMkLst>
            <pc:docMk/>
            <pc:sldMk cId="3100553508" sldId="1727"/>
            <ac:spMk id="29" creationId="{25B0E15A-92A1-44CA-867F-2C41AF9329E3}"/>
          </ac:spMkLst>
        </pc:spChg>
        <pc:spChg chg="add mod">
          <ac:chgData name="Yash Ratanpal" userId="5db668b1-93e7-4c08-9786-4ed81315a653" providerId="ADAL" clId="{6A8CBA8A-0DFA-49E5-9129-505E1F9E8E2C}" dt="2021-07-25T10:30:08.934" v="4404" actId="20577"/>
          <ac:spMkLst>
            <pc:docMk/>
            <pc:sldMk cId="3100553508" sldId="1727"/>
            <ac:spMk id="30" creationId="{B4BF28C5-DF7D-4924-A7E4-35B1D3BE66E3}"/>
          </ac:spMkLst>
        </pc:spChg>
        <pc:spChg chg="add mod">
          <ac:chgData name="Yash Ratanpal" userId="5db668b1-93e7-4c08-9786-4ed81315a653" providerId="ADAL" clId="{6A8CBA8A-0DFA-49E5-9129-505E1F9E8E2C}" dt="2021-07-25T10:13:52.660" v="3965" actId="20577"/>
          <ac:spMkLst>
            <pc:docMk/>
            <pc:sldMk cId="3100553508" sldId="1727"/>
            <ac:spMk id="31" creationId="{B096443A-36FB-434F-A4E2-4FE5A2AFE6E0}"/>
          </ac:spMkLst>
        </pc:spChg>
        <pc:spChg chg="add mod">
          <ac:chgData name="Yash Ratanpal" userId="5db668b1-93e7-4c08-9786-4ed81315a653" providerId="ADAL" clId="{6A8CBA8A-0DFA-49E5-9129-505E1F9E8E2C}" dt="2021-07-25T10:15:18.941" v="4125" actId="20577"/>
          <ac:spMkLst>
            <pc:docMk/>
            <pc:sldMk cId="3100553508" sldId="1727"/>
            <ac:spMk id="32" creationId="{3DADC322-B488-4402-837C-B2653A02CBD6}"/>
          </ac:spMkLst>
        </pc:spChg>
        <pc:spChg chg="add mod">
          <ac:chgData name="Yash Ratanpal" userId="5db668b1-93e7-4c08-9786-4ed81315a653" providerId="ADAL" clId="{6A8CBA8A-0DFA-49E5-9129-505E1F9E8E2C}" dt="2021-07-25T10:25:34.386" v="4139" actId="113"/>
          <ac:spMkLst>
            <pc:docMk/>
            <pc:sldMk cId="3100553508" sldId="1727"/>
            <ac:spMk id="33" creationId="{05569388-B897-4BD6-8D58-AA7A34D718FF}"/>
          </ac:spMkLst>
        </pc:spChg>
        <pc:spChg chg="add mod">
          <ac:chgData name="Yash Ratanpal" userId="5db668b1-93e7-4c08-9786-4ed81315a653" providerId="ADAL" clId="{6A8CBA8A-0DFA-49E5-9129-505E1F9E8E2C}" dt="2021-07-25T10:31:03.304" v="4412" actId="20577"/>
          <ac:spMkLst>
            <pc:docMk/>
            <pc:sldMk cId="3100553508" sldId="1727"/>
            <ac:spMk id="34" creationId="{3EB9B913-4DF7-40A6-933E-593A8D2FBA01}"/>
          </ac:spMkLst>
        </pc:spChg>
        <pc:spChg chg="add mod">
          <ac:chgData name="Yash Ratanpal" userId="5db668b1-93e7-4c08-9786-4ed81315a653" providerId="ADAL" clId="{6A8CBA8A-0DFA-49E5-9129-505E1F9E8E2C}" dt="2021-07-25T10:05:31.420" v="3312" actId="20577"/>
          <ac:spMkLst>
            <pc:docMk/>
            <pc:sldMk cId="3100553508" sldId="1727"/>
            <ac:spMk id="35" creationId="{AB62D678-FC2B-4331-88A8-F12D5BC3BDF4}"/>
          </ac:spMkLst>
        </pc:spChg>
        <pc:spChg chg="add mod">
          <ac:chgData name="Yash Ratanpal" userId="5db668b1-93e7-4c08-9786-4ed81315a653" providerId="ADAL" clId="{6A8CBA8A-0DFA-49E5-9129-505E1F9E8E2C}" dt="2021-07-25T10:05:25.406" v="3309" actId="20577"/>
          <ac:spMkLst>
            <pc:docMk/>
            <pc:sldMk cId="3100553508" sldId="1727"/>
            <ac:spMk id="36" creationId="{D7936069-93BF-4B35-A556-0399608C8F89}"/>
          </ac:spMkLst>
        </pc:spChg>
        <pc:spChg chg="add mod">
          <ac:chgData name="Yash Ratanpal" userId="5db668b1-93e7-4c08-9786-4ed81315a653" providerId="ADAL" clId="{6A8CBA8A-0DFA-49E5-9129-505E1F9E8E2C}" dt="2021-07-25T10:05:27.826" v="3310" actId="20577"/>
          <ac:spMkLst>
            <pc:docMk/>
            <pc:sldMk cId="3100553508" sldId="1727"/>
            <ac:spMk id="37" creationId="{A99768FA-CAB8-4D3D-B39E-7D79336E1386}"/>
          </ac:spMkLst>
        </pc:spChg>
        <pc:spChg chg="add del mod">
          <ac:chgData name="Yash Ratanpal" userId="5db668b1-93e7-4c08-9786-4ed81315a653" providerId="ADAL" clId="{6A8CBA8A-0DFA-49E5-9129-505E1F9E8E2C}" dt="2021-07-25T10:00:03.177" v="2926" actId="478"/>
          <ac:spMkLst>
            <pc:docMk/>
            <pc:sldMk cId="3100553508" sldId="1727"/>
            <ac:spMk id="38" creationId="{FDB41BEA-DC03-41DA-88BD-3CA64C4CFC71}"/>
          </ac:spMkLst>
        </pc:spChg>
        <pc:spChg chg="add del mod">
          <ac:chgData name="Yash Ratanpal" userId="5db668b1-93e7-4c08-9786-4ed81315a653" providerId="ADAL" clId="{6A8CBA8A-0DFA-49E5-9129-505E1F9E8E2C}" dt="2021-07-25T10:00:03.795" v="2927" actId="478"/>
          <ac:spMkLst>
            <pc:docMk/>
            <pc:sldMk cId="3100553508" sldId="1727"/>
            <ac:spMk id="39" creationId="{C4410FA7-1E6F-44BA-A51E-717E19E57EE2}"/>
          </ac:spMkLst>
        </pc:spChg>
        <pc:spChg chg="add del mod">
          <ac:chgData name="Yash Ratanpal" userId="5db668b1-93e7-4c08-9786-4ed81315a653" providerId="ADAL" clId="{6A8CBA8A-0DFA-49E5-9129-505E1F9E8E2C}" dt="2021-07-25T10:00:04.282" v="2928" actId="478"/>
          <ac:spMkLst>
            <pc:docMk/>
            <pc:sldMk cId="3100553508" sldId="1727"/>
            <ac:spMk id="40" creationId="{EF060F37-EB63-44A8-87B2-734C71B2CD35}"/>
          </ac:spMkLst>
        </pc:spChg>
        <pc:spChg chg="add del mod">
          <ac:chgData name="Yash Ratanpal" userId="5db668b1-93e7-4c08-9786-4ed81315a653" providerId="ADAL" clId="{6A8CBA8A-0DFA-49E5-9129-505E1F9E8E2C}" dt="2021-07-25T10:00:04.815" v="2929" actId="478"/>
          <ac:spMkLst>
            <pc:docMk/>
            <pc:sldMk cId="3100553508" sldId="1727"/>
            <ac:spMk id="41" creationId="{62A7C2F4-04DA-4632-B46C-6941D63C3C58}"/>
          </ac:spMkLst>
        </pc:spChg>
        <pc:spChg chg="add del mod topLvl">
          <ac:chgData name="Yash Ratanpal" userId="5db668b1-93e7-4c08-9786-4ed81315a653" providerId="ADAL" clId="{6A8CBA8A-0DFA-49E5-9129-505E1F9E8E2C}" dt="2021-07-25T10:11:36.767" v="3665" actId="20577"/>
          <ac:spMkLst>
            <pc:docMk/>
            <pc:sldMk cId="3100553508" sldId="1727"/>
            <ac:spMk id="42" creationId="{40DB8F5E-CBB5-4F68-88C1-57DCF7DAA2DF}"/>
          </ac:spMkLst>
        </pc:spChg>
        <pc:spChg chg="add del mod topLvl">
          <ac:chgData name="Yash Ratanpal" userId="5db668b1-93e7-4c08-9786-4ed81315a653" providerId="ADAL" clId="{6A8CBA8A-0DFA-49E5-9129-505E1F9E8E2C}" dt="2021-07-25T10:10:27.510" v="3552" actId="164"/>
          <ac:spMkLst>
            <pc:docMk/>
            <pc:sldMk cId="3100553508" sldId="1727"/>
            <ac:spMk id="43" creationId="{50F0733B-E82C-4B07-A2F0-0D09BEA75D47}"/>
          </ac:spMkLst>
        </pc:spChg>
        <pc:spChg chg="add del mod topLvl">
          <ac:chgData name="Yash Ratanpal" userId="5db668b1-93e7-4c08-9786-4ed81315a653" providerId="ADAL" clId="{6A8CBA8A-0DFA-49E5-9129-505E1F9E8E2C}" dt="2021-07-25T10:10:27.510" v="3552" actId="164"/>
          <ac:spMkLst>
            <pc:docMk/>
            <pc:sldMk cId="3100553508" sldId="1727"/>
            <ac:spMk id="44" creationId="{65A54F44-5F32-4A03-80A8-0BE35215D108}"/>
          </ac:spMkLst>
        </pc:spChg>
        <pc:spChg chg="add del mod topLvl">
          <ac:chgData name="Yash Ratanpal" userId="5db668b1-93e7-4c08-9786-4ed81315a653" providerId="ADAL" clId="{6A8CBA8A-0DFA-49E5-9129-505E1F9E8E2C}" dt="2021-07-25T10:10:27.510" v="3552" actId="164"/>
          <ac:spMkLst>
            <pc:docMk/>
            <pc:sldMk cId="3100553508" sldId="1727"/>
            <ac:spMk id="45" creationId="{91646A1E-193D-4EDB-B543-45868479A0D5}"/>
          </ac:spMkLst>
        </pc:spChg>
        <pc:spChg chg="add del mod topLvl">
          <ac:chgData name="Yash Ratanpal" userId="5db668b1-93e7-4c08-9786-4ed81315a653" providerId="ADAL" clId="{6A8CBA8A-0DFA-49E5-9129-505E1F9E8E2C}" dt="2021-07-25T10:10:27.510" v="3552" actId="164"/>
          <ac:spMkLst>
            <pc:docMk/>
            <pc:sldMk cId="3100553508" sldId="1727"/>
            <ac:spMk id="46" creationId="{1D8D0AE4-5631-4D6C-A939-B9B4CE04D8C8}"/>
          </ac:spMkLst>
        </pc:spChg>
        <pc:spChg chg="mod topLvl">
          <ac:chgData name="Yash Ratanpal" userId="5db668b1-93e7-4c08-9786-4ed81315a653" providerId="ADAL" clId="{6A8CBA8A-0DFA-49E5-9129-505E1F9E8E2C}" dt="2021-07-25T09:57:12.079" v="2871" actId="164"/>
          <ac:spMkLst>
            <pc:docMk/>
            <pc:sldMk cId="3100553508" sldId="1727"/>
            <ac:spMk id="50" creationId="{BEDD390B-2983-4A4C-9979-047215730B1F}"/>
          </ac:spMkLst>
        </pc:spChg>
        <pc:spChg chg="mod topLvl">
          <ac:chgData name="Yash Ratanpal" userId="5db668b1-93e7-4c08-9786-4ed81315a653" providerId="ADAL" clId="{6A8CBA8A-0DFA-49E5-9129-505E1F9E8E2C}" dt="2021-07-25T09:57:12.079" v="2871" actId="164"/>
          <ac:spMkLst>
            <pc:docMk/>
            <pc:sldMk cId="3100553508" sldId="1727"/>
            <ac:spMk id="51" creationId="{0DCCCAC2-7A58-4525-B195-CF3BA5E6DD26}"/>
          </ac:spMkLst>
        </pc:spChg>
        <pc:spChg chg="mod topLvl">
          <ac:chgData name="Yash Ratanpal" userId="5db668b1-93e7-4c08-9786-4ed81315a653" providerId="ADAL" clId="{6A8CBA8A-0DFA-49E5-9129-505E1F9E8E2C}" dt="2021-07-25T09:57:12.079" v="2871" actId="164"/>
          <ac:spMkLst>
            <pc:docMk/>
            <pc:sldMk cId="3100553508" sldId="1727"/>
            <ac:spMk id="52" creationId="{49BF2847-CD2D-465D-96C8-EAB9EABABCB7}"/>
          </ac:spMkLst>
        </pc:spChg>
        <pc:spChg chg="mod">
          <ac:chgData name="Yash Ratanpal" userId="5db668b1-93e7-4c08-9786-4ed81315a653" providerId="ADAL" clId="{6A8CBA8A-0DFA-49E5-9129-505E1F9E8E2C}" dt="2021-07-25T10:03:08.685" v="3307" actId="20577"/>
          <ac:spMkLst>
            <pc:docMk/>
            <pc:sldMk cId="3100553508" sldId="1727"/>
            <ac:spMk id="54" creationId="{FE85744E-FF0C-4C1B-BA48-E2F222327D6E}"/>
          </ac:spMkLst>
        </pc:spChg>
        <pc:spChg chg="mod topLvl">
          <ac:chgData name="Yash Ratanpal" userId="5db668b1-93e7-4c08-9786-4ed81315a653" providerId="ADAL" clId="{6A8CBA8A-0DFA-49E5-9129-505E1F9E8E2C}" dt="2021-07-25T09:57:12.079" v="2871" actId="164"/>
          <ac:spMkLst>
            <pc:docMk/>
            <pc:sldMk cId="3100553508" sldId="1727"/>
            <ac:spMk id="55" creationId="{69085FAC-F008-47F2-BDF2-5B29B939429B}"/>
          </ac:spMkLst>
        </pc:spChg>
        <pc:spChg chg="mod topLvl">
          <ac:chgData name="Yash Ratanpal" userId="5db668b1-93e7-4c08-9786-4ed81315a653" providerId="ADAL" clId="{6A8CBA8A-0DFA-49E5-9129-505E1F9E8E2C}" dt="2021-07-25T09:57:12.079" v="2871" actId="164"/>
          <ac:spMkLst>
            <pc:docMk/>
            <pc:sldMk cId="3100553508" sldId="1727"/>
            <ac:spMk id="56" creationId="{B21CA961-B4C7-41CC-A122-B4CA6E11D370}"/>
          </ac:spMkLst>
        </pc:spChg>
        <pc:spChg chg="mod topLvl">
          <ac:chgData name="Yash Ratanpal" userId="5db668b1-93e7-4c08-9786-4ed81315a653" providerId="ADAL" clId="{6A8CBA8A-0DFA-49E5-9129-505E1F9E8E2C}" dt="2021-07-25T09:57:12.079" v="2871" actId="164"/>
          <ac:spMkLst>
            <pc:docMk/>
            <pc:sldMk cId="3100553508" sldId="1727"/>
            <ac:spMk id="57" creationId="{100A5B21-AD6E-4E71-8C93-085ADB270BC3}"/>
          </ac:spMkLst>
        </pc:spChg>
        <pc:spChg chg="mod">
          <ac:chgData name="Yash Ratanpal" userId="5db668b1-93e7-4c08-9786-4ed81315a653" providerId="ADAL" clId="{6A8CBA8A-0DFA-49E5-9129-505E1F9E8E2C}" dt="2021-07-25T10:06:57.066" v="3375" actId="404"/>
          <ac:spMkLst>
            <pc:docMk/>
            <pc:sldMk cId="3100553508" sldId="1727"/>
            <ac:spMk id="58" creationId="{EF5EFF97-EF46-42BC-AB94-40122BFB0BE3}"/>
          </ac:spMkLst>
        </pc:spChg>
        <pc:spChg chg="mod topLvl">
          <ac:chgData name="Yash Ratanpal" userId="5db668b1-93e7-4c08-9786-4ed81315a653" providerId="ADAL" clId="{6A8CBA8A-0DFA-49E5-9129-505E1F9E8E2C}" dt="2021-07-25T09:57:12.079" v="2871" actId="164"/>
          <ac:spMkLst>
            <pc:docMk/>
            <pc:sldMk cId="3100553508" sldId="1727"/>
            <ac:spMk id="59" creationId="{BC926858-2F4E-4146-A82C-778B9C2A879D}"/>
          </ac:spMkLst>
        </pc:spChg>
        <pc:spChg chg="mod topLvl">
          <ac:chgData name="Yash Ratanpal" userId="5db668b1-93e7-4c08-9786-4ed81315a653" providerId="ADAL" clId="{6A8CBA8A-0DFA-49E5-9129-505E1F9E8E2C}" dt="2021-07-25T09:57:12.079" v="2871" actId="164"/>
          <ac:spMkLst>
            <pc:docMk/>
            <pc:sldMk cId="3100553508" sldId="1727"/>
            <ac:spMk id="60" creationId="{BE0B5880-634B-4BD0-8041-CD095B40BA41}"/>
          </ac:spMkLst>
        </pc:spChg>
        <pc:spChg chg="mod topLvl">
          <ac:chgData name="Yash Ratanpal" userId="5db668b1-93e7-4c08-9786-4ed81315a653" providerId="ADAL" clId="{6A8CBA8A-0DFA-49E5-9129-505E1F9E8E2C}" dt="2021-07-25T09:57:12.079" v="2871" actId="164"/>
          <ac:spMkLst>
            <pc:docMk/>
            <pc:sldMk cId="3100553508" sldId="1727"/>
            <ac:spMk id="61" creationId="{08E4BCC1-3BF0-4B82-980D-76FD6E01A35A}"/>
          </ac:spMkLst>
        </pc:spChg>
        <pc:spChg chg="mod topLvl">
          <ac:chgData name="Yash Ratanpal" userId="5db668b1-93e7-4c08-9786-4ed81315a653" providerId="ADAL" clId="{6A8CBA8A-0DFA-49E5-9129-505E1F9E8E2C}" dt="2021-07-25T09:57:12.079" v="2871" actId="164"/>
          <ac:spMkLst>
            <pc:docMk/>
            <pc:sldMk cId="3100553508" sldId="1727"/>
            <ac:spMk id="62" creationId="{BAEFF113-58EE-4F6A-8ED9-7CDB3CB5EA68}"/>
          </ac:spMkLst>
        </pc:spChg>
        <pc:spChg chg="mod topLvl">
          <ac:chgData name="Yash Ratanpal" userId="5db668b1-93e7-4c08-9786-4ed81315a653" providerId="ADAL" clId="{6A8CBA8A-0DFA-49E5-9129-505E1F9E8E2C}" dt="2021-07-25T09:57:12.079" v="2871" actId="164"/>
          <ac:spMkLst>
            <pc:docMk/>
            <pc:sldMk cId="3100553508" sldId="1727"/>
            <ac:spMk id="63" creationId="{24FC3620-8286-4311-84C9-8872EA2D0EC3}"/>
          </ac:spMkLst>
        </pc:spChg>
        <pc:spChg chg="mod topLvl">
          <ac:chgData name="Yash Ratanpal" userId="5db668b1-93e7-4c08-9786-4ed81315a653" providerId="ADAL" clId="{6A8CBA8A-0DFA-49E5-9129-505E1F9E8E2C}" dt="2021-07-25T09:57:12.079" v="2871" actId="164"/>
          <ac:spMkLst>
            <pc:docMk/>
            <pc:sldMk cId="3100553508" sldId="1727"/>
            <ac:spMk id="64" creationId="{3C4C1868-CB78-41A8-9C9B-A2CD13192B32}"/>
          </ac:spMkLst>
        </pc:spChg>
        <pc:spChg chg="mod">
          <ac:chgData name="Yash Ratanpal" userId="5db668b1-93e7-4c08-9786-4ed81315a653" providerId="ADAL" clId="{6A8CBA8A-0DFA-49E5-9129-505E1F9E8E2C}" dt="2021-07-25T10:02:59.640" v="3289"/>
          <ac:spMkLst>
            <pc:docMk/>
            <pc:sldMk cId="3100553508" sldId="1727"/>
            <ac:spMk id="65" creationId="{A167F2D5-92A2-44F0-9330-AFD26994E373}"/>
          </ac:spMkLst>
        </pc:spChg>
        <pc:spChg chg="mod">
          <ac:chgData name="Yash Ratanpal" userId="5db668b1-93e7-4c08-9786-4ed81315a653" providerId="ADAL" clId="{6A8CBA8A-0DFA-49E5-9129-505E1F9E8E2C}" dt="2021-07-25T10:02:59.640" v="3289"/>
          <ac:spMkLst>
            <pc:docMk/>
            <pc:sldMk cId="3100553508" sldId="1727"/>
            <ac:spMk id="66" creationId="{02B59A17-1A31-4FE4-B822-C3D754511D9C}"/>
          </ac:spMkLst>
        </pc:spChg>
        <pc:spChg chg="mod">
          <ac:chgData name="Yash Ratanpal" userId="5db668b1-93e7-4c08-9786-4ed81315a653" providerId="ADAL" clId="{6A8CBA8A-0DFA-49E5-9129-505E1F9E8E2C}" dt="2021-07-25T10:02:59.640" v="3289"/>
          <ac:spMkLst>
            <pc:docMk/>
            <pc:sldMk cId="3100553508" sldId="1727"/>
            <ac:spMk id="67" creationId="{7D4D7D04-49A0-4CDB-B289-52AF3D250E8F}"/>
          </ac:spMkLst>
        </pc:spChg>
        <pc:spChg chg="mod">
          <ac:chgData name="Yash Ratanpal" userId="5db668b1-93e7-4c08-9786-4ed81315a653" providerId="ADAL" clId="{6A8CBA8A-0DFA-49E5-9129-505E1F9E8E2C}" dt="2021-07-25T09:57:01.039" v="2870" actId="20577"/>
          <ac:spMkLst>
            <pc:docMk/>
            <pc:sldMk cId="3100553508" sldId="1727"/>
            <ac:spMk id="82" creationId="{BEB4958C-22E3-43E0-B871-A92A55A24615}"/>
          </ac:spMkLst>
        </pc:spChg>
        <pc:grpChg chg="add del mod">
          <ac:chgData name="Yash Ratanpal" userId="5db668b1-93e7-4c08-9786-4ed81315a653" providerId="ADAL" clId="{6A8CBA8A-0DFA-49E5-9129-505E1F9E8E2C}" dt="2021-07-25T09:59:25.154" v="2919" actId="478"/>
          <ac:grpSpMkLst>
            <pc:docMk/>
            <pc:sldMk cId="3100553508" sldId="1727"/>
            <ac:grpSpMk id="4" creationId="{6425CFED-E3EF-4917-A99E-035D07183D26}"/>
          </ac:grpSpMkLst>
        </pc:grpChg>
        <pc:grpChg chg="add mod">
          <ac:chgData name="Yash Ratanpal" userId="5db668b1-93e7-4c08-9786-4ed81315a653" providerId="ADAL" clId="{6A8CBA8A-0DFA-49E5-9129-505E1F9E8E2C}" dt="2021-07-25T10:02:33.145" v="3283" actId="14100"/>
          <ac:grpSpMkLst>
            <pc:docMk/>
            <pc:sldMk cId="3100553508" sldId="1727"/>
            <ac:grpSpMk id="5" creationId="{31F94F93-32C2-49BD-816C-F9C7FF2DBABB}"/>
          </ac:grpSpMkLst>
        </pc:grpChg>
        <pc:grpChg chg="del">
          <ac:chgData name="Yash Ratanpal" userId="5db668b1-93e7-4c08-9786-4ed81315a653" providerId="ADAL" clId="{6A8CBA8A-0DFA-49E5-9129-505E1F9E8E2C}" dt="2021-07-25T09:52:23.710" v="2602" actId="165"/>
          <ac:grpSpMkLst>
            <pc:docMk/>
            <pc:sldMk cId="3100553508" sldId="1727"/>
            <ac:grpSpMk id="6" creationId="{9EB8AF2A-34B4-47F0-8E00-C3F51D697D28}"/>
          </ac:grpSpMkLst>
        </pc:grpChg>
        <pc:grpChg chg="add del mod">
          <ac:chgData name="Yash Ratanpal" userId="5db668b1-93e7-4c08-9786-4ed81315a653" providerId="ADAL" clId="{6A8CBA8A-0DFA-49E5-9129-505E1F9E8E2C}" dt="2021-07-25T10:08:04.878" v="3380" actId="165"/>
          <ac:grpSpMkLst>
            <pc:docMk/>
            <pc:sldMk cId="3100553508" sldId="1727"/>
            <ac:grpSpMk id="7" creationId="{9D63A094-AED0-4419-9343-6B762A7BB454}"/>
          </ac:grpSpMkLst>
        </pc:grpChg>
        <pc:grpChg chg="add mod">
          <ac:chgData name="Yash Ratanpal" userId="5db668b1-93e7-4c08-9786-4ed81315a653" providerId="ADAL" clId="{6A8CBA8A-0DFA-49E5-9129-505E1F9E8E2C}" dt="2021-07-25T10:11:41.127" v="3667" actId="14100"/>
          <ac:grpSpMkLst>
            <pc:docMk/>
            <pc:sldMk cId="3100553508" sldId="1727"/>
            <ac:grpSpMk id="8" creationId="{68CA8AB1-FDB4-4DCE-B503-6665F42DF0C1}"/>
          </ac:grpSpMkLst>
        </pc:grpChg>
        <pc:grpChg chg="add mod">
          <ac:chgData name="Yash Ratanpal" userId="5db668b1-93e7-4c08-9786-4ed81315a653" providerId="ADAL" clId="{6A8CBA8A-0DFA-49E5-9129-505E1F9E8E2C}" dt="2021-07-25T10:11:39.075" v="3666" actId="14100"/>
          <ac:grpSpMkLst>
            <pc:docMk/>
            <pc:sldMk cId="3100553508" sldId="1727"/>
            <ac:grpSpMk id="9" creationId="{9460EDB5-6F23-40F7-B025-0A07EEF58CC6}"/>
          </ac:grpSpMkLst>
        </pc:grpChg>
        <pc:grpChg chg="add del mod">
          <ac:chgData name="Yash Ratanpal" userId="5db668b1-93e7-4c08-9786-4ed81315a653" providerId="ADAL" clId="{6A8CBA8A-0DFA-49E5-9129-505E1F9E8E2C}" dt="2021-07-25T10:07:12.185" v="3377" actId="478"/>
          <ac:grpSpMkLst>
            <pc:docMk/>
            <pc:sldMk cId="3100553508" sldId="1727"/>
            <ac:grpSpMk id="53" creationId="{AB435687-ED24-4CF3-BA6B-C73E5ABE81A9}"/>
          </ac:grpSpMkLst>
        </pc:grpChg>
        <pc:grpChg chg="del">
          <ac:chgData name="Yash Ratanpal" userId="5db668b1-93e7-4c08-9786-4ed81315a653" providerId="ADAL" clId="{6A8CBA8A-0DFA-49E5-9129-505E1F9E8E2C}" dt="2021-07-25T09:51:09.498" v="2478" actId="478"/>
          <ac:grpSpMkLst>
            <pc:docMk/>
            <pc:sldMk cId="3100553508" sldId="1727"/>
            <ac:grpSpMk id="91" creationId="{D3EF83A6-F13E-45DB-8E8D-D2F02FF2530E}"/>
          </ac:grpSpMkLst>
        </pc:grpChg>
      </pc:sldChg>
      <pc:sldChg chg="add del">
        <pc:chgData name="Yash Ratanpal" userId="5db668b1-93e7-4c08-9786-4ed81315a653" providerId="ADAL" clId="{6A8CBA8A-0DFA-49E5-9129-505E1F9E8E2C}" dt="2021-07-25T10:08:48.310" v="3400" actId="47"/>
        <pc:sldMkLst>
          <pc:docMk/>
          <pc:sldMk cId="818823805" sldId="1728"/>
        </pc:sldMkLst>
      </pc:sldChg>
      <pc:sldChg chg="add del">
        <pc:chgData name="Yash Ratanpal" userId="5db668b1-93e7-4c08-9786-4ed81315a653" providerId="ADAL" clId="{6A8CBA8A-0DFA-49E5-9129-505E1F9E8E2C}" dt="2021-07-25T10:28:28.882" v="4302" actId="47"/>
        <pc:sldMkLst>
          <pc:docMk/>
          <pc:sldMk cId="1098083306" sldId="1728"/>
        </pc:sldMkLst>
      </pc:sldChg>
      <pc:sldChg chg="modSp add mod">
        <pc:chgData name="Yash Ratanpal" userId="5db668b1-93e7-4c08-9786-4ed81315a653" providerId="ADAL" clId="{6A8CBA8A-0DFA-49E5-9129-505E1F9E8E2C}" dt="2021-07-25T10:29:47.250" v="4393"/>
        <pc:sldMkLst>
          <pc:docMk/>
          <pc:sldMk cId="3471107338" sldId="1728"/>
        </pc:sldMkLst>
        <pc:spChg chg="mod">
          <ac:chgData name="Yash Ratanpal" userId="5db668b1-93e7-4c08-9786-4ed81315a653" providerId="ADAL" clId="{6A8CBA8A-0DFA-49E5-9129-505E1F9E8E2C}" dt="2021-07-25T10:28:48.018" v="4389" actId="313"/>
          <ac:spMkLst>
            <pc:docMk/>
            <pc:sldMk cId="3471107338" sldId="1728"/>
            <ac:spMk id="30" creationId="{B4BF28C5-DF7D-4924-A7E4-35B1D3BE66E3}"/>
          </ac:spMkLst>
        </pc:spChg>
        <pc:spChg chg="mod">
          <ac:chgData name="Yash Ratanpal" userId="5db668b1-93e7-4c08-9786-4ed81315a653" providerId="ADAL" clId="{6A8CBA8A-0DFA-49E5-9129-505E1F9E8E2C}" dt="2021-07-25T10:29:30.133" v="4390"/>
          <ac:spMkLst>
            <pc:docMk/>
            <pc:sldMk cId="3471107338" sldId="1728"/>
            <ac:spMk id="31" creationId="{B096443A-36FB-434F-A4E2-4FE5A2AFE6E0}"/>
          </ac:spMkLst>
        </pc:spChg>
        <pc:spChg chg="mod">
          <ac:chgData name="Yash Ratanpal" userId="5db668b1-93e7-4c08-9786-4ed81315a653" providerId="ADAL" clId="{6A8CBA8A-0DFA-49E5-9129-505E1F9E8E2C}" dt="2021-07-25T10:29:42.615" v="4392"/>
          <ac:spMkLst>
            <pc:docMk/>
            <pc:sldMk cId="3471107338" sldId="1728"/>
            <ac:spMk id="32" creationId="{3DADC322-B488-4402-837C-B2653A02CBD6}"/>
          </ac:spMkLst>
        </pc:spChg>
        <pc:spChg chg="mod">
          <ac:chgData name="Yash Ratanpal" userId="5db668b1-93e7-4c08-9786-4ed81315a653" providerId="ADAL" clId="{6A8CBA8A-0DFA-49E5-9129-505E1F9E8E2C}" dt="2021-07-25T10:29:37.538" v="4391"/>
          <ac:spMkLst>
            <pc:docMk/>
            <pc:sldMk cId="3471107338" sldId="1728"/>
            <ac:spMk id="33" creationId="{05569388-B897-4BD6-8D58-AA7A34D718FF}"/>
          </ac:spMkLst>
        </pc:spChg>
        <pc:spChg chg="mod">
          <ac:chgData name="Yash Ratanpal" userId="5db668b1-93e7-4c08-9786-4ed81315a653" providerId="ADAL" clId="{6A8CBA8A-0DFA-49E5-9129-505E1F9E8E2C}" dt="2021-07-25T10:29:47.250" v="4393"/>
          <ac:spMkLst>
            <pc:docMk/>
            <pc:sldMk cId="3471107338" sldId="1728"/>
            <ac:spMk id="34" creationId="{3EB9B913-4DF7-40A6-933E-593A8D2FBA01}"/>
          </ac:spMkLst>
        </pc:spChg>
      </pc:sldChg>
      <pc:sldChg chg="add del">
        <pc:chgData name="Yash Ratanpal" userId="5db668b1-93e7-4c08-9786-4ed81315a653" providerId="ADAL" clId="{6A8CBA8A-0DFA-49E5-9129-505E1F9E8E2C}" dt="2021-07-25T10:32:58.468" v="4458" actId="47"/>
        <pc:sldMkLst>
          <pc:docMk/>
          <pc:sldMk cId="1788620713" sldId="1729"/>
        </pc:sldMkLst>
      </pc:sldChg>
      <pc:sldChg chg="delSp modSp add del mod">
        <pc:chgData name="Yash Ratanpal" userId="5db668b1-93e7-4c08-9786-4ed81315a653" providerId="ADAL" clId="{6A8CBA8A-0DFA-49E5-9129-505E1F9E8E2C}" dt="2021-07-25T11:19:18.915" v="5765" actId="47"/>
        <pc:sldMkLst>
          <pc:docMk/>
          <pc:sldMk cId="3914630329" sldId="1730"/>
        </pc:sldMkLst>
        <pc:spChg chg="mod">
          <ac:chgData name="Yash Ratanpal" userId="5db668b1-93e7-4c08-9786-4ed81315a653" providerId="ADAL" clId="{6A8CBA8A-0DFA-49E5-9129-505E1F9E8E2C}" dt="2021-07-25T10:33:03.112" v="4476" actId="20577"/>
          <ac:spMkLst>
            <pc:docMk/>
            <pc:sldMk cId="3914630329" sldId="1730"/>
            <ac:spMk id="3" creationId="{00000000-0000-0000-0000-000000000000}"/>
          </ac:spMkLst>
        </pc:spChg>
        <pc:spChg chg="mod topLvl">
          <ac:chgData name="Yash Ratanpal" userId="5db668b1-93e7-4c08-9786-4ed81315a653" providerId="ADAL" clId="{6A8CBA8A-0DFA-49E5-9129-505E1F9E8E2C}" dt="2021-07-25T11:18:12.511" v="5736" actId="165"/>
          <ac:spMkLst>
            <pc:docMk/>
            <pc:sldMk cId="3914630329" sldId="1730"/>
            <ac:spMk id="24" creationId="{EB3818DC-FFE8-457E-8B24-6DC41AA1DD2F}"/>
          </ac:spMkLst>
        </pc:spChg>
        <pc:spChg chg="mod">
          <ac:chgData name="Yash Ratanpal" userId="5db668b1-93e7-4c08-9786-4ed81315a653" providerId="ADAL" clId="{6A8CBA8A-0DFA-49E5-9129-505E1F9E8E2C}" dt="2021-07-25T11:18:12.511" v="5736" actId="165"/>
          <ac:spMkLst>
            <pc:docMk/>
            <pc:sldMk cId="3914630329" sldId="1730"/>
            <ac:spMk id="26" creationId="{EB22053A-55AC-437C-9A08-C95BEA919E9B}"/>
          </ac:spMkLst>
        </pc:spChg>
        <pc:spChg chg="mod">
          <ac:chgData name="Yash Ratanpal" userId="5db668b1-93e7-4c08-9786-4ed81315a653" providerId="ADAL" clId="{6A8CBA8A-0DFA-49E5-9129-505E1F9E8E2C}" dt="2021-07-25T11:18:12.511" v="5736" actId="165"/>
          <ac:spMkLst>
            <pc:docMk/>
            <pc:sldMk cId="3914630329" sldId="1730"/>
            <ac:spMk id="27" creationId="{CF861375-267B-4F2B-99ED-DFCF7F79B4C2}"/>
          </ac:spMkLst>
        </pc:spChg>
        <pc:spChg chg="mod topLvl">
          <ac:chgData name="Yash Ratanpal" userId="5db668b1-93e7-4c08-9786-4ed81315a653" providerId="ADAL" clId="{6A8CBA8A-0DFA-49E5-9129-505E1F9E8E2C}" dt="2021-07-25T11:18:12.511" v="5736" actId="165"/>
          <ac:spMkLst>
            <pc:docMk/>
            <pc:sldMk cId="3914630329" sldId="1730"/>
            <ac:spMk id="28" creationId="{8C3E7B96-3703-4FBF-84DF-5D7114C640F7}"/>
          </ac:spMkLst>
        </pc:spChg>
        <pc:spChg chg="mod">
          <ac:chgData name="Yash Ratanpal" userId="5db668b1-93e7-4c08-9786-4ed81315a653" providerId="ADAL" clId="{6A8CBA8A-0DFA-49E5-9129-505E1F9E8E2C}" dt="2021-07-25T11:18:12.511" v="5736" actId="165"/>
          <ac:spMkLst>
            <pc:docMk/>
            <pc:sldMk cId="3914630329" sldId="1730"/>
            <ac:spMk id="31" creationId="{F3F48C6B-5A4F-412A-923C-20DE914B00F7}"/>
          </ac:spMkLst>
        </pc:spChg>
        <pc:spChg chg="mod">
          <ac:chgData name="Yash Ratanpal" userId="5db668b1-93e7-4c08-9786-4ed81315a653" providerId="ADAL" clId="{6A8CBA8A-0DFA-49E5-9129-505E1F9E8E2C}" dt="2021-07-25T11:18:12.511" v="5736" actId="165"/>
          <ac:spMkLst>
            <pc:docMk/>
            <pc:sldMk cId="3914630329" sldId="1730"/>
            <ac:spMk id="32" creationId="{FAD69AC0-6DF4-410A-A140-5A59BF321779}"/>
          </ac:spMkLst>
        </pc:spChg>
        <pc:spChg chg="mod">
          <ac:chgData name="Yash Ratanpal" userId="5db668b1-93e7-4c08-9786-4ed81315a653" providerId="ADAL" clId="{6A8CBA8A-0DFA-49E5-9129-505E1F9E8E2C}" dt="2021-07-25T11:18:12.511" v="5736" actId="165"/>
          <ac:spMkLst>
            <pc:docMk/>
            <pc:sldMk cId="3914630329" sldId="1730"/>
            <ac:spMk id="33" creationId="{19B6D1C6-29CD-4D70-9A6E-250A10B9CE26}"/>
          </ac:spMkLst>
        </pc:spChg>
        <pc:spChg chg="mod">
          <ac:chgData name="Yash Ratanpal" userId="5db668b1-93e7-4c08-9786-4ed81315a653" providerId="ADAL" clId="{6A8CBA8A-0DFA-49E5-9129-505E1F9E8E2C}" dt="2021-07-25T11:18:12.511" v="5736" actId="165"/>
          <ac:spMkLst>
            <pc:docMk/>
            <pc:sldMk cId="3914630329" sldId="1730"/>
            <ac:spMk id="34" creationId="{64ED84D5-2D62-4C50-9622-FA86071C9DC6}"/>
          </ac:spMkLst>
        </pc:spChg>
        <pc:spChg chg="mod">
          <ac:chgData name="Yash Ratanpal" userId="5db668b1-93e7-4c08-9786-4ed81315a653" providerId="ADAL" clId="{6A8CBA8A-0DFA-49E5-9129-505E1F9E8E2C}" dt="2021-07-25T11:18:12.511" v="5736" actId="165"/>
          <ac:spMkLst>
            <pc:docMk/>
            <pc:sldMk cId="3914630329" sldId="1730"/>
            <ac:spMk id="35" creationId="{DB7D7DA9-A075-4718-9716-C28080BD3000}"/>
          </ac:spMkLst>
        </pc:spChg>
        <pc:spChg chg="mod">
          <ac:chgData name="Yash Ratanpal" userId="5db668b1-93e7-4c08-9786-4ed81315a653" providerId="ADAL" clId="{6A8CBA8A-0DFA-49E5-9129-505E1F9E8E2C}" dt="2021-07-25T11:18:12.511" v="5736" actId="165"/>
          <ac:spMkLst>
            <pc:docMk/>
            <pc:sldMk cId="3914630329" sldId="1730"/>
            <ac:spMk id="36" creationId="{42AA1961-0E5C-4EE6-BC84-AAE87978ED24}"/>
          </ac:spMkLst>
        </pc:spChg>
        <pc:spChg chg="mod">
          <ac:chgData name="Yash Ratanpal" userId="5db668b1-93e7-4c08-9786-4ed81315a653" providerId="ADAL" clId="{6A8CBA8A-0DFA-49E5-9129-505E1F9E8E2C}" dt="2021-07-25T11:18:12.511" v="5736" actId="165"/>
          <ac:spMkLst>
            <pc:docMk/>
            <pc:sldMk cId="3914630329" sldId="1730"/>
            <ac:spMk id="37" creationId="{1E780DD5-69F8-4589-BF33-76A04EC4F700}"/>
          </ac:spMkLst>
        </pc:spChg>
        <pc:spChg chg="mod">
          <ac:chgData name="Yash Ratanpal" userId="5db668b1-93e7-4c08-9786-4ed81315a653" providerId="ADAL" clId="{6A8CBA8A-0DFA-49E5-9129-505E1F9E8E2C}" dt="2021-07-25T11:18:12.511" v="5736" actId="165"/>
          <ac:spMkLst>
            <pc:docMk/>
            <pc:sldMk cId="3914630329" sldId="1730"/>
            <ac:spMk id="38" creationId="{35007344-A998-42D2-89F5-385BFDDF4AFE}"/>
          </ac:spMkLst>
        </pc:spChg>
        <pc:spChg chg="mod">
          <ac:chgData name="Yash Ratanpal" userId="5db668b1-93e7-4c08-9786-4ed81315a653" providerId="ADAL" clId="{6A8CBA8A-0DFA-49E5-9129-505E1F9E8E2C}" dt="2021-07-25T11:18:12.511" v="5736" actId="165"/>
          <ac:spMkLst>
            <pc:docMk/>
            <pc:sldMk cId="3914630329" sldId="1730"/>
            <ac:spMk id="39" creationId="{8357B115-39DA-43F1-9B1D-FD9825289F7E}"/>
          </ac:spMkLst>
        </pc:spChg>
        <pc:spChg chg="mod">
          <ac:chgData name="Yash Ratanpal" userId="5db668b1-93e7-4c08-9786-4ed81315a653" providerId="ADAL" clId="{6A8CBA8A-0DFA-49E5-9129-505E1F9E8E2C}" dt="2021-07-25T11:18:12.511" v="5736" actId="165"/>
          <ac:spMkLst>
            <pc:docMk/>
            <pc:sldMk cId="3914630329" sldId="1730"/>
            <ac:spMk id="40" creationId="{35C18B47-26F2-4D78-852D-5D82351079C8}"/>
          </ac:spMkLst>
        </pc:spChg>
        <pc:spChg chg="mod">
          <ac:chgData name="Yash Ratanpal" userId="5db668b1-93e7-4c08-9786-4ed81315a653" providerId="ADAL" clId="{6A8CBA8A-0DFA-49E5-9129-505E1F9E8E2C}" dt="2021-07-25T11:18:12.511" v="5736" actId="165"/>
          <ac:spMkLst>
            <pc:docMk/>
            <pc:sldMk cId="3914630329" sldId="1730"/>
            <ac:spMk id="41" creationId="{D43064BE-5BA9-4670-8BFD-EDA80068F39F}"/>
          </ac:spMkLst>
        </pc:spChg>
        <pc:spChg chg="mod">
          <ac:chgData name="Yash Ratanpal" userId="5db668b1-93e7-4c08-9786-4ed81315a653" providerId="ADAL" clId="{6A8CBA8A-0DFA-49E5-9129-505E1F9E8E2C}" dt="2021-07-25T11:18:12.511" v="5736" actId="165"/>
          <ac:spMkLst>
            <pc:docMk/>
            <pc:sldMk cId="3914630329" sldId="1730"/>
            <ac:spMk id="42" creationId="{3DFABC3D-7668-4DDD-915C-55E635DED6A9}"/>
          </ac:spMkLst>
        </pc:spChg>
        <pc:grpChg chg="mod topLvl">
          <ac:chgData name="Yash Ratanpal" userId="5db668b1-93e7-4c08-9786-4ed81315a653" providerId="ADAL" clId="{6A8CBA8A-0DFA-49E5-9129-505E1F9E8E2C}" dt="2021-07-25T11:18:12.511" v="5736" actId="165"/>
          <ac:grpSpMkLst>
            <pc:docMk/>
            <pc:sldMk cId="3914630329" sldId="1730"/>
            <ac:grpSpMk id="25" creationId="{D376140C-B4C2-4D4A-A9B3-E32C1FB6CA1B}"/>
          </ac:grpSpMkLst>
        </pc:grpChg>
        <pc:grpChg chg="mod topLvl">
          <ac:chgData name="Yash Ratanpal" userId="5db668b1-93e7-4c08-9786-4ed81315a653" providerId="ADAL" clId="{6A8CBA8A-0DFA-49E5-9129-505E1F9E8E2C}" dt="2021-07-25T11:18:12.511" v="5736" actId="165"/>
          <ac:grpSpMkLst>
            <pc:docMk/>
            <pc:sldMk cId="3914630329" sldId="1730"/>
            <ac:grpSpMk id="30" creationId="{8B623FBA-DD1B-47DF-9210-AF07777601C2}"/>
          </ac:grpSpMkLst>
        </pc:grpChg>
        <pc:grpChg chg="del">
          <ac:chgData name="Yash Ratanpal" userId="5db668b1-93e7-4c08-9786-4ed81315a653" providerId="ADAL" clId="{6A8CBA8A-0DFA-49E5-9129-505E1F9E8E2C}" dt="2021-07-25T11:18:12.511" v="5736" actId="165"/>
          <ac:grpSpMkLst>
            <pc:docMk/>
            <pc:sldMk cId="3914630329" sldId="1730"/>
            <ac:grpSpMk id="44" creationId="{6805D841-338E-4EDC-9FB2-EDC150083FE5}"/>
          </ac:grpSpMkLst>
        </pc:grpChg>
        <pc:graphicFrameChg chg="mod topLvl">
          <ac:chgData name="Yash Ratanpal" userId="5db668b1-93e7-4c08-9786-4ed81315a653" providerId="ADAL" clId="{6A8CBA8A-0DFA-49E5-9129-505E1F9E8E2C}" dt="2021-07-25T11:18:12.511" v="5736" actId="165"/>
          <ac:graphicFrameMkLst>
            <pc:docMk/>
            <pc:sldMk cId="3914630329" sldId="1730"/>
            <ac:graphicFrameMk id="43" creationId="{2C4EF820-238F-4607-910A-60242C9751F4}"/>
          </ac:graphicFrameMkLst>
        </pc:graphicFrameChg>
        <pc:cxnChg chg="mod topLvl">
          <ac:chgData name="Yash Ratanpal" userId="5db668b1-93e7-4c08-9786-4ed81315a653" providerId="ADAL" clId="{6A8CBA8A-0DFA-49E5-9129-505E1F9E8E2C}" dt="2021-07-25T11:18:12.511" v="5736" actId="165"/>
          <ac:cxnSpMkLst>
            <pc:docMk/>
            <pc:sldMk cId="3914630329" sldId="1730"/>
            <ac:cxnSpMk id="29" creationId="{737AABC2-746B-4951-A97E-6F7F2A20AA7E}"/>
          </ac:cxnSpMkLst>
        </pc:cxnChg>
      </pc:sldChg>
      <pc:sldChg chg="addSp delSp modSp add del mod ord">
        <pc:chgData name="Yash Ratanpal" userId="5db668b1-93e7-4c08-9786-4ed81315a653" providerId="ADAL" clId="{6A8CBA8A-0DFA-49E5-9129-505E1F9E8E2C}" dt="2021-07-25T11:41:35.668" v="6450" actId="47"/>
        <pc:sldMkLst>
          <pc:docMk/>
          <pc:sldMk cId="2763091218" sldId="1731"/>
        </pc:sldMkLst>
        <pc:spChg chg="mod">
          <ac:chgData name="Yash Ratanpal" userId="5db668b1-93e7-4c08-9786-4ed81315a653" providerId="ADAL" clId="{6A8CBA8A-0DFA-49E5-9129-505E1F9E8E2C}" dt="2021-07-25T10:41:48.563" v="4523"/>
          <ac:spMkLst>
            <pc:docMk/>
            <pc:sldMk cId="2763091218" sldId="1731"/>
            <ac:spMk id="3" creationId="{00000000-0000-0000-0000-000000000000}"/>
          </ac:spMkLst>
        </pc:spChg>
        <pc:spChg chg="add mod">
          <ac:chgData name="Yash Ratanpal" userId="5db668b1-93e7-4c08-9786-4ed81315a653" providerId="ADAL" clId="{6A8CBA8A-0DFA-49E5-9129-505E1F9E8E2C}" dt="2021-07-25T10:41:56.314" v="4525"/>
          <ac:spMkLst>
            <pc:docMk/>
            <pc:sldMk cId="2763091218" sldId="1731"/>
            <ac:spMk id="24" creationId="{81766285-027A-44F7-842F-91875CF7C14B}"/>
          </ac:spMkLst>
        </pc:spChg>
        <pc:spChg chg="add mod">
          <ac:chgData name="Yash Ratanpal" userId="5db668b1-93e7-4c08-9786-4ed81315a653" providerId="ADAL" clId="{6A8CBA8A-0DFA-49E5-9129-505E1F9E8E2C}" dt="2021-07-25T10:42:35.231" v="4534" actId="207"/>
          <ac:spMkLst>
            <pc:docMk/>
            <pc:sldMk cId="2763091218" sldId="1731"/>
            <ac:spMk id="36" creationId="{E294764E-DFB3-4367-ABB3-19524E074385}"/>
          </ac:spMkLst>
        </pc:spChg>
        <pc:spChg chg="del">
          <ac:chgData name="Yash Ratanpal" userId="5db668b1-93e7-4c08-9786-4ed81315a653" providerId="ADAL" clId="{6A8CBA8A-0DFA-49E5-9129-505E1F9E8E2C}" dt="2021-07-25T10:41:51.858" v="4524" actId="478"/>
          <ac:spMkLst>
            <pc:docMk/>
            <pc:sldMk cId="2763091218" sldId="1731"/>
            <ac:spMk id="45" creationId="{8F37BF69-8CE0-47C9-B7B4-135029BF3446}"/>
          </ac:spMkLst>
        </pc:spChg>
        <pc:spChg chg="del">
          <ac:chgData name="Yash Ratanpal" userId="5db668b1-93e7-4c08-9786-4ed81315a653" providerId="ADAL" clId="{6A8CBA8A-0DFA-49E5-9129-505E1F9E8E2C}" dt="2021-07-25T10:41:51.858" v="4524" actId="478"/>
          <ac:spMkLst>
            <pc:docMk/>
            <pc:sldMk cId="2763091218" sldId="1731"/>
            <ac:spMk id="46" creationId="{63083E40-7133-4B09-9B75-1FA14ED28BA6}"/>
          </ac:spMkLst>
        </pc:spChg>
        <pc:spChg chg="del">
          <ac:chgData name="Yash Ratanpal" userId="5db668b1-93e7-4c08-9786-4ed81315a653" providerId="ADAL" clId="{6A8CBA8A-0DFA-49E5-9129-505E1F9E8E2C}" dt="2021-07-25T10:41:51.858" v="4524" actId="478"/>
          <ac:spMkLst>
            <pc:docMk/>
            <pc:sldMk cId="2763091218" sldId="1731"/>
            <ac:spMk id="47" creationId="{0C6D603B-5619-471F-A557-F8DDB4D1FFEE}"/>
          </ac:spMkLst>
        </pc:spChg>
        <pc:spChg chg="del">
          <ac:chgData name="Yash Ratanpal" userId="5db668b1-93e7-4c08-9786-4ed81315a653" providerId="ADAL" clId="{6A8CBA8A-0DFA-49E5-9129-505E1F9E8E2C}" dt="2021-07-25T10:41:51.858" v="4524" actId="478"/>
          <ac:spMkLst>
            <pc:docMk/>
            <pc:sldMk cId="2763091218" sldId="1731"/>
            <ac:spMk id="48" creationId="{CDB3F676-349C-4475-8874-32B38348CA6E}"/>
          </ac:spMkLst>
        </pc:spChg>
        <pc:spChg chg="del">
          <ac:chgData name="Yash Ratanpal" userId="5db668b1-93e7-4c08-9786-4ed81315a653" providerId="ADAL" clId="{6A8CBA8A-0DFA-49E5-9129-505E1F9E8E2C}" dt="2021-07-25T10:41:51.858" v="4524" actId="478"/>
          <ac:spMkLst>
            <pc:docMk/>
            <pc:sldMk cId="2763091218" sldId="1731"/>
            <ac:spMk id="49" creationId="{B060F468-16DA-430D-8026-F9DCEDECCA26}"/>
          </ac:spMkLst>
        </pc:spChg>
        <pc:spChg chg="del">
          <ac:chgData name="Yash Ratanpal" userId="5db668b1-93e7-4c08-9786-4ed81315a653" providerId="ADAL" clId="{6A8CBA8A-0DFA-49E5-9129-505E1F9E8E2C}" dt="2021-07-25T10:41:51.858" v="4524" actId="478"/>
          <ac:spMkLst>
            <pc:docMk/>
            <pc:sldMk cId="2763091218" sldId="1731"/>
            <ac:spMk id="50" creationId="{DC196956-6B36-4EF0-985B-DCDC2692A6FD}"/>
          </ac:spMkLst>
        </pc:spChg>
        <pc:spChg chg="del">
          <ac:chgData name="Yash Ratanpal" userId="5db668b1-93e7-4c08-9786-4ed81315a653" providerId="ADAL" clId="{6A8CBA8A-0DFA-49E5-9129-505E1F9E8E2C}" dt="2021-07-25T10:41:51.858" v="4524" actId="478"/>
          <ac:spMkLst>
            <pc:docMk/>
            <pc:sldMk cId="2763091218" sldId="1731"/>
            <ac:spMk id="51" creationId="{64D9C3BA-943A-47E9-B48F-F6B661059B53}"/>
          </ac:spMkLst>
        </pc:spChg>
        <pc:grpChg chg="del">
          <ac:chgData name="Yash Ratanpal" userId="5db668b1-93e7-4c08-9786-4ed81315a653" providerId="ADAL" clId="{6A8CBA8A-0DFA-49E5-9129-505E1F9E8E2C}" dt="2021-07-25T10:41:51.858" v="4524" actId="478"/>
          <ac:grpSpMkLst>
            <pc:docMk/>
            <pc:sldMk cId="2763091218" sldId="1731"/>
            <ac:grpSpMk id="26" creationId="{559F7B96-5A2B-4E8B-AF7C-4FA160B6FDBB}"/>
          </ac:grpSpMkLst>
        </pc:grpChg>
        <pc:graphicFrameChg chg="add mod modGraphic">
          <ac:chgData name="Yash Ratanpal" userId="5db668b1-93e7-4c08-9786-4ed81315a653" providerId="ADAL" clId="{6A8CBA8A-0DFA-49E5-9129-505E1F9E8E2C}" dt="2021-07-25T10:43:27.425" v="4538" actId="207"/>
          <ac:graphicFrameMkLst>
            <pc:docMk/>
            <pc:sldMk cId="2763091218" sldId="1731"/>
            <ac:graphicFrameMk id="33" creationId="{4B90FB34-09DD-4D5B-8B28-3C79A961E118}"/>
          </ac:graphicFrameMkLst>
        </pc:graphicFrameChg>
        <pc:graphicFrameChg chg="add mod modGraphic">
          <ac:chgData name="Yash Ratanpal" userId="5db668b1-93e7-4c08-9786-4ed81315a653" providerId="ADAL" clId="{6A8CBA8A-0DFA-49E5-9129-505E1F9E8E2C}" dt="2021-07-25T10:43:30.480" v="4539" actId="207"/>
          <ac:graphicFrameMkLst>
            <pc:docMk/>
            <pc:sldMk cId="2763091218" sldId="1731"/>
            <ac:graphicFrameMk id="34" creationId="{1888952C-8DB8-4CEE-B624-FA55D9CA9DA9}"/>
          </ac:graphicFrameMkLst>
        </pc:graphicFrameChg>
        <pc:cxnChg chg="add mod">
          <ac:chgData name="Yash Ratanpal" userId="5db668b1-93e7-4c08-9786-4ed81315a653" providerId="ADAL" clId="{6A8CBA8A-0DFA-49E5-9129-505E1F9E8E2C}" dt="2021-07-25T10:41:56.314" v="4525"/>
          <ac:cxnSpMkLst>
            <pc:docMk/>
            <pc:sldMk cId="2763091218" sldId="1731"/>
            <ac:cxnSpMk id="25" creationId="{68D6689F-50D7-4290-A5E8-1DCFD70BAAD3}"/>
          </ac:cxnSpMkLst>
        </pc:cxnChg>
        <pc:cxnChg chg="add mod">
          <ac:chgData name="Yash Ratanpal" userId="5db668b1-93e7-4c08-9786-4ed81315a653" providerId="ADAL" clId="{6A8CBA8A-0DFA-49E5-9129-505E1F9E8E2C}" dt="2021-07-25T10:41:56.314" v="4525"/>
          <ac:cxnSpMkLst>
            <pc:docMk/>
            <pc:sldMk cId="2763091218" sldId="1731"/>
            <ac:cxnSpMk id="32" creationId="{10FD4769-9C5C-4B68-8B15-661B86066EC1}"/>
          </ac:cxnSpMkLst>
        </pc:cxnChg>
        <pc:cxnChg chg="add mod">
          <ac:chgData name="Yash Ratanpal" userId="5db668b1-93e7-4c08-9786-4ed81315a653" providerId="ADAL" clId="{6A8CBA8A-0DFA-49E5-9129-505E1F9E8E2C}" dt="2021-07-25T10:41:56.314" v="4525"/>
          <ac:cxnSpMkLst>
            <pc:docMk/>
            <pc:sldMk cId="2763091218" sldId="1731"/>
            <ac:cxnSpMk id="35" creationId="{FA130A1D-2547-4BD4-85A3-2F5702135721}"/>
          </ac:cxnSpMkLst>
        </pc:cxnChg>
      </pc:sldChg>
      <pc:sldChg chg="addSp delSp modSp add mod ord">
        <pc:chgData name="Yash Ratanpal" userId="5db668b1-93e7-4c08-9786-4ed81315a653" providerId="ADAL" clId="{6A8CBA8A-0DFA-49E5-9129-505E1F9E8E2C}" dt="2021-07-25T10:43:39.267" v="4540" actId="1076"/>
        <pc:sldMkLst>
          <pc:docMk/>
          <pc:sldMk cId="3125260409" sldId="1732"/>
        </pc:sldMkLst>
        <pc:spChg chg="add mod">
          <ac:chgData name="Yash Ratanpal" userId="5db668b1-93e7-4c08-9786-4ed81315a653" providerId="ADAL" clId="{6A8CBA8A-0DFA-49E5-9129-505E1F9E8E2C}" dt="2021-07-25T10:42:09.019" v="4529"/>
          <ac:spMkLst>
            <pc:docMk/>
            <pc:sldMk cId="3125260409" sldId="1732"/>
            <ac:spMk id="11" creationId="{163A03F0-6FF3-4CE0-84C5-20DF922DFB2A}"/>
          </ac:spMkLst>
        </pc:spChg>
        <pc:spChg chg="add mod">
          <ac:chgData name="Yash Ratanpal" userId="5db668b1-93e7-4c08-9786-4ed81315a653" providerId="ADAL" clId="{6A8CBA8A-0DFA-49E5-9129-505E1F9E8E2C}" dt="2021-07-25T10:43:39.267" v="4540" actId="1076"/>
          <ac:spMkLst>
            <pc:docMk/>
            <pc:sldMk cId="3125260409" sldId="1732"/>
            <ac:spMk id="18" creationId="{F0E45D75-2F6A-4672-AF33-DE6412FA8DEE}"/>
          </ac:spMkLst>
        </pc:spChg>
        <pc:spChg chg="add mod">
          <ac:chgData name="Yash Ratanpal" userId="5db668b1-93e7-4c08-9786-4ed81315a653" providerId="ADAL" clId="{6A8CBA8A-0DFA-49E5-9129-505E1F9E8E2C}" dt="2021-07-25T10:42:45.580" v="4536" actId="207"/>
          <ac:spMkLst>
            <pc:docMk/>
            <pc:sldMk cId="3125260409" sldId="1732"/>
            <ac:spMk id="19" creationId="{F99335A4-6C06-4401-B845-9F389641C33B}"/>
          </ac:spMkLst>
        </pc:spChg>
        <pc:spChg chg="del">
          <ac:chgData name="Yash Ratanpal" userId="5db668b1-93e7-4c08-9786-4ed81315a653" providerId="ADAL" clId="{6A8CBA8A-0DFA-49E5-9129-505E1F9E8E2C}" dt="2021-07-25T10:42:03.387" v="4527" actId="478"/>
          <ac:spMkLst>
            <pc:docMk/>
            <pc:sldMk cId="3125260409" sldId="1732"/>
            <ac:spMk id="24" creationId="{81766285-027A-44F7-842F-91875CF7C14B}"/>
          </ac:spMkLst>
        </pc:spChg>
        <pc:spChg chg="del">
          <ac:chgData name="Yash Ratanpal" userId="5db668b1-93e7-4c08-9786-4ed81315a653" providerId="ADAL" clId="{6A8CBA8A-0DFA-49E5-9129-505E1F9E8E2C}" dt="2021-07-25T10:42:03.387" v="4527" actId="478"/>
          <ac:spMkLst>
            <pc:docMk/>
            <pc:sldMk cId="3125260409" sldId="1732"/>
            <ac:spMk id="36" creationId="{E294764E-DFB3-4367-ABB3-19524E074385}"/>
          </ac:spMkLst>
        </pc:spChg>
        <pc:graphicFrameChg chg="del">
          <ac:chgData name="Yash Ratanpal" userId="5db668b1-93e7-4c08-9786-4ed81315a653" providerId="ADAL" clId="{6A8CBA8A-0DFA-49E5-9129-505E1F9E8E2C}" dt="2021-07-25T10:42:03.387" v="4527" actId="478"/>
          <ac:graphicFrameMkLst>
            <pc:docMk/>
            <pc:sldMk cId="3125260409" sldId="1732"/>
            <ac:graphicFrameMk id="33" creationId="{4B90FB34-09DD-4D5B-8B28-3C79A961E118}"/>
          </ac:graphicFrameMkLst>
        </pc:graphicFrameChg>
        <pc:graphicFrameChg chg="del">
          <ac:chgData name="Yash Ratanpal" userId="5db668b1-93e7-4c08-9786-4ed81315a653" providerId="ADAL" clId="{6A8CBA8A-0DFA-49E5-9129-505E1F9E8E2C}" dt="2021-07-25T10:42:03.387" v="4527" actId="478"/>
          <ac:graphicFrameMkLst>
            <pc:docMk/>
            <pc:sldMk cId="3125260409" sldId="1732"/>
            <ac:graphicFrameMk id="34" creationId="{1888952C-8DB8-4CEE-B624-FA55D9CA9DA9}"/>
          </ac:graphicFrameMkLst>
        </pc:graphicFrameChg>
        <pc:picChg chg="add mod">
          <ac:chgData name="Yash Ratanpal" userId="5db668b1-93e7-4c08-9786-4ed81315a653" providerId="ADAL" clId="{6A8CBA8A-0DFA-49E5-9129-505E1F9E8E2C}" dt="2021-07-25T10:42:09.019" v="4529"/>
          <ac:picMkLst>
            <pc:docMk/>
            <pc:sldMk cId="3125260409" sldId="1732"/>
            <ac:picMk id="12" creationId="{E71B4932-A3E5-4033-867B-A7B015486252}"/>
          </ac:picMkLst>
        </pc:picChg>
        <pc:picChg chg="add mod">
          <ac:chgData name="Yash Ratanpal" userId="5db668b1-93e7-4c08-9786-4ed81315a653" providerId="ADAL" clId="{6A8CBA8A-0DFA-49E5-9129-505E1F9E8E2C}" dt="2021-07-25T10:42:09.019" v="4529"/>
          <ac:picMkLst>
            <pc:docMk/>
            <pc:sldMk cId="3125260409" sldId="1732"/>
            <ac:picMk id="13" creationId="{34054C4E-7B6C-4D93-AF16-9B3F4F153F78}"/>
          </ac:picMkLst>
        </pc:picChg>
        <pc:picChg chg="add mod">
          <ac:chgData name="Yash Ratanpal" userId="5db668b1-93e7-4c08-9786-4ed81315a653" providerId="ADAL" clId="{6A8CBA8A-0DFA-49E5-9129-505E1F9E8E2C}" dt="2021-07-25T10:42:09.019" v="4529"/>
          <ac:picMkLst>
            <pc:docMk/>
            <pc:sldMk cId="3125260409" sldId="1732"/>
            <ac:picMk id="14" creationId="{9F51B353-A558-4301-BB50-0D3862063458}"/>
          </ac:picMkLst>
        </pc:picChg>
        <pc:picChg chg="add mod">
          <ac:chgData name="Yash Ratanpal" userId="5db668b1-93e7-4c08-9786-4ed81315a653" providerId="ADAL" clId="{6A8CBA8A-0DFA-49E5-9129-505E1F9E8E2C}" dt="2021-07-25T10:42:09.019" v="4529"/>
          <ac:picMkLst>
            <pc:docMk/>
            <pc:sldMk cId="3125260409" sldId="1732"/>
            <ac:picMk id="15" creationId="{D6DED649-ED04-4101-A59C-8949C47EDBEC}"/>
          </ac:picMkLst>
        </pc:picChg>
        <pc:picChg chg="add mod">
          <ac:chgData name="Yash Ratanpal" userId="5db668b1-93e7-4c08-9786-4ed81315a653" providerId="ADAL" clId="{6A8CBA8A-0DFA-49E5-9129-505E1F9E8E2C}" dt="2021-07-25T10:42:09.019" v="4529"/>
          <ac:picMkLst>
            <pc:docMk/>
            <pc:sldMk cId="3125260409" sldId="1732"/>
            <ac:picMk id="16" creationId="{99C9813E-5366-454F-A2B7-E96A9F279F66}"/>
          </ac:picMkLst>
        </pc:picChg>
        <pc:cxnChg chg="add mod">
          <ac:chgData name="Yash Ratanpal" userId="5db668b1-93e7-4c08-9786-4ed81315a653" providerId="ADAL" clId="{6A8CBA8A-0DFA-49E5-9129-505E1F9E8E2C}" dt="2021-07-25T10:42:09.019" v="4529"/>
          <ac:cxnSpMkLst>
            <pc:docMk/>
            <pc:sldMk cId="3125260409" sldId="1732"/>
            <ac:cxnSpMk id="17" creationId="{29959D6E-50BC-47FE-B4DA-5F69374C9EC4}"/>
          </ac:cxnSpMkLst>
        </pc:cxnChg>
        <pc:cxnChg chg="del">
          <ac:chgData name="Yash Ratanpal" userId="5db668b1-93e7-4c08-9786-4ed81315a653" providerId="ADAL" clId="{6A8CBA8A-0DFA-49E5-9129-505E1F9E8E2C}" dt="2021-07-25T10:42:03.387" v="4527" actId="478"/>
          <ac:cxnSpMkLst>
            <pc:docMk/>
            <pc:sldMk cId="3125260409" sldId="1732"/>
            <ac:cxnSpMk id="25" creationId="{68D6689F-50D7-4290-A5E8-1DCFD70BAAD3}"/>
          </ac:cxnSpMkLst>
        </pc:cxnChg>
        <pc:cxnChg chg="del">
          <ac:chgData name="Yash Ratanpal" userId="5db668b1-93e7-4c08-9786-4ed81315a653" providerId="ADAL" clId="{6A8CBA8A-0DFA-49E5-9129-505E1F9E8E2C}" dt="2021-07-25T10:42:03.387" v="4527" actId="478"/>
          <ac:cxnSpMkLst>
            <pc:docMk/>
            <pc:sldMk cId="3125260409" sldId="1732"/>
            <ac:cxnSpMk id="32" creationId="{10FD4769-9C5C-4B68-8B15-661B86066EC1}"/>
          </ac:cxnSpMkLst>
        </pc:cxnChg>
        <pc:cxnChg chg="del">
          <ac:chgData name="Yash Ratanpal" userId="5db668b1-93e7-4c08-9786-4ed81315a653" providerId="ADAL" clId="{6A8CBA8A-0DFA-49E5-9129-505E1F9E8E2C}" dt="2021-07-25T10:42:03.387" v="4527" actId="478"/>
          <ac:cxnSpMkLst>
            <pc:docMk/>
            <pc:sldMk cId="3125260409" sldId="1732"/>
            <ac:cxnSpMk id="35" creationId="{FA130A1D-2547-4BD4-85A3-2F5702135721}"/>
          </ac:cxnSpMkLst>
        </pc:cxnChg>
      </pc:sldChg>
      <pc:sldChg chg="addSp delSp modSp add mod">
        <pc:chgData name="Yash Ratanpal" userId="5db668b1-93e7-4c08-9786-4ed81315a653" providerId="ADAL" clId="{6A8CBA8A-0DFA-49E5-9129-505E1F9E8E2C}" dt="2021-07-25T11:24:42.237" v="5937" actId="478"/>
        <pc:sldMkLst>
          <pc:docMk/>
          <pc:sldMk cId="1305514861" sldId="1733"/>
        </pc:sldMkLst>
        <pc:spChg chg="del">
          <ac:chgData name="Yash Ratanpal" userId="5db668b1-93e7-4c08-9786-4ed81315a653" providerId="ADAL" clId="{6A8CBA8A-0DFA-49E5-9129-505E1F9E8E2C}" dt="2021-07-25T11:10:17.544" v="5468" actId="478"/>
          <ac:spMkLst>
            <pc:docMk/>
            <pc:sldMk cId="1305514861" sldId="1733"/>
            <ac:spMk id="50" creationId="{B717427A-3B5C-4D04-940C-F96C0201DD57}"/>
          </ac:spMkLst>
        </pc:spChg>
        <pc:spChg chg="del mod">
          <ac:chgData name="Yash Ratanpal" userId="5db668b1-93e7-4c08-9786-4ed81315a653" providerId="ADAL" clId="{6A8CBA8A-0DFA-49E5-9129-505E1F9E8E2C}" dt="2021-07-25T11:10:53.237" v="5483" actId="478"/>
          <ac:spMkLst>
            <pc:docMk/>
            <pc:sldMk cId="1305514861" sldId="1733"/>
            <ac:spMk id="66" creationId="{8A75C82D-1106-40F1-87E0-69CEB56E22AB}"/>
          </ac:spMkLst>
        </pc:spChg>
        <pc:spChg chg="del">
          <ac:chgData name="Yash Ratanpal" userId="5db668b1-93e7-4c08-9786-4ed81315a653" providerId="ADAL" clId="{6A8CBA8A-0DFA-49E5-9129-505E1F9E8E2C}" dt="2021-07-25T11:10:21.654" v="5470" actId="478"/>
          <ac:spMkLst>
            <pc:docMk/>
            <pc:sldMk cId="1305514861" sldId="1733"/>
            <ac:spMk id="71" creationId="{DE02AF69-13F4-4282-AC0F-A52598163951}"/>
          </ac:spMkLst>
        </pc:spChg>
        <pc:spChg chg="del">
          <ac:chgData name="Yash Ratanpal" userId="5db668b1-93e7-4c08-9786-4ed81315a653" providerId="ADAL" clId="{6A8CBA8A-0DFA-49E5-9129-505E1F9E8E2C}" dt="2021-07-25T11:10:21.654" v="5470" actId="478"/>
          <ac:spMkLst>
            <pc:docMk/>
            <pc:sldMk cId="1305514861" sldId="1733"/>
            <ac:spMk id="75" creationId="{13BC00E0-10CD-49A3-B029-B5AE0DB0786B}"/>
          </ac:spMkLst>
        </pc:spChg>
        <pc:spChg chg="del">
          <ac:chgData name="Yash Ratanpal" userId="5db668b1-93e7-4c08-9786-4ed81315a653" providerId="ADAL" clId="{6A8CBA8A-0DFA-49E5-9129-505E1F9E8E2C}" dt="2021-07-25T11:10:21.654" v="5470" actId="478"/>
          <ac:spMkLst>
            <pc:docMk/>
            <pc:sldMk cId="1305514861" sldId="1733"/>
            <ac:spMk id="78" creationId="{8770DC8E-7D0F-44A3-9EEC-9353BE1E1D7A}"/>
          </ac:spMkLst>
        </pc:spChg>
        <pc:spChg chg="del">
          <ac:chgData name="Yash Ratanpal" userId="5db668b1-93e7-4c08-9786-4ed81315a653" providerId="ADAL" clId="{6A8CBA8A-0DFA-49E5-9129-505E1F9E8E2C}" dt="2021-07-25T11:10:21.654" v="5470" actId="478"/>
          <ac:spMkLst>
            <pc:docMk/>
            <pc:sldMk cId="1305514861" sldId="1733"/>
            <ac:spMk id="82" creationId="{8C85BBCC-1BB5-4166-9C6E-67DE9EC1D7BE}"/>
          </ac:spMkLst>
        </pc:spChg>
        <pc:graphicFrameChg chg="add mod">
          <ac:chgData name="Yash Ratanpal" userId="5db668b1-93e7-4c08-9786-4ed81315a653" providerId="ADAL" clId="{6A8CBA8A-0DFA-49E5-9129-505E1F9E8E2C}" dt="2021-07-25T11:24:41.783" v="5936" actId="14100"/>
          <ac:graphicFrameMkLst>
            <pc:docMk/>
            <pc:sldMk cId="1305514861" sldId="1733"/>
            <ac:graphicFrameMk id="12" creationId="{AD09F217-69A8-452F-AF0B-4D67B96E7B15}"/>
          </ac:graphicFrameMkLst>
        </pc:graphicFrameChg>
        <pc:graphicFrameChg chg="add del mod">
          <ac:chgData name="Yash Ratanpal" userId="5db668b1-93e7-4c08-9786-4ed81315a653" providerId="ADAL" clId="{6A8CBA8A-0DFA-49E5-9129-505E1F9E8E2C}" dt="2021-07-25T11:11:13.410" v="5493" actId="478"/>
          <ac:graphicFrameMkLst>
            <pc:docMk/>
            <pc:sldMk cId="1305514861" sldId="1733"/>
            <ac:graphicFrameMk id="13" creationId="{EEC61628-4DA7-48B1-B033-4D5075B7A6EB}"/>
          </ac:graphicFrameMkLst>
        </pc:graphicFrameChg>
        <pc:graphicFrameChg chg="add mod">
          <ac:chgData name="Yash Ratanpal" userId="5db668b1-93e7-4c08-9786-4ed81315a653" providerId="ADAL" clId="{6A8CBA8A-0DFA-49E5-9129-505E1F9E8E2C}" dt="2021-07-25T11:11:29.042" v="5500"/>
          <ac:graphicFrameMkLst>
            <pc:docMk/>
            <pc:sldMk cId="1305514861" sldId="1733"/>
            <ac:graphicFrameMk id="14" creationId="{EEC61628-4DA7-48B1-B033-4D5075B7A6EB}"/>
          </ac:graphicFrameMkLst>
        </pc:graphicFrameChg>
        <pc:graphicFrameChg chg="add del mod">
          <ac:chgData name="Yash Ratanpal" userId="5db668b1-93e7-4c08-9786-4ed81315a653" providerId="ADAL" clId="{6A8CBA8A-0DFA-49E5-9129-505E1F9E8E2C}" dt="2021-07-25T11:24:42.237" v="5937" actId="478"/>
          <ac:graphicFrameMkLst>
            <pc:docMk/>
            <pc:sldMk cId="1305514861" sldId="1733"/>
            <ac:graphicFrameMk id="15" creationId="{EEC61628-4DA7-48B1-B033-4D5075B7A6EB}"/>
          </ac:graphicFrameMkLst>
        </pc:graphicFrameChg>
        <pc:graphicFrameChg chg="add del mod">
          <ac:chgData name="Yash Ratanpal" userId="5db668b1-93e7-4c08-9786-4ed81315a653" providerId="ADAL" clId="{6A8CBA8A-0DFA-49E5-9129-505E1F9E8E2C}" dt="2021-07-25T11:14:24.419" v="5554" actId="478"/>
          <ac:graphicFrameMkLst>
            <pc:docMk/>
            <pc:sldMk cId="1305514861" sldId="1733"/>
            <ac:graphicFrameMk id="17" creationId="{68138EE7-8E6F-4F00-A234-E83B39EC72D1}"/>
          </ac:graphicFrameMkLst>
        </pc:graphicFrameChg>
        <pc:graphicFrameChg chg="add del mod">
          <ac:chgData name="Yash Ratanpal" userId="5db668b1-93e7-4c08-9786-4ed81315a653" providerId="ADAL" clId="{6A8CBA8A-0DFA-49E5-9129-505E1F9E8E2C}" dt="2021-07-25T11:14:25.036" v="5555" actId="478"/>
          <ac:graphicFrameMkLst>
            <pc:docMk/>
            <pc:sldMk cId="1305514861" sldId="1733"/>
            <ac:graphicFrameMk id="18" creationId="{5BC9C2AA-E60A-45A4-84A3-A3031D4CCDD9}"/>
          </ac:graphicFrameMkLst>
        </pc:graphicFrameChg>
        <pc:graphicFrameChg chg="del">
          <ac:chgData name="Yash Ratanpal" userId="5db668b1-93e7-4c08-9786-4ed81315a653" providerId="ADAL" clId="{6A8CBA8A-0DFA-49E5-9129-505E1F9E8E2C}" dt="2021-07-25T11:10:21.654" v="5470" actId="478"/>
          <ac:graphicFrameMkLst>
            <pc:docMk/>
            <pc:sldMk cId="1305514861" sldId="1733"/>
            <ac:graphicFrameMk id="79" creationId="{0FE1F9AC-35D7-42FD-8C39-ADB9A1EEAC57}"/>
          </ac:graphicFrameMkLst>
        </pc:graphicFrameChg>
        <pc:graphicFrameChg chg="del">
          <ac:chgData name="Yash Ratanpal" userId="5db668b1-93e7-4c08-9786-4ed81315a653" providerId="ADAL" clId="{6A8CBA8A-0DFA-49E5-9129-505E1F9E8E2C}" dt="2021-07-25T11:10:21.654" v="5470" actId="478"/>
          <ac:graphicFrameMkLst>
            <pc:docMk/>
            <pc:sldMk cId="1305514861" sldId="1733"/>
            <ac:graphicFrameMk id="80" creationId="{C7512D2C-6701-47EC-9A3F-6183A6992ACA}"/>
          </ac:graphicFrameMkLst>
        </pc:graphicFrameChg>
        <pc:picChg chg="del">
          <ac:chgData name="Yash Ratanpal" userId="5db668b1-93e7-4c08-9786-4ed81315a653" providerId="ADAL" clId="{6A8CBA8A-0DFA-49E5-9129-505E1F9E8E2C}" dt="2021-07-25T11:11:07.278" v="5490" actId="478"/>
          <ac:picMkLst>
            <pc:docMk/>
            <pc:sldMk cId="1305514861" sldId="1733"/>
            <ac:picMk id="2" creationId="{00000000-0000-0000-0000-000000000000}"/>
          </ac:picMkLst>
        </pc:picChg>
        <pc:picChg chg="add del mod">
          <ac:chgData name="Yash Ratanpal" userId="5db668b1-93e7-4c08-9786-4ed81315a653" providerId="ADAL" clId="{6A8CBA8A-0DFA-49E5-9129-505E1F9E8E2C}" dt="2021-07-25T11:15:48.252" v="5580" actId="478"/>
          <ac:picMkLst>
            <pc:docMk/>
            <pc:sldMk cId="1305514861" sldId="1733"/>
            <ac:picMk id="16" creationId="{480F601A-8C9E-4004-96BE-AE49ABCB66A0}"/>
          </ac:picMkLst>
        </pc:picChg>
      </pc:sldChg>
      <pc:sldChg chg="delSp add del mod">
        <pc:chgData name="Yash Ratanpal" userId="5db668b1-93e7-4c08-9786-4ed81315a653" providerId="ADAL" clId="{6A8CBA8A-0DFA-49E5-9129-505E1F9E8E2C}" dt="2021-07-25T10:55:40.658" v="4893" actId="47"/>
        <pc:sldMkLst>
          <pc:docMk/>
          <pc:sldMk cId="3627897211" sldId="1733"/>
        </pc:sldMkLst>
        <pc:graphicFrameChg chg="del">
          <ac:chgData name="Yash Ratanpal" userId="5db668b1-93e7-4c08-9786-4ed81315a653" providerId="ADAL" clId="{6A8CBA8A-0DFA-49E5-9129-505E1F9E8E2C}" dt="2021-07-25T10:47:08.045" v="4582" actId="478"/>
          <ac:graphicFrameMkLst>
            <pc:docMk/>
            <pc:sldMk cId="3627897211" sldId="1733"/>
            <ac:graphicFrameMk id="53" creationId="{AD09F217-69A8-452F-AF0B-4D67B96E7B15}"/>
          </ac:graphicFrameMkLst>
        </pc:graphicFrameChg>
        <pc:graphicFrameChg chg="del">
          <ac:chgData name="Yash Ratanpal" userId="5db668b1-93e7-4c08-9786-4ed81315a653" providerId="ADAL" clId="{6A8CBA8A-0DFA-49E5-9129-505E1F9E8E2C}" dt="2021-07-25T10:47:07.443" v="4581" actId="478"/>
          <ac:graphicFrameMkLst>
            <pc:docMk/>
            <pc:sldMk cId="3627897211" sldId="1733"/>
            <ac:graphicFrameMk id="55" creationId="{EEC61628-4DA7-48B1-B033-4D5075B7A6EB}"/>
          </ac:graphicFrameMkLst>
        </pc:graphicFrameChg>
      </pc:sldChg>
      <pc:sldChg chg="addSp delSp modSp add mod">
        <pc:chgData name="Yash Ratanpal" userId="5db668b1-93e7-4c08-9786-4ed81315a653" providerId="ADAL" clId="{6A8CBA8A-0DFA-49E5-9129-505E1F9E8E2C}" dt="2021-07-25T11:25:06.066" v="5947" actId="478"/>
        <pc:sldMkLst>
          <pc:docMk/>
          <pc:sldMk cId="920709940" sldId="1734"/>
        </pc:sldMkLst>
        <pc:graphicFrameChg chg="add mod">
          <ac:chgData name="Yash Ratanpal" userId="5db668b1-93e7-4c08-9786-4ed81315a653" providerId="ADAL" clId="{6A8CBA8A-0DFA-49E5-9129-505E1F9E8E2C}" dt="2021-07-25T11:11:54.614" v="5511"/>
          <ac:graphicFrameMkLst>
            <pc:docMk/>
            <pc:sldMk cId="920709940" sldId="1734"/>
            <ac:graphicFrameMk id="6" creationId="{BF518782-B5C4-49B3-99CF-F29133CF561E}"/>
          </ac:graphicFrameMkLst>
        </pc:graphicFrameChg>
        <pc:graphicFrameChg chg="add mod">
          <ac:chgData name="Yash Ratanpal" userId="5db668b1-93e7-4c08-9786-4ed81315a653" providerId="ADAL" clId="{6A8CBA8A-0DFA-49E5-9129-505E1F9E8E2C}" dt="2021-07-25T11:25:04.694" v="5944" actId="1076"/>
          <ac:graphicFrameMkLst>
            <pc:docMk/>
            <pc:sldMk cId="920709940" sldId="1734"/>
            <ac:graphicFrameMk id="7" creationId="{BF518782-B5C4-49B3-99CF-F29133CF561E}"/>
          </ac:graphicFrameMkLst>
        </pc:graphicFrameChg>
        <pc:graphicFrameChg chg="add del mod">
          <ac:chgData name="Yash Ratanpal" userId="5db668b1-93e7-4c08-9786-4ed81315a653" providerId="ADAL" clId="{6A8CBA8A-0DFA-49E5-9129-505E1F9E8E2C}" dt="2021-07-25T11:25:06.066" v="5947" actId="478"/>
          <ac:graphicFrameMkLst>
            <pc:docMk/>
            <pc:sldMk cId="920709940" sldId="1734"/>
            <ac:graphicFrameMk id="8" creationId="{AD0808DB-C032-4A40-8301-C27866453FB6}"/>
          </ac:graphicFrameMkLst>
        </pc:graphicFrameChg>
        <pc:graphicFrameChg chg="del">
          <ac:chgData name="Yash Ratanpal" userId="5db668b1-93e7-4c08-9786-4ed81315a653" providerId="ADAL" clId="{6A8CBA8A-0DFA-49E5-9129-505E1F9E8E2C}" dt="2021-07-25T11:11:50.689" v="5508" actId="478"/>
          <ac:graphicFrameMkLst>
            <pc:docMk/>
            <pc:sldMk cId="920709940" sldId="1734"/>
            <ac:graphicFrameMk id="12" creationId="{AD09F217-69A8-452F-AF0B-4D67B96E7B15}"/>
          </ac:graphicFrameMkLst>
        </pc:graphicFrameChg>
        <pc:graphicFrameChg chg="del">
          <ac:chgData name="Yash Ratanpal" userId="5db668b1-93e7-4c08-9786-4ed81315a653" providerId="ADAL" clId="{6A8CBA8A-0DFA-49E5-9129-505E1F9E8E2C}" dt="2021-07-25T11:11:50.252" v="5507" actId="478"/>
          <ac:graphicFrameMkLst>
            <pc:docMk/>
            <pc:sldMk cId="920709940" sldId="1734"/>
            <ac:graphicFrameMk id="15" creationId="{EEC61628-4DA7-48B1-B033-4D5075B7A6EB}"/>
          </ac:graphicFrameMkLst>
        </pc:graphicFrameChg>
        <pc:picChg chg="del">
          <ac:chgData name="Yash Ratanpal" userId="5db668b1-93e7-4c08-9786-4ed81315a653" providerId="ADAL" clId="{6A8CBA8A-0DFA-49E5-9129-505E1F9E8E2C}" dt="2021-07-25T11:15:54.904" v="5581" actId="478"/>
          <ac:picMkLst>
            <pc:docMk/>
            <pc:sldMk cId="920709940" sldId="1734"/>
            <ac:picMk id="16" creationId="{480F601A-8C9E-4004-96BE-AE49ABCB66A0}"/>
          </ac:picMkLst>
        </pc:picChg>
      </pc:sldChg>
      <pc:sldChg chg="addSp delSp modSp mod">
        <pc:chgData name="Yash Ratanpal" userId="5db668b1-93e7-4c08-9786-4ed81315a653" providerId="ADAL" clId="{6A8CBA8A-0DFA-49E5-9129-505E1F9E8E2C}" dt="2021-07-25T11:40:51.537" v="6449" actId="20577"/>
        <pc:sldMkLst>
          <pc:docMk/>
          <pc:sldMk cId="152757834" sldId="1735"/>
        </pc:sldMkLst>
        <pc:spChg chg="mod">
          <ac:chgData name="Yash Ratanpal" userId="5db668b1-93e7-4c08-9786-4ed81315a653" providerId="ADAL" clId="{6A8CBA8A-0DFA-49E5-9129-505E1F9E8E2C}" dt="2021-07-25T11:27:30.092" v="5966" actId="20577"/>
          <ac:spMkLst>
            <pc:docMk/>
            <pc:sldMk cId="152757834" sldId="1735"/>
            <ac:spMk id="3" creationId="{00000000-0000-0000-0000-000000000000}"/>
          </ac:spMkLst>
        </pc:spChg>
        <pc:spChg chg="del mod">
          <ac:chgData name="Yash Ratanpal" userId="5db668b1-93e7-4c08-9786-4ed81315a653" providerId="ADAL" clId="{6A8CBA8A-0DFA-49E5-9129-505E1F9E8E2C}" dt="2021-07-25T11:20:21.261" v="5788" actId="478"/>
          <ac:spMkLst>
            <pc:docMk/>
            <pc:sldMk cId="152757834" sldId="1735"/>
            <ac:spMk id="13" creationId="{4DAA7571-A4FE-49C9-BFC0-352085E1BA9B}"/>
          </ac:spMkLst>
        </pc:spChg>
        <pc:spChg chg="mod">
          <ac:chgData name="Yash Ratanpal" userId="5db668b1-93e7-4c08-9786-4ed81315a653" providerId="ADAL" clId="{6A8CBA8A-0DFA-49E5-9129-505E1F9E8E2C}" dt="2021-07-25T11:19:51.908" v="5784" actId="122"/>
          <ac:spMkLst>
            <pc:docMk/>
            <pc:sldMk cId="152757834" sldId="1735"/>
            <ac:spMk id="14" creationId="{84115764-5DB6-44F1-A091-4A345ACCACFD}"/>
          </ac:spMkLst>
        </pc:spChg>
        <pc:spChg chg="mod">
          <ac:chgData name="Yash Ratanpal" userId="5db668b1-93e7-4c08-9786-4ed81315a653" providerId="ADAL" clId="{6A8CBA8A-0DFA-49E5-9129-505E1F9E8E2C}" dt="2021-07-25T11:19:51.908" v="5784" actId="122"/>
          <ac:spMkLst>
            <pc:docMk/>
            <pc:sldMk cId="152757834" sldId="1735"/>
            <ac:spMk id="15" creationId="{87274C46-1E18-473F-B604-0DE085DABB65}"/>
          </ac:spMkLst>
        </pc:spChg>
        <pc:spChg chg="del mod">
          <ac:chgData name="Yash Ratanpal" userId="5db668b1-93e7-4c08-9786-4ed81315a653" providerId="ADAL" clId="{6A8CBA8A-0DFA-49E5-9129-505E1F9E8E2C}" dt="2021-07-25T11:18:47.517" v="5760" actId="478"/>
          <ac:spMkLst>
            <pc:docMk/>
            <pc:sldMk cId="152757834" sldId="1735"/>
            <ac:spMk id="16" creationId="{E069026D-3BF4-4FDF-9033-169C7B923EBB}"/>
          </ac:spMkLst>
        </pc:spChg>
        <pc:spChg chg="mod">
          <ac:chgData name="Yash Ratanpal" userId="5db668b1-93e7-4c08-9786-4ed81315a653" providerId="ADAL" clId="{6A8CBA8A-0DFA-49E5-9129-505E1F9E8E2C}" dt="2021-07-25T11:19:51.908" v="5784" actId="122"/>
          <ac:spMkLst>
            <pc:docMk/>
            <pc:sldMk cId="152757834" sldId="1735"/>
            <ac:spMk id="17" creationId="{7615ACB4-FF46-4CF8-BE64-6FFEA3B4FEA2}"/>
          </ac:spMkLst>
        </pc:spChg>
        <pc:spChg chg="mod">
          <ac:chgData name="Yash Ratanpal" userId="5db668b1-93e7-4c08-9786-4ed81315a653" providerId="ADAL" clId="{6A8CBA8A-0DFA-49E5-9129-505E1F9E8E2C}" dt="2021-07-25T11:19:51.908" v="5784" actId="122"/>
          <ac:spMkLst>
            <pc:docMk/>
            <pc:sldMk cId="152757834" sldId="1735"/>
            <ac:spMk id="18" creationId="{49E5BDAA-EE2C-4137-8E80-139D1C1E969F}"/>
          </ac:spMkLst>
        </pc:spChg>
        <pc:spChg chg="mod">
          <ac:chgData name="Yash Ratanpal" userId="5db668b1-93e7-4c08-9786-4ed81315a653" providerId="ADAL" clId="{6A8CBA8A-0DFA-49E5-9129-505E1F9E8E2C}" dt="2021-07-25T11:19:51.908" v="5784" actId="122"/>
          <ac:spMkLst>
            <pc:docMk/>
            <pc:sldMk cId="152757834" sldId="1735"/>
            <ac:spMk id="19" creationId="{3788FE52-9D4A-4970-AF65-71EC398A8B60}"/>
          </ac:spMkLst>
        </pc:spChg>
        <pc:spChg chg="mod">
          <ac:chgData name="Yash Ratanpal" userId="5db668b1-93e7-4c08-9786-4ed81315a653" providerId="ADAL" clId="{6A8CBA8A-0DFA-49E5-9129-505E1F9E8E2C}" dt="2021-07-25T11:19:51.908" v="5784" actId="122"/>
          <ac:spMkLst>
            <pc:docMk/>
            <pc:sldMk cId="152757834" sldId="1735"/>
            <ac:spMk id="20" creationId="{487163DB-1B7F-43A4-AFED-3C0E7BA547A9}"/>
          </ac:spMkLst>
        </pc:spChg>
        <pc:spChg chg="mod">
          <ac:chgData name="Yash Ratanpal" userId="5db668b1-93e7-4c08-9786-4ed81315a653" providerId="ADAL" clId="{6A8CBA8A-0DFA-49E5-9129-505E1F9E8E2C}" dt="2021-07-25T11:19:51.908" v="5784" actId="122"/>
          <ac:spMkLst>
            <pc:docMk/>
            <pc:sldMk cId="152757834" sldId="1735"/>
            <ac:spMk id="21" creationId="{AEF1E8D2-9577-4B66-805E-0DB918490982}"/>
          </ac:spMkLst>
        </pc:spChg>
        <pc:spChg chg="mod">
          <ac:chgData name="Yash Ratanpal" userId="5db668b1-93e7-4c08-9786-4ed81315a653" providerId="ADAL" clId="{6A8CBA8A-0DFA-49E5-9129-505E1F9E8E2C}" dt="2021-07-25T11:19:51.908" v="5784" actId="122"/>
          <ac:spMkLst>
            <pc:docMk/>
            <pc:sldMk cId="152757834" sldId="1735"/>
            <ac:spMk id="22" creationId="{5BDD5BC6-E7EE-4468-AB1F-BCD0E2957383}"/>
          </ac:spMkLst>
        </pc:spChg>
        <pc:spChg chg="mod">
          <ac:chgData name="Yash Ratanpal" userId="5db668b1-93e7-4c08-9786-4ed81315a653" providerId="ADAL" clId="{6A8CBA8A-0DFA-49E5-9129-505E1F9E8E2C}" dt="2021-07-25T11:19:51.908" v="5784" actId="122"/>
          <ac:spMkLst>
            <pc:docMk/>
            <pc:sldMk cId="152757834" sldId="1735"/>
            <ac:spMk id="23" creationId="{6423CEC0-DBEF-41DA-A4DB-842EFA459B15}"/>
          </ac:spMkLst>
        </pc:spChg>
        <pc:spChg chg="mod">
          <ac:chgData name="Yash Ratanpal" userId="5db668b1-93e7-4c08-9786-4ed81315a653" providerId="ADAL" clId="{6A8CBA8A-0DFA-49E5-9129-505E1F9E8E2C}" dt="2021-07-25T11:19:51.908" v="5784" actId="122"/>
          <ac:spMkLst>
            <pc:docMk/>
            <pc:sldMk cId="152757834" sldId="1735"/>
            <ac:spMk id="24" creationId="{6292AD81-D339-4571-B2E3-A9A4B07D99AD}"/>
          </ac:spMkLst>
        </pc:spChg>
        <pc:spChg chg="mod">
          <ac:chgData name="Yash Ratanpal" userId="5db668b1-93e7-4c08-9786-4ed81315a653" providerId="ADAL" clId="{6A8CBA8A-0DFA-49E5-9129-505E1F9E8E2C}" dt="2021-07-25T11:20:23.999" v="5790"/>
          <ac:spMkLst>
            <pc:docMk/>
            <pc:sldMk cId="152757834" sldId="1735"/>
            <ac:spMk id="26" creationId="{43DD44C2-CA88-4377-90EC-2F6772293F17}"/>
          </ac:spMkLst>
        </pc:spChg>
        <pc:spChg chg="mod">
          <ac:chgData name="Yash Ratanpal" userId="5db668b1-93e7-4c08-9786-4ed81315a653" providerId="ADAL" clId="{6A8CBA8A-0DFA-49E5-9129-505E1F9E8E2C}" dt="2021-07-25T11:20:23.999" v="5790"/>
          <ac:spMkLst>
            <pc:docMk/>
            <pc:sldMk cId="152757834" sldId="1735"/>
            <ac:spMk id="27" creationId="{366AFB25-39EC-4FA6-8E48-16E47C29746C}"/>
          </ac:spMkLst>
        </pc:spChg>
        <pc:spChg chg="mod">
          <ac:chgData name="Yash Ratanpal" userId="5db668b1-93e7-4c08-9786-4ed81315a653" providerId="ADAL" clId="{6A8CBA8A-0DFA-49E5-9129-505E1F9E8E2C}" dt="2021-07-25T11:21:33.772" v="5888" actId="20577"/>
          <ac:spMkLst>
            <pc:docMk/>
            <pc:sldMk cId="152757834" sldId="1735"/>
            <ac:spMk id="28" creationId="{CA5CA846-FE71-4505-8038-A38F4F6841F0}"/>
          </ac:spMkLst>
        </pc:spChg>
        <pc:spChg chg="add mod">
          <ac:chgData name="Yash Ratanpal" userId="5db668b1-93e7-4c08-9786-4ed81315a653" providerId="ADAL" clId="{6A8CBA8A-0DFA-49E5-9129-505E1F9E8E2C}" dt="2021-07-25T11:20:31.792" v="5794" actId="164"/>
          <ac:spMkLst>
            <pc:docMk/>
            <pc:sldMk cId="152757834" sldId="1735"/>
            <ac:spMk id="29" creationId="{4A66F528-F2BA-48DA-B434-BA0B820FDDFA}"/>
          </ac:spMkLst>
        </pc:spChg>
        <pc:spChg chg="add mod">
          <ac:chgData name="Yash Ratanpal" userId="5db668b1-93e7-4c08-9786-4ed81315a653" providerId="ADAL" clId="{6A8CBA8A-0DFA-49E5-9129-505E1F9E8E2C}" dt="2021-07-25T11:20:31.792" v="5794" actId="164"/>
          <ac:spMkLst>
            <pc:docMk/>
            <pc:sldMk cId="152757834" sldId="1735"/>
            <ac:spMk id="30" creationId="{8663AA10-9BAD-4BCA-97C4-E4D6FF7C03BA}"/>
          </ac:spMkLst>
        </pc:spChg>
        <pc:spChg chg="add mod">
          <ac:chgData name="Yash Ratanpal" userId="5db668b1-93e7-4c08-9786-4ed81315a653" providerId="ADAL" clId="{6A8CBA8A-0DFA-49E5-9129-505E1F9E8E2C}" dt="2021-07-25T11:20:31.792" v="5794" actId="164"/>
          <ac:spMkLst>
            <pc:docMk/>
            <pc:sldMk cId="152757834" sldId="1735"/>
            <ac:spMk id="31" creationId="{F5840A73-055B-4B7C-B90F-AC850CCA58C2}"/>
          </ac:spMkLst>
        </pc:spChg>
        <pc:spChg chg="add mod">
          <ac:chgData name="Yash Ratanpal" userId="5db668b1-93e7-4c08-9786-4ed81315a653" providerId="ADAL" clId="{6A8CBA8A-0DFA-49E5-9129-505E1F9E8E2C}" dt="2021-07-25T11:20:31.792" v="5794" actId="164"/>
          <ac:spMkLst>
            <pc:docMk/>
            <pc:sldMk cId="152757834" sldId="1735"/>
            <ac:spMk id="32" creationId="{1704ADE6-B8EE-4E4E-B2CE-2C2B30D40639}"/>
          </ac:spMkLst>
        </pc:spChg>
        <pc:spChg chg="add mod">
          <ac:chgData name="Yash Ratanpal" userId="5db668b1-93e7-4c08-9786-4ed81315a653" providerId="ADAL" clId="{6A8CBA8A-0DFA-49E5-9129-505E1F9E8E2C}" dt="2021-07-25T11:20:31.792" v="5794" actId="164"/>
          <ac:spMkLst>
            <pc:docMk/>
            <pc:sldMk cId="152757834" sldId="1735"/>
            <ac:spMk id="33" creationId="{9E706856-750A-4801-B04B-807CBE23A8E4}"/>
          </ac:spMkLst>
        </pc:spChg>
        <pc:spChg chg="add mod">
          <ac:chgData name="Yash Ratanpal" userId="5db668b1-93e7-4c08-9786-4ed81315a653" providerId="ADAL" clId="{6A8CBA8A-0DFA-49E5-9129-505E1F9E8E2C}" dt="2021-07-25T11:20:31.792" v="5794" actId="164"/>
          <ac:spMkLst>
            <pc:docMk/>
            <pc:sldMk cId="152757834" sldId="1735"/>
            <ac:spMk id="34" creationId="{1C0160DC-6F2E-4A3A-8B16-0DEBE42A73D2}"/>
          </ac:spMkLst>
        </pc:spChg>
        <pc:spChg chg="add mod">
          <ac:chgData name="Yash Ratanpal" userId="5db668b1-93e7-4c08-9786-4ed81315a653" providerId="ADAL" clId="{6A8CBA8A-0DFA-49E5-9129-505E1F9E8E2C}" dt="2021-07-25T11:20:31.792" v="5794" actId="164"/>
          <ac:spMkLst>
            <pc:docMk/>
            <pc:sldMk cId="152757834" sldId="1735"/>
            <ac:spMk id="35" creationId="{6E3D56AC-B521-402A-8FF2-7D024D8B59BC}"/>
          </ac:spMkLst>
        </pc:spChg>
        <pc:spChg chg="add mod">
          <ac:chgData name="Yash Ratanpal" userId="5db668b1-93e7-4c08-9786-4ed81315a653" providerId="ADAL" clId="{6A8CBA8A-0DFA-49E5-9129-505E1F9E8E2C}" dt="2021-07-25T11:20:31.792" v="5794" actId="164"/>
          <ac:spMkLst>
            <pc:docMk/>
            <pc:sldMk cId="152757834" sldId="1735"/>
            <ac:spMk id="36" creationId="{17EE7EE5-D8AC-4A28-BC74-BAF017D0562E}"/>
          </ac:spMkLst>
        </pc:spChg>
        <pc:spChg chg="add mod">
          <ac:chgData name="Yash Ratanpal" userId="5db668b1-93e7-4c08-9786-4ed81315a653" providerId="ADAL" clId="{6A8CBA8A-0DFA-49E5-9129-505E1F9E8E2C}" dt="2021-07-25T11:20:31.792" v="5794" actId="164"/>
          <ac:spMkLst>
            <pc:docMk/>
            <pc:sldMk cId="152757834" sldId="1735"/>
            <ac:spMk id="37" creationId="{9C9EDBE9-D1C9-46A1-8BA3-CEDDC050FB3C}"/>
          </ac:spMkLst>
        </pc:spChg>
        <pc:spChg chg="add mod">
          <ac:chgData name="Yash Ratanpal" userId="5db668b1-93e7-4c08-9786-4ed81315a653" providerId="ADAL" clId="{6A8CBA8A-0DFA-49E5-9129-505E1F9E8E2C}" dt="2021-07-25T11:20:31.792" v="5794" actId="164"/>
          <ac:spMkLst>
            <pc:docMk/>
            <pc:sldMk cId="152757834" sldId="1735"/>
            <ac:spMk id="38" creationId="{DE2B48C0-A942-46F1-BF32-B0A39337EA51}"/>
          </ac:spMkLst>
        </pc:spChg>
        <pc:spChg chg="add del mod">
          <ac:chgData name="Yash Ratanpal" userId="5db668b1-93e7-4c08-9786-4ed81315a653" providerId="ADAL" clId="{6A8CBA8A-0DFA-49E5-9129-505E1F9E8E2C}" dt="2021-07-25T11:22:48.270" v="5895"/>
          <ac:spMkLst>
            <pc:docMk/>
            <pc:sldMk cId="152757834" sldId="1735"/>
            <ac:spMk id="40" creationId="{AFF234F3-BE46-4C72-AEBE-77BD6AEEAE62}"/>
          </ac:spMkLst>
        </pc:spChg>
        <pc:spChg chg="add del mod">
          <ac:chgData name="Yash Ratanpal" userId="5db668b1-93e7-4c08-9786-4ed81315a653" providerId="ADAL" clId="{6A8CBA8A-0DFA-49E5-9129-505E1F9E8E2C}" dt="2021-07-25T11:22:48.270" v="5895"/>
          <ac:spMkLst>
            <pc:docMk/>
            <pc:sldMk cId="152757834" sldId="1735"/>
            <ac:spMk id="41" creationId="{92A8A177-7E4B-4ECA-B05A-A040A4C2240A}"/>
          </ac:spMkLst>
        </pc:spChg>
        <pc:spChg chg="add del mod">
          <ac:chgData name="Yash Ratanpal" userId="5db668b1-93e7-4c08-9786-4ed81315a653" providerId="ADAL" clId="{6A8CBA8A-0DFA-49E5-9129-505E1F9E8E2C}" dt="2021-07-25T11:22:48.270" v="5895"/>
          <ac:spMkLst>
            <pc:docMk/>
            <pc:sldMk cId="152757834" sldId="1735"/>
            <ac:spMk id="42" creationId="{BB20E455-AFC4-4CFC-B8CD-720322A6FCDE}"/>
          </ac:spMkLst>
        </pc:spChg>
        <pc:spChg chg="add del mod">
          <ac:chgData name="Yash Ratanpal" userId="5db668b1-93e7-4c08-9786-4ed81315a653" providerId="ADAL" clId="{6A8CBA8A-0DFA-49E5-9129-505E1F9E8E2C}" dt="2021-07-25T11:22:48.270" v="5895"/>
          <ac:spMkLst>
            <pc:docMk/>
            <pc:sldMk cId="152757834" sldId="1735"/>
            <ac:spMk id="44" creationId="{1E30E650-9561-4F57-9950-5397E79D753A}"/>
          </ac:spMkLst>
        </pc:spChg>
        <pc:spChg chg="add del mod">
          <ac:chgData name="Yash Ratanpal" userId="5db668b1-93e7-4c08-9786-4ed81315a653" providerId="ADAL" clId="{6A8CBA8A-0DFA-49E5-9129-505E1F9E8E2C}" dt="2021-07-25T11:22:48.270" v="5895"/>
          <ac:spMkLst>
            <pc:docMk/>
            <pc:sldMk cId="152757834" sldId="1735"/>
            <ac:spMk id="45" creationId="{01186D11-0E51-4D25-A308-218B3A1573B8}"/>
          </ac:spMkLst>
        </pc:spChg>
        <pc:spChg chg="add del mod">
          <ac:chgData name="Yash Ratanpal" userId="5db668b1-93e7-4c08-9786-4ed81315a653" providerId="ADAL" clId="{6A8CBA8A-0DFA-49E5-9129-505E1F9E8E2C}" dt="2021-07-25T11:22:48.270" v="5895"/>
          <ac:spMkLst>
            <pc:docMk/>
            <pc:sldMk cId="152757834" sldId="1735"/>
            <ac:spMk id="46" creationId="{03539347-2BA4-41C0-AE53-A402AEE9A36A}"/>
          </ac:spMkLst>
        </pc:spChg>
        <pc:spChg chg="add del mod">
          <ac:chgData name="Yash Ratanpal" userId="5db668b1-93e7-4c08-9786-4ed81315a653" providerId="ADAL" clId="{6A8CBA8A-0DFA-49E5-9129-505E1F9E8E2C}" dt="2021-07-25T11:22:48.270" v="5895"/>
          <ac:spMkLst>
            <pc:docMk/>
            <pc:sldMk cId="152757834" sldId="1735"/>
            <ac:spMk id="47" creationId="{2FB73628-B957-4999-8FD4-84CB3FCD9977}"/>
          </ac:spMkLst>
        </pc:spChg>
        <pc:spChg chg="add del mod">
          <ac:chgData name="Yash Ratanpal" userId="5db668b1-93e7-4c08-9786-4ed81315a653" providerId="ADAL" clId="{6A8CBA8A-0DFA-49E5-9129-505E1F9E8E2C}" dt="2021-07-25T11:22:48.270" v="5895"/>
          <ac:spMkLst>
            <pc:docMk/>
            <pc:sldMk cId="152757834" sldId="1735"/>
            <ac:spMk id="48" creationId="{3DF7D7E6-4FD6-458D-BAC0-202A91A80139}"/>
          </ac:spMkLst>
        </pc:spChg>
        <pc:spChg chg="add del mod">
          <ac:chgData name="Yash Ratanpal" userId="5db668b1-93e7-4c08-9786-4ed81315a653" providerId="ADAL" clId="{6A8CBA8A-0DFA-49E5-9129-505E1F9E8E2C}" dt="2021-07-25T11:22:48.270" v="5895"/>
          <ac:spMkLst>
            <pc:docMk/>
            <pc:sldMk cId="152757834" sldId="1735"/>
            <ac:spMk id="49" creationId="{A70B7F86-33CF-4DC2-8B27-2CEB714C43B4}"/>
          </ac:spMkLst>
        </pc:spChg>
        <pc:spChg chg="del">
          <ac:chgData name="Yash Ratanpal" userId="5db668b1-93e7-4c08-9786-4ed81315a653" providerId="ADAL" clId="{6A8CBA8A-0DFA-49E5-9129-505E1F9E8E2C}" dt="2021-07-25T11:28:11.026" v="6010" actId="478"/>
          <ac:spMkLst>
            <pc:docMk/>
            <pc:sldMk cId="152757834" sldId="1735"/>
            <ac:spMk id="50" creationId="{B717427A-3B5C-4D04-940C-F96C0201DD57}"/>
          </ac:spMkLst>
        </pc:spChg>
        <pc:spChg chg="add del mod">
          <ac:chgData name="Yash Ratanpal" userId="5db668b1-93e7-4c08-9786-4ed81315a653" providerId="ADAL" clId="{6A8CBA8A-0DFA-49E5-9129-505E1F9E8E2C}" dt="2021-07-25T11:22:48.270" v="5895"/>
          <ac:spMkLst>
            <pc:docMk/>
            <pc:sldMk cId="152757834" sldId="1735"/>
            <ac:spMk id="51" creationId="{FD66E364-32BE-47B2-B275-0D922B3F6869}"/>
          </ac:spMkLst>
        </pc:spChg>
        <pc:spChg chg="add del mod">
          <ac:chgData name="Yash Ratanpal" userId="5db668b1-93e7-4c08-9786-4ed81315a653" providerId="ADAL" clId="{6A8CBA8A-0DFA-49E5-9129-505E1F9E8E2C}" dt="2021-07-25T11:22:48.270" v="5895"/>
          <ac:spMkLst>
            <pc:docMk/>
            <pc:sldMk cId="152757834" sldId="1735"/>
            <ac:spMk id="52" creationId="{7F4BEF96-BE84-4294-ABE5-ABAC800DB41B}"/>
          </ac:spMkLst>
        </pc:spChg>
        <pc:spChg chg="add mod topLvl">
          <ac:chgData name="Yash Ratanpal" userId="5db668b1-93e7-4c08-9786-4ed81315a653" providerId="ADAL" clId="{6A8CBA8A-0DFA-49E5-9129-505E1F9E8E2C}" dt="2021-07-25T11:34:57.547" v="6063" actId="20577"/>
          <ac:spMkLst>
            <pc:docMk/>
            <pc:sldMk cId="152757834" sldId="1735"/>
            <ac:spMk id="53" creationId="{60E1C0AA-9E88-4DCF-A1DC-2E7045E28234}"/>
          </ac:spMkLst>
        </pc:spChg>
        <pc:spChg chg="add mod topLvl">
          <ac:chgData name="Yash Ratanpal" userId="5db668b1-93e7-4c08-9786-4ed81315a653" providerId="ADAL" clId="{6A8CBA8A-0DFA-49E5-9129-505E1F9E8E2C}" dt="2021-07-25T11:38:36.939" v="6293"/>
          <ac:spMkLst>
            <pc:docMk/>
            <pc:sldMk cId="152757834" sldId="1735"/>
            <ac:spMk id="54" creationId="{B345028F-83C6-4145-9D34-FB233D079945}"/>
          </ac:spMkLst>
        </pc:spChg>
        <pc:spChg chg="add del mod">
          <ac:chgData name="Yash Ratanpal" userId="5db668b1-93e7-4c08-9786-4ed81315a653" providerId="ADAL" clId="{6A8CBA8A-0DFA-49E5-9129-505E1F9E8E2C}" dt="2021-07-25T11:23:32.354" v="5911" actId="478"/>
          <ac:spMkLst>
            <pc:docMk/>
            <pc:sldMk cId="152757834" sldId="1735"/>
            <ac:spMk id="55" creationId="{22B791DC-C050-4131-836D-BC29F9B26F4F}"/>
          </ac:spMkLst>
        </pc:spChg>
        <pc:spChg chg="add mod topLvl">
          <ac:chgData name="Yash Ratanpal" userId="5db668b1-93e7-4c08-9786-4ed81315a653" providerId="ADAL" clId="{6A8CBA8A-0DFA-49E5-9129-505E1F9E8E2C}" dt="2021-07-25T11:35:59.494" v="6069"/>
          <ac:spMkLst>
            <pc:docMk/>
            <pc:sldMk cId="152757834" sldId="1735"/>
            <ac:spMk id="57" creationId="{F38AA7B6-8EAB-43A1-8126-2E3ACE52E4C9}"/>
          </ac:spMkLst>
        </pc:spChg>
        <pc:spChg chg="add mod topLvl">
          <ac:chgData name="Yash Ratanpal" userId="5db668b1-93e7-4c08-9786-4ed81315a653" providerId="ADAL" clId="{6A8CBA8A-0DFA-49E5-9129-505E1F9E8E2C}" dt="2021-07-25T11:39:59.576" v="6379"/>
          <ac:spMkLst>
            <pc:docMk/>
            <pc:sldMk cId="152757834" sldId="1735"/>
            <ac:spMk id="58" creationId="{E75CF353-7719-485A-8CAA-AEB493F54644}"/>
          </ac:spMkLst>
        </pc:spChg>
        <pc:spChg chg="add mod topLvl">
          <ac:chgData name="Yash Ratanpal" userId="5db668b1-93e7-4c08-9786-4ed81315a653" providerId="ADAL" clId="{6A8CBA8A-0DFA-49E5-9129-505E1F9E8E2C}" dt="2021-07-25T11:35:15.353" v="6067"/>
          <ac:spMkLst>
            <pc:docMk/>
            <pc:sldMk cId="152757834" sldId="1735"/>
            <ac:spMk id="59" creationId="{66C6B638-4AF0-480A-90BD-D2B0C0BC44CC}"/>
          </ac:spMkLst>
        </pc:spChg>
        <pc:spChg chg="add mod topLvl">
          <ac:chgData name="Yash Ratanpal" userId="5db668b1-93e7-4c08-9786-4ed81315a653" providerId="ADAL" clId="{6A8CBA8A-0DFA-49E5-9129-505E1F9E8E2C}" dt="2021-07-25T11:39:56.369" v="6378" actId="20577"/>
          <ac:spMkLst>
            <pc:docMk/>
            <pc:sldMk cId="152757834" sldId="1735"/>
            <ac:spMk id="60" creationId="{BCFFBB14-A337-447E-98C7-CCBB8E9B7AED}"/>
          </ac:spMkLst>
        </pc:spChg>
        <pc:spChg chg="add mod topLvl">
          <ac:chgData name="Yash Ratanpal" userId="5db668b1-93e7-4c08-9786-4ed81315a653" providerId="ADAL" clId="{6A8CBA8A-0DFA-49E5-9129-505E1F9E8E2C}" dt="2021-07-25T11:39:14.969" v="6338" actId="20577"/>
          <ac:spMkLst>
            <pc:docMk/>
            <pc:sldMk cId="152757834" sldId="1735"/>
            <ac:spMk id="61" creationId="{7F69140A-E7BA-4888-8E90-12D10FD106F9}"/>
          </ac:spMkLst>
        </pc:spChg>
        <pc:spChg chg="add mod topLvl">
          <ac:chgData name="Yash Ratanpal" userId="5db668b1-93e7-4c08-9786-4ed81315a653" providerId="ADAL" clId="{6A8CBA8A-0DFA-49E5-9129-505E1F9E8E2C}" dt="2021-07-25T11:40:32.780" v="6397" actId="20577"/>
          <ac:spMkLst>
            <pc:docMk/>
            <pc:sldMk cId="152757834" sldId="1735"/>
            <ac:spMk id="62" creationId="{B12F8047-6834-4706-9CA4-4754FF1E72D3}"/>
          </ac:spMkLst>
        </pc:spChg>
        <pc:spChg chg="add mod topLvl">
          <ac:chgData name="Yash Ratanpal" userId="5db668b1-93e7-4c08-9786-4ed81315a653" providerId="ADAL" clId="{6A8CBA8A-0DFA-49E5-9129-505E1F9E8E2C}" dt="2021-07-25T11:38:32.779" v="6290"/>
          <ac:spMkLst>
            <pc:docMk/>
            <pc:sldMk cId="152757834" sldId="1735"/>
            <ac:spMk id="63" creationId="{F86A026D-66F9-4CFD-A3DE-91DA2731E0DA}"/>
          </ac:spMkLst>
        </pc:spChg>
        <pc:spChg chg="add mod topLvl">
          <ac:chgData name="Yash Ratanpal" userId="5db668b1-93e7-4c08-9786-4ed81315a653" providerId="ADAL" clId="{6A8CBA8A-0DFA-49E5-9129-505E1F9E8E2C}" dt="2021-07-25T11:40:51.537" v="6449" actId="20577"/>
          <ac:spMkLst>
            <pc:docMk/>
            <pc:sldMk cId="152757834" sldId="1735"/>
            <ac:spMk id="64" creationId="{082DDD5B-94BB-44F3-83B7-88F673DD0DC7}"/>
          </ac:spMkLst>
        </pc:spChg>
        <pc:spChg chg="mod">
          <ac:chgData name="Yash Ratanpal" userId="5db668b1-93e7-4c08-9786-4ed81315a653" providerId="ADAL" clId="{6A8CBA8A-0DFA-49E5-9129-505E1F9E8E2C}" dt="2021-07-25T11:28:21.344" v="6021" actId="1076"/>
          <ac:spMkLst>
            <pc:docMk/>
            <pc:sldMk cId="152757834" sldId="1735"/>
            <ac:spMk id="66" creationId="{8A75C82D-1106-40F1-87E0-69CEB56E22AB}"/>
          </ac:spMkLst>
        </pc:spChg>
        <pc:spChg chg="del">
          <ac:chgData name="Yash Ratanpal" userId="5db668b1-93e7-4c08-9786-4ed81315a653" providerId="ADAL" clId="{6A8CBA8A-0DFA-49E5-9129-505E1F9E8E2C}" dt="2021-07-25T11:17:54.670" v="5735" actId="478"/>
          <ac:spMkLst>
            <pc:docMk/>
            <pc:sldMk cId="152757834" sldId="1735"/>
            <ac:spMk id="71" creationId="{DE02AF69-13F4-4282-AC0F-A52598163951}"/>
          </ac:spMkLst>
        </pc:spChg>
        <pc:spChg chg="del">
          <ac:chgData name="Yash Ratanpal" userId="5db668b1-93e7-4c08-9786-4ed81315a653" providerId="ADAL" clId="{6A8CBA8A-0DFA-49E5-9129-505E1F9E8E2C}" dt="2021-07-25T11:17:54.670" v="5735" actId="478"/>
          <ac:spMkLst>
            <pc:docMk/>
            <pc:sldMk cId="152757834" sldId="1735"/>
            <ac:spMk id="75" creationId="{13BC00E0-10CD-49A3-B029-B5AE0DB0786B}"/>
          </ac:spMkLst>
        </pc:spChg>
        <pc:spChg chg="del">
          <ac:chgData name="Yash Ratanpal" userId="5db668b1-93e7-4c08-9786-4ed81315a653" providerId="ADAL" clId="{6A8CBA8A-0DFA-49E5-9129-505E1F9E8E2C}" dt="2021-07-25T11:17:54.670" v="5735" actId="478"/>
          <ac:spMkLst>
            <pc:docMk/>
            <pc:sldMk cId="152757834" sldId="1735"/>
            <ac:spMk id="78" creationId="{8770DC8E-7D0F-44A3-9EEC-9353BE1E1D7A}"/>
          </ac:spMkLst>
        </pc:spChg>
        <pc:spChg chg="del">
          <ac:chgData name="Yash Ratanpal" userId="5db668b1-93e7-4c08-9786-4ed81315a653" providerId="ADAL" clId="{6A8CBA8A-0DFA-49E5-9129-505E1F9E8E2C}" dt="2021-07-25T11:17:54.670" v="5735" actId="478"/>
          <ac:spMkLst>
            <pc:docMk/>
            <pc:sldMk cId="152757834" sldId="1735"/>
            <ac:spMk id="82" creationId="{8C85BBCC-1BB5-4166-9C6E-67DE9EC1D7BE}"/>
          </ac:spMkLst>
        </pc:spChg>
        <pc:spChg chg="mod topLvl">
          <ac:chgData name="Yash Ratanpal" userId="5db668b1-93e7-4c08-9786-4ed81315a653" providerId="ADAL" clId="{6A8CBA8A-0DFA-49E5-9129-505E1F9E8E2C}" dt="2021-07-25T11:35:52.090" v="6068" actId="1076"/>
          <ac:spMkLst>
            <pc:docMk/>
            <pc:sldMk cId="152757834" sldId="1735"/>
            <ac:spMk id="85" creationId="{4FAAE9A1-4514-4D3C-BCAA-8C095F2EC937}"/>
          </ac:spMkLst>
        </pc:spChg>
        <pc:spChg chg="mod topLvl">
          <ac:chgData name="Yash Ratanpal" userId="5db668b1-93e7-4c08-9786-4ed81315a653" providerId="ADAL" clId="{6A8CBA8A-0DFA-49E5-9129-505E1F9E8E2C}" dt="2021-07-25T11:30:50.663" v="6044" actId="1076"/>
          <ac:spMkLst>
            <pc:docMk/>
            <pc:sldMk cId="152757834" sldId="1735"/>
            <ac:spMk id="86" creationId="{276E14D0-1224-4429-A533-39BB0FA384D0}"/>
          </ac:spMkLst>
        </pc:spChg>
        <pc:spChg chg="mod topLvl">
          <ac:chgData name="Yash Ratanpal" userId="5db668b1-93e7-4c08-9786-4ed81315a653" providerId="ADAL" clId="{6A8CBA8A-0DFA-49E5-9129-505E1F9E8E2C}" dt="2021-07-25T11:30:50.663" v="6044" actId="1076"/>
          <ac:spMkLst>
            <pc:docMk/>
            <pc:sldMk cId="152757834" sldId="1735"/>
            <ac:spMk id="87" creationId="{B90A1D90-0EF5-4104-9003-2BD1C55619AA}"/>
          </ac:spMkLst>
        </pc:spChg>
        <pc:spChg chg="mod ord topLvl">
          <ac:chgData name="Yash Ratanpal" userId="5db668b1-93e7-4c08-9786-4ed81315a653" providerId="ADAL" clId="{6A8CBA8A-0DFA-49E5-9129-505E1F9E8E2C}" dt="2021-07-25T11:31:30.847" v="6051" actId="167"/>
          <ac:spMkLst>
            <pc:docMk/>
            <pc:sldMk cId="152757834" sldId="1735"/>
            <ac:spMk id="88" creationId="{C203D03C-AA70-4465-9E3D-57BCF1A4736A}"/>
          </ac:spMkLst>
        </pc:spChg>
        <pc:spChg chg="mod topLvl">
          <ac:chgData name="Yash Ratanpal" userId="5db668b1-93e7-4c08-9786-4ed81315a653" providerId="ADAL" clId="{6A8CBA8A-0DFA-49E5-9129-505E1F9E8E2C}" dt="2021-07-25T11:30:50.663" v="6044" actId="1076"/>
          <ac:spMkLst>
            <pc:docMk/>
            <pc:sldMk cId="152757834" sldId="1735"/>
            <ac:spMk id="98" creationId="{F11448B1-49FF-440C-803C-3E2E3EADD36B}"/>
          </ac:spMkLst>
        </pc:spChg>
        <pc:spChg chg="mod topLvl">
          <ac:chgData name="Yash Ratanpal" userId="5db668b1-93e7-4c08-9786-4ed81315a653" providerId="ADAL" clId="{6A8CBA8A-0DFA-49E5-9129-505E1F9E8E2C}" dt="2021-07-25T11:30:50.663" v="6044" actId="1076"/>
          <ac:spMkLst>
            <pc:docMk/>
            <pc:sldMk cId="152757834" sldId="1735"/>
            <ac:spMk id="99" creationId="{7A5CFC5A-E0AD-4BE7-AAE5-DA7100F2BC71}"/>
          </ac:spMkLst>
        </pc:spChg>
        <pc:spChg chg="mod topLvl">
          <ac:chgData name="Yash Ratanpal" userId="5db668b1-93e7-4c08-9786-4ed81315a653" providerId="ADAL" clId="{6A8CBA8A-0DFA-49E5-9129-505E1F9E8E2C}" dt="2021-07-25T11:30:50.663" v="6044" actId="1076"/>
          <ac:spMkLst>
            <pc:docMk/>
            <pc:sldMk cId="152757834" sldId="1735"/>
            <ac:spMk id="100" creationId="{EB725036-C556-41D1-94B9-90F6EDA76730}"/>
          </ac:spMkLst>
        </pc:spChg>
        <pc:spChg chg="mod topLvl">
          <ac:chgData name="Yash Ratanpal" userId="5db668b1-93e7-4c08-9786-4ed81315a653" providerId="ADAL" clId="{6A8CBA8A-0DFA-49E5-9129-505E1F9E8E2C}" dt="2021-07-25T11:30:50.663" v="6044" actId="1076"/>
          <ac:spMkLst>
            <pc:docMk/>
            <pc:sldMk cId="152757834" sldId="1735"/>
            <ac:spMk id="101" creationId="{F7DFDE9F-804C-42FE-9291-358D4A1FEF6A}"/>
          </ac:spMkLst>
        </pc:spChg>
        <pc:spChg chg="mod topLvl">
          <ac:chgData name="Yash Ratanpal" userId="5db668b1-93e7-4c08-9786-4ed81315a653" providerId="ADAL" clId="{6A8CBA8A-0DFA-49E5-9129-505E1F9E8E2C}" dt="2021-07-25T11:30:50.663" v="6044" actId="1076"/>
          <ac:spMkLst>
            <pc:docMk/>
            <pc:sldMk cId="152757834" sldId="1735"/>
            <ac:spMk id="102" creationId="{5A85BB29-861F-4C88-8326-D663248C1817}"/>
          </ac:spMkLst>
        </pc:spChg>
        <pc:spChg chg="mod topLvl">
          <ac:chgData name="Yash Ratanpal" userId="5db668b1-93e7-4c08-9786-4ed81315a653" providerId="ADAL" clId="{6A8CBA8A-0DFA-49E5-9129-505E1F9E8E2C}" dt="2021-07-25T11:30:50.663" v="6044" actId="1076"/>
          <ac:spMkLst>
            <pc:docMk/>
            <pc:sldMk cId="152757834" sldId="1735"/>
            <ac:spMk id="103" creationId="{19F54A8B-7084-45E3-BC8C-03685FB53CE4}"/>
          </ac:spMkLst>
        </pc:spChg>
        <pc:spChg chg="mod topLvl">
          <ac:chgData name="Yash Ratanpal" userId="5db668b1-93e7-4c08-9786-4ed81315a653" providerId="ADAL" clId="{6A8CBA8A-0DFA-49E5-9129-505E1F9E8E2C}" dt="2021-07-25T11:30:50.663" v="6044" actId="1076"/>
          <ac:spMkLst>
            <pc:docMk/>
            <pc:sldMk cId="152757834" sldId="1735"/>
            <ac:spMk id="104" creationId="{175DFCFD-4683-40B4-8113-A0515480359D}"/>
          </ac:spMkLst>
        </pc:spChg>
        <pc:spChg chg="mod ord topLvl">
          <ac:chgData name="Yash Ratanpal" userId="5db668b1-93e7-4c08-9786-4ed81315a653" providerId="ADAL" clId="{6A8CBA8A-0DFA-49E5-9129-505E1F9E8E2C}" dt="2021-07-25T11:30:50.663" v="6044" actId="1076"/>
          <ac:spMkLst>
            <pc:docMk/>
            <pc:sldMk cId="152757834" sldId="1735"/>
            <ac:spMk id="106" creationId="{44E51A44-DC99-4194-B26D-064E34D77E10}"/>
          </ac:spMkLst>
        </pc:spChg>
        <pc:spChg chg="mod ord topLvl">
          <ac:chgData name="Yash Ratanpal" userId="5db668b1-93e7-4c08-9786-4ed81315a653" providerId="ADAL" clId="{6A8CBA8A-0DFA-49E5-9129-505E1F9E8E2C}" dt="2021-07-25T11:31:33.651" v="6052" actId="167"/>
          <ac:spMkLst>
            <pc:docMk/>
            <pc:sldMk cId="152757834" sldId="1735"/>
            <ac:spMk id="107" creationId="{B17A455E-323C-4E39-B1AB-7F6256451EE9}"/>
          </ac:spMkLst>
        </pc:spChg>
        <pc:spChg chg="del mod topLvl">
          <ac:chgData name="Yash Ratanpal" userId="5db668b1-93e7-4c08-9786-4ed81315a653" providerId="ADAL" clId="{6A8CBA8A-0DFA-49E5-9129-505E1F9E8E2C}" dt="2021-07-25T11:30:57.760" v="6045" actId="478"/>
          <ac:spMkLst>
            <pc:docMk/>
            <pc:sldMk cId="152757834" sldId="1735"/>
            <ac:spMk id="108" creationId="{3155680E-30E1-45FC-AF59-F83EAD60D994}"/>
          </ac:spMkLst>
        </pc:spChg>
        <pc:spChg chg="mod topLvl">
          <ac:chgData name="Yash Ratanpal" userId="5db668b1-93e7-4c08-9786-4ed81315a653" providerId="ADAL" clId="{6A8CBA8A-0DFA-49E5-9129-505E1F9E8E2C}" dt="2021-07-25T11:30:50.663" v="6044" actId="1076"/>
          <ac:spMkLst>
            <pc:docMk/>
            <pc:sldMk cId="152757834" sldId="1735"/>
            <ac:spMk id="109" creationId="{B5B9A1E2-9A2C-4CF4-9326-8C37ED4E4485}"/>
          </ac:spMkLst>
        </pc:spChg>
        <pc:spChg chg="mod topLvl">
          <ac:chgData name="Yash Ratanpal" userId="5db668b1-93e7-4c08-9786-4ed81315a653" providerId="ADAL" clId="{6A8CBA8A-0DFA-49E5-9129-505E1F9E8E2C}" dt="2021-07-25T11:30:50.663" v="6044" actId="1076"/>
          <ac:spMkLst>
            <pc:docMk/>
            <pc:sldMk cId="152757834" sldId="1735"/>
            <ac:spMk id="110" creationId="{279BF142-5A2C-4B86-AC24-CF8BEF0966DA}"/>
          </ac:spMkLst>
        </pc:spChg>
        <pc:spChg chg="mod ord topLvl">
          <ac:chgData name="Yash Ratanpal" userId="5db668b1-93e7-4c08-9786-4ed81315a653" providerId="ADAL" clId="{6A8CBA8A-0DFA-49E5-9129-505E1F9E8E2C}" dt="2021-07-25T11:31:35.240" v="6053" actId="1076"/>
          <ac:spMkLst>
            <pc:docMk/>
            <pc:sldMk cId="152757834" sldId="1735"/>
            <ac:spMk id="111" creationId="{3F526B87-168F-4F08-A642-231FF729C24D}"/>
          </ac:spMkLst>
        </pc:spChg>
        <pc:spChg chg="mod topLvl">
          <ac:chgData name="Yash Ratanpal" userId="5db668b1-93e7-4c08-9786-4ed81315a653" providerId="ADAL" clId="{6A8CBA8A-0DFA-49E5-9129-505E1F9E8E2C}" dt="2021-07-25T11:30:50.663" v="6044" actId="1076"/>
          <ac:spMkLst>
            <pc:docMk/>
            <pc:sldMk cId="152757834" sldId="1735"/>
            <ac:spMk id="112" creationId="{583A72F3-D076-48B1-8157-82F1DB0B2864}"/>
          </ac:spMkLst>
        </pc:spChg>
        <pc:spChg chg="mod topLvl">
          <ac:chgData name="Yash Ratanpal" userId="5db668b1-93e7-4c08-9786-4ed81315a653" providerId="ADAL" clId="{6A8CBA8A-0DFA-49E5-9129-505E1F9E8E2C}" dt="2021-07-25T11:30:50.663" v="6044" actId="1076"/>
          <ac:spMkLst>
            <pc:docMk/>
            <pc:sldMk cId="152757834" sldId="1735"/>
            <ac:spMk id="113" creationId="{C42845C1-E4D5-4585-8BF2-4A0B8A22461A}"/>
          </ac:spMkLst>
        </pc:spChg>
        <pc:spChg chg="mod topLvl">
          <ac:chgData name="Yash Ratanpal" userId="5db668b1-93e7-4c08-9786-4ed81315a653" providerId="ADAL" clId="{6A8CBA8A-0DFA-49E5-9129-505E1F9E8E2C}" dt="2021-07-25T11:30:50.663" v="6044" actId="1076"/>
          <ac:spMkLst>
            <pc:docMk/>
            <pc:sldMk cId="152757834" sldId="1735"/>
            <ac:spMk id="114" creationId="{A51C269F-55A9-44DA-A099-5B916375CFFC}"/>
          </ac:spMkLst>
        </pc:spChg>
        <pc:spChg chg="mod topLvl">
          <ac:chgData name="Yash Ratanpal" userId="5db668b1-93e7-4c08-9786-4ed81315a653" providerId="ADAL" clId="{6A8CBA8A-0DFA-49E5-9129-505E1F9E8E2C}" dt="2021-07-25T11:30:50.663" v="6044" actId="1076"/>
          <ac:spMkLst>
            <pc:docMk/>
            <pc:sldMk cId="152757834" sldId="1735"/>
            <ac:spMk id="115" creationId="{5ABB1672-0765-476C-8F42-C68A9DC22628}"/>
          </ac:spMkLst>
        </pc:spChg>
        <pc:spChg chg="mod topLvl">
          <ac:chgData name="Yash Ratanpal" userId="5db668b1-93e7-4c08-9786-4ed81315a653" providerId="ADAL" clId="{6A8CBA8A-0DFA-49E5-9129-505E1F9E8E2C}" dt="2021-07-25T11:30:50.663" v="6044" actId="1076"/>
          <ac:spMkLst>
            <pc:docMk/>
            <pc:sldMk cId="152757834" sldId="1735"/>
            <ac:spMk id="116" creationId="{26255E12-0642-4A45-80F7-5EE16B988759}"/>
          </ac:spMkLst>
        </pc:spChg>
        <pc:spChg chg="mod topLvl">
          <ac:chgData name="Yash Ratanpal" userId="5db668b1-93e7-4c08-9786-4ed81315a653" providerId="ADAL" clId="{6A8CBA8A-0DFA-49E5-9129-505E1F9E8E2C}" dt="2021-07-25T11:30:50.663" v="6044" actId="1076"/>
          <ac:spMkLst>
            <pc:docMk/>
            <pc:sldMk cId="152757834" sldId="1735"/>
            <ac:spMk id="117" creationId="{BD9C6FF7-9AA1-4DB3-9FA1-5ADF5D25FE8B}"/>
          </ac:spMkLst>
        </pc:spChg>
        <pc:spChg chg="mod topLvl">
          <ac:chgData name="Yash Ratanpal" userId="5db668b1-93e7-4c08-9786-4ed81315a653" providerId="ADAL" clId="{6A8CBA8A-0DFA-49E5-9129-505E1F9E8E2C}" dt="2021-07-25T11:30:50.663" v="6044" actId="1076"/>
          <ac:spMkLst>
            <pc:docMk/>
            <pc:sldMk cId="152757834" sldId="1735"/>
            <ac:spMk id="118" creationId="{4C852044-6A55-4632-87A1-E1D0E97CCFF8}"/>
          </ac:spMkLst>
        </pc:spChg>
        <pc:spChg chg="mod topLvl">
          <ac:chgData name="Yash Ratanpal" userId="5db668b1-93e7-4c08-9786-4ed81315a653" providerId="ADAL" clId="{6A8CBA8A-0DFA-49E5-9129-505E1F9E8E2C}" dt="2021-07-25T11:30:50.663" v="6044" actId="1076"/>
          <ac:spMkLst>
            <pc:docMk/>
            <pc:sldMk cId="152757834" sldId="1735"/>
            <ac:spMk id="119" creationId="{C6C523A4-3BC4-4F15-9522-F62C01FD908A}"/>
          </ac:spMkLst>
        </pc:spChg>
        <pc:spChg chg="mod topLvl">
          <ac:chgData name="Yash Ratanpal" userId="5db668b1-93e7-4c08-9786-4ed81315a653" providerId="ADAL" clId="{6A8CBA8A-0DFA-49E5-9129-505E1F9E8E2C}" dt="2021-07-25T11:30:50.663" v="6044" actId="1076"/>
          <ac:spMkLst>
            <pc:docMk/>
            <pc:sldMk cId="152757834" sldId="1735"/>
            <ac:spMk id="120" creationId="{8D261833-8CD2-45D0-A762-F0198B5ED8C4}"/>
          </ac:spMkLst>
        </pc:spChg>
        <pc:spChg chg="mod topLvl">
          <ac:chgData name="Yash Ratanpal" userId="5db668b1-93e7-4c08-9786-4ed81315a653" providerId="ADAL" clId="{6A8CBA8A-0DFA-49E5-9129-505E1F9E8E2C}" dt="2021-07-25T11:30:50.663" v="6044" actId="1076"/>
          <ac:spMkLst>
            <pc:docMk/>
            <pc:sldMk cId="152757834" sldId="1735"/>
            <ac:spMk id="121" creationId="{BF0519D7-83CF-48F7-BECC-B9C0C68C21E8}"/>
          </ac:spMkLst>
        </pc:spChg>
        <pc:spChg chg="mod">
          <ac:chgData name="Yash Ratanpal" userId="5db668b1-93e7-4c08-9786-4ed81315a653" providerId="ADAL" clId="{6A8CBA8A-0DFA-49E5-9129-505E1F9E8E2C}" dt="2021-07-25T11:31:17.160" v="6048" actId="207"/>
          <ac:spMkLst>
            <pc:docMk/>
            <pc:sldMk cId="152757834" sldId="1735"/>
            <ac:spMk id="122" creationId="{7C601D1E-823D-47ED-9C28-8BA62BEF82A3}"/>
          </ac:spMkLst>
        </pc:spChg>
        <pc:spChg chg="mod">
          <ac:chgData name="Yash Ratanpal" userId="5db668b1-93e7-4c08-9786-4ed81315a653" providerId="ADAL" clId="{6A8CBA8A-0DFA-49E5-9129-505E1F9E8E2C}" dt="2021-07-25T11:31:17.160" v="6048" actId="207"/>
          <ac:spMkLst>
            <pc:docMk/>
            <pc:sldMk cId="152757834" sldId="1735"/>
            <ac:spMk id="123" creationId="{68B03545-3376-4127-B7B1-2BAE99F8BE00}"/>
          </ac:spMkLst>
        </pc:spChg>
        <pc:grpChg chg="add del mod">
          <ac:chgData name="Yash Ratanpal" userId="5db668b1-93e7-4c08-9786-4ed81315a653" providerId="ADAL" clId="{6A8CBA8A-0DFA-49E5-9129-505E1F9E8E2C}" dt="2021-07-25T11:22:41.368" v="5891" actId="478"/>
          <ac:grpSpMkLst>
            <pc:docMk/>
            <pc:sldMk cId="152757834" sldId="1735"/>
            <ac:grpSpMk id="4" creationId="{4DD467BB-FCC4-465F-9122-A74A07B3DF05}"/>
          </ac:grpSpMkLst>
        </pc:grpChg>
        <pc:grpChg chg="add del mod">
          <ac:chgData name="Yash Ratanpal" userId="5db668b1-93e7-4c08-9786-4ed81315a653" providerId="ADAL" clId="{6A8CBA8A-0DFA-49E5-9129-505E1F9E8E2C}" dt="2021-07-25T11:30:24.660" v="6038" actId="165"/>
          <ac:grpSpMkLst>
            <pc:docMk/>
            <pc:sldMk cId="152757834" sldId="1735"/>
            <ac:grpSpMk id="5" creationId="{A47B9FED-D0F0-4897-BE4F-C61FD46617E0}"/>
          </ac:grpSpMkLst>
        </pc:grpChg>
        <pc:grpChg chg="add del mod">
          <ac:chgData name="Yash Ratanpal" userId="5db668b1-93e7-4c08-9786-4ed81315a653" providerId="ADAL" clId="{6A8CBA8A-0DFA-49E5-9129-505E1F9E8E2C}" dt="2021-07-25T11:28:46.862" v="6031" actId="165"/>
          <ac:grpSpMkLst>
            <pc:docMk/>
            <pc:sldMk cId="152757834" sldId="1735"/>
            <ac:grpSpMk id="6" creationId="{C377F408-D6AF-4748-8F40-C3DE071F2953}"/>
          </ac:grpSpMkLst>
        </pc:grpChg>
        <pc:grpChg chg="add del mod">
          <ac:chgData name="Yash Ratanpal" userId="5db668b1-93e7-4c08-9786-4ed81315a653" providerId="ADAL" clId="{6A8CBA8A-0DFA-49E5-9129-505E1F9E8E2C}" dt="2021-07-25T11:20:22.834" v="5789" actId="478"/>
          <ac:grpSpMkLst>
            <pc:docMk/>
            <pc:sldMk cId="152757834" sldId="1735"/>
            <ac:grpSpMk id="12" creationId="{F7D8083E-13CD-4F0E-B6F6-45F18C905163}"/>
          </ac:grpSpMkLst>
        </pc:grpChg>
        <pc:grpChg chg="add mod">
          <ac:chgData name="Yash Ratanpal" userId="5db668b1-93e7-4c08-9786-4ed81315a653" providerId="ADAL" clId="{6A8CBA8A-0DFA-49E5-9129-505E1F9E8E2C}" dt="2021-07-25T11:20:31.792" v="5794" actId="164"/>
          <ac:grpSpMkLst>
            <pc:docMk/>
            <pc:sldMk cId="152757834" sldId="1735"/>
            <ac:grpSpMk id="25" creationId="{0E023236-5B8A-4A8E-8D3B-993013A9C4A3}"/>
          </ac:grpSpMkLst>
        </pc:grpChg>
        <pc:grpChg chg="add del mod">
          <ac:chgData name="Yash Ratanpal" userId="5db668b1-93e7-4c08-9786-4ed81315a653" providerId="ADAL" clId="{6A8CBA8A-0DFA-49E5-9129-505E1F9E8E2C}" dt="2021-07-25T11:26:10.071" v="5955" actId="165"/>
          <ac:grpSpMkLst>
            <pc:docMk/>
            <pc:sldMk cId="152757834" sldId="1735"/>
            <ac:grpSpMk id="67" creationId="{04250FB8-5E21-4A79-BD7F-37ADCF2CB90F}"/>
          </ac:grpSpMkLst>
        </pc:grpChg>
        <pc:grpChg chg="mod topLvl">
          <ac:chgData name="Yash Ratanpal" userId="5db668b1-93e7-4c08-9786-4ed81315a653" providerId="ADAL" clId="{6A8CBA8A-0DFA-49E5-9129-505E1F9E8E2C}" dt="2021-07-25T11:31:17.160" v="6048" actId="207"/>
          <ac:grpSpMkLst>
            <pc:docMk/>
            <pc:sldMk cId="152757834" sldId="1735"/>
            <ac:grpSpMk id="93" creationId="{A640829F-AA52-48B6-A9DC-C1BD10F7D4D2}"/>
          </ac:grpSpMkLst>
        </pc:grpChg>
        <pc:graphicFrameChg chg="add del mod">
          <ac:chgData name="Yash Ratanpal" userId="5db668b1-93e7-4c08-9786-4ed81315a653" providerId="ADAL" clId="{6A8CBA8A-0DFA-49E5-9129-505E1F9E8E2C}" dt="2021-07-25T11:25:40.540" v="5948" actId="478"/>
          <ac:graphicFrameMkLst>
            <pc:docMk/>
            <pc:sldMk cId="152757834" sldId="1735"/>
            <ac:graphicFrameMk id="65" creationId="{BE251090-76B4-463A-ACCD-4E9D468ED4D2}"/>
          </ac:graphicFrameMkLst>
        </pc:graphicFrameChg>
        <pc:graphicFrameChg chg="del">
          <ac:chgData name="Yash Ratanpal" userId="5db668b1-93e7-4c08-9786-4ed81315a653" providerId="ADAL" clId="{6A8CBA8A-0DFA-49E5-9129-505E1F9E8E2C}" dt="2021-07-25T11:17:54.670" v="5735" actId="478"/>
          <ac:graphicFrameMkLst>
            <pc:docMk/>
            <pc:sldMk cId="152757834" sldId="1735"/>
            <ac:graphicFrameMk id="79" creationId="{0FE1F9AC-35D7-42FD-8C39-ADB9A1EEAC57}"/>
          </ac:graphicFrameMkLst>
        </pc:graphicFrameChg>
        <pc:graphicFrameChg chg="del">
          <ac:chgData name="Yash Ratanpal" userId="5db668b1-93e7-4c08-9786-4ed81315a653" providerId="ADAL" clId="{6A8CBA8A-0DFA-49E5-9129-505E1F9E8E2C}" dt="2021-07-25T11:17:54.670" v="5735" actId="478"/>
          <ac:graphicFrameMkLst>
            <pc:docMk/>
            <pc:sldMk cId="152757834" sldId="1735"/>
            <ac:graphicFrameMk id="80" creationId="{C7512D2C-6701-47EC-9A3F-6183A6992ACA}"/>
          </ac:graphicFrameMkLst>
        </pc:graphicFrameChg>
        <pc:picChg chg="mod topLvl">
          <ac:chgData name="Yash Ratanpal" userId="5db668b1-93e7-4c08-9786-4ed81315a653" providerId="ADAL" clId="{6A8CBA8A-0DFA-49E5-9129-505E1F9E8E2C}" dt="2021-07-25T11:30:50.663" v="6044" actId="1076"/>
          <ac:picMkLst>
            <pc:docMk/>
            <pc:sldMk cId="152757834" sldId="1735"/>
            <ac:picMk id="68" creationId="{5DF50A97-8ED4-4F9A-B6D0-F513F9290201}"/>
          </ac:picMkLst>
        </pc:picChg>
        <pc:picChg chg="mod topLvl">
          <ac:chgData name="Yash Ratanpal" userId="5db668b1-93e7-4c08-9786-4ed81315a653" providerId="ADAL" clId="{6A8CBA8A-0DFA-49E5-9129-505E1F9E8E2C}" dt="2021-07-25T11:30:50.663" v="6044" actId="1076"/>
          <ac:picMkLst>
            <pc:docMk/>
            <pc:sldMk cId="152757834" sldId="1735"/>
            <ac:picMk id="69" creationId="{98238792-B346-4A0D-854F-2B396765275A}"/>
          </ac:picMkLst>
        </pc:picChg>
        <pc:picChg chg="mod topLvl">
          <ac:chgData name="Yash Ratanpal" userId="5db668b1-93e7-4c08-9786-4ed81315a653" providerId="ADAL" clId="{6A8CBA8A-0DFA-49E5-9129-505E1F9E8E2C}" dt="2021-07-25T11:30:50.663" v="6044" actId="1076"/>
          <ac:picMkLst>
            <pc:docMk/>
            <pc:sldMk cId="152757834" sldId="1735"/>
            <ac:picMk id="70" creationId="{E38D8621-233A-46AD-88D8-46E6DCDC09F8}"/>
          </ac:picMkLst>
        </pc:picChg>
        <pc:picChg chg="mod topLvl">
          <ac:chgData name="Yash Ratanpal" userId="5db668b1-93e7-4c08-9786-4ed81315a653" providerId="ADAL" clId="{6A8CBA8A-0DFA-49E5-9129-505E1F9E8E2C}" dt="2021-07-25T11:30:50.663" v="6044" actId="1076"/>
          <ac:picMkLst>
            <pc:docMk/>
            <pc:sldMk cId="152757834" sldId="1735"/>
            <ac:picMk id="72" creationId="{0CC47204-E522-4814-9CA4-7D62B2ED734A}"/>
          </ac:picMkLst>
        </pc:picChg>
        <pc:picChg chg="mod topLvl">
          <ac:chgData name="Yash Ratanpal" userId="5db668b1-93e7-4c08-9786-4ed81315a653" providerId="ADAL" clId="{6A8CBA8A-0DFA-49E5-9129-505E1F9E8E2C}" dt="2021-07-25T11:30:50.663" v="6044" actId="1076"/>
          <ac:picMkLst>
            <pc:docMk/>
            <pc:sldMk cId="152757834" sldId="1735"/>
            <ac:picMk id="73" creationId="{1A58394C-F2E1-42E5-866D-33883526C640}"/>
          </ac:picMkLst>
        </pc:picChg>
        <pc:picChg chg="mod topLvl">
          <ac:chgData name="Yash Ratanpal" userId="5db668b1-93e7-4c08-9786-4ed81315a653" providerId="ADAL" clId="{6A8CBA8A-0DFA-49E5-9129-505E1F9E8E2C}" dt="2021-07-25T11:30:50.663" v="6044" actId="1076"/>
          <ac:picMkLst>
            <pc:docMk/>
            <pc:sldMk cId="152757834" sldId="1735"/>
            <ac:picMk id="74" creationId="{5EE4E253-B3C6-483C-9356-1CFD37CEB0FF}"/>
          </ac:picMkLst>
        </pc:picChg>
        <pc:picChg chg="mod topLvl">
          <ac:chgData name="Yash Ratanpal" userId="5db668b1-93e7-4c08-9786-4ed81315a653" providerId="ADAL" clId="{6A8CBA8A-0DFA-49E5-9129-505E1F9E8E2C}" dt="2021-07-25T11:30:50.663" v="6044" actId="1076"/>
          <ac:picMkLst>
            <pc:docMk/>
            <pc:sldMk cId="152757834" sldId="1735"/>
            <ac:picMk id="76" creationId="{01D9ECBE-16A8-4594-84C5-A3B329D3608C}"/>
          </ac:picMkLst>
        </pc:picChg>
        <pc:picChg chg="mod topLvl">
          <ac:chgData name="Yash Ratanpal" userId="5db668b1-93e7-4c08-9786-4ed81315a653" providerId="ADAL" clId="{6A8CBA8A-0DFA-49E5-9129-505E1F9E8E2C}" dt="2021-07-25T11:30:50.663" v="6044" actId="1076"/>
          <ac:picMkLst>
            <pc:docMk/>
            <pc:sldMk cId="152757834" sldId="1735"/>
            <ac:picMk id="77" creationId="{B7E9993E-91A5-4958-8E86-3F3E5D465FEE}"/>
          </ac:picMkLst>
        </pc:picChg>
        <pc:picChg chg="mod topLvl">
          <ac:chgData name="Yash Ratanpal" userId="5db668b1-93e7-4c08-9786-4ed81315a653" providerId="ADAL" clId="{6A8CBA8A-0DFA-49E5-9129-505E1F9E8E2C}" dt="2021-07-25T11:30:50.663" v="6044" actId="1076"/>
          <ac:picMkLst>
            <pc:docMk/>
            <pc:sldMk cId="152757834" sldId="1735"/>
            <ac:picMk id="81" creationId="{8C52A53D-BA40-46D1-8ECE-480917E4DE25}"/>
          </ac:picMkLst>
        </pc:picChg>
        <pc:picChg chg="mod topLvl">
          <ac:chgData name="Yash Ratanpal" userId="5db668b1-93e7-4c08-9786-4ed81315a653" providerId="ADAL" clId="{6A8CBA8A-0DFA-49E5-9129-505E1F9E8E2C}" dt="2021-07-25T11:30:50.663" v="6044" actId="1076"/>
          <ac:picMkLst>
            <pc:docMk/>
            <pc:sldMk cId="152757834" sldId="1735"/>
            <ac:picMk id="83" creationId="{1165BA9F-B41C-46C9-800E-7303DC9DD377}"/>
          </ac:picMkLst>
        </pc:picChg>
        <pc:picChg chg="mod topLvl">
          <ac:chgData name="Yash Ratanpal" userId="5db668b1-93e7-4c08-9786-4ed81315a653" providerId="ADAL" clId="{6A8CBA8A-0DFA-49E5-9129-505E1F9E8E2C}" dt="2021-07-25T11:30:50.663" v="6044" actId="1076"/>
          <ac:picMkLst>
            <pc:docMk/>
            <pc:sldMk cId="152757834" sldId="1735"/>
            <ac:picMk id="84" creationId="{3EF46ADA-92A3-4CC3-86A8-82715C71D7C4}"/>
          </ac:picMkLst>
        </pc:picChg>
        <pc:picChg chg="mod topLvl">
          <ac:chgData name="Yash Ratanpal" userId="5db668b1-93e7-4c08-9786-4ed81315a653" providerId="ADAL" clId="{6A8CBA8A-0DFA-49E5-9129-505E1F9E8E2C}" dt="2021-07-25T11:30:50.663" v="6044" actId="1076"/>
          <ac:picMkLst>
            <pc:docMk/>
            <pc:sldMk cId="152757834" sldId="1735"/>
            <ac:picMk id="89" creationId="{DFE3E368-A9B0-4587-8038-725C45474C97}"/>
          </ac:picMkLst>
        </pc:picChg>
        <pc:picChg chg="mod topLvl">
          <ac:chgData name="Yash Ratanpal" userId="5db668b1-93e7-4c08-9786-4ed81315a653" providerId="ADAL" clId="{6A8CBA8A-0DFA-49E5-9129-505E1F9E8E2C}" dt="2021-07-25T11:30:50.663" v="6044" actId="1076"/>
          <ac:picMkLst>
            <pc:docMk/>
            <pc:sldMk cId="152757834" sldId="1735"/>
            <ac:picMk id="90" creationId="{E11BF811-D702-4AD3-9618-6102AC04EB41}"/>
          </ac:picMkLst>
        </pc:picChg>
        <pc:picChg chg="mod topLvl">
          <ac:chgData name="Yash Ratanpal" userId="5db668b1-93e7-4c08-9786-4ed81315a653" providerId="ADAL" clId="{6A8CBA8A-0DFA-49E5-9129-505E1F9E8E2C}" dt="2021-07-25T11:30:50.663" v="6044" actId="1076"/>
          <ac:picMkLst>
            <pc:docMk/>
            <pc:sldMk cId="152757834" sldId="1735"/>
            <ac:picMk id="91" creationId="{4358F894-66B8-4E6D-BFD9-C7A325058E74}"/>
          </ac:picMkLst>
        </pc:picChg>
        <pc:picChg chg="mod topLvl">
          <ac:chgData name="Yash Ratanpal" userId="5db668b1-93e7-4c08-9786-4ed81315a653" providerId="ADAL" clId="{6A8CBA8A-0DFA-49E5-9129-505E1F9E8E2C}" dt="2021-07-25T11:30:50.663" v="6044" actId="1076"/>
          <ac:picMkLst>
            <pc:docMk/>
            <pc:sldMk cId="152757834" sldId="1735"/>
            <ac:picMk id="92" creationId="{4BD69ECE-D20F-4DCA-8A81-EF9106A5A65C}"/>
          </ac:picMkLst>
        </pc:picChg>
        <pc:picChg chg="mod topLvl">
          <ac:chgData name="Yash Ratanpal" userId="5db668b1-93e7-4c08-9786-4ed81315a653" providerId="ADAL" clId="{6A8CBA8A-0DFA-49E5-9129-505E1F9E8E2C}" dt="2021-07-25T11:30:50.663" v="6044" actId="1076"/>
          <ac:picMkLst>
            <pc:docMk/>
            <pc:sldMk cId="152757834" sldId="1735"/>
            <ac:picMk id="94" creationId="{9B237398-2BAE-4999-926F-E203D6735C7B}"/>
          </ac:picMkLst>
        </pc:picChg>
        <pc:picChg chg="mod topLvl">
          <ac:chgData name="Yash Ratanpal" userId="5db668b1-93e7-4c08-9786-4ed81315a653" providerId="ADAL" clId="{6A8CBA8A-0DFA-49E5-9129-505E1F9E8E2C}" dt="2021-07-25T11:30:50.663" v="6044" actId="1076"/>
          <ac:picMkLst>
            <pc:docMk/>
            <pc:sldMk cId="152757834" sldId="1735"/>
            <ac:picMk id="95" creationId="{B903C85B-BAF5-4215-908B-AC8EC0FBC7C3}"/>
          </ac:picMkLst>
        </pc:picChg>
        <pc:picChg chg="mod topLvl">
          <ac:chgData name="Yash Ratanpal" userId="5db668b1-93e7-4c08-9786-4ed81315a653" providerId="ADAL" clId="{6A8CBA8A-0DFA-49E5-9129-505E1F9E8E2C}" dt="2021-07-25T11:30:50.663" v="6044" actId="1076"/>
          <ac:picMkLst>
            <pc:docMk/>
            <pc:sldMk cId="152757834" sldId="1735"/>
            <ac:picMk id="96" creationId="{5B7B8832-AD36-482A-8D1C-8FC3FA8F499D}"/>
          </ac:picMkLst>
        </pc:picChg>
        <pc:picChg chg="mod topLvl">
          <ac:chgData name="Yash Ratanpal" userId="5db668b1-93e7-4c08-9786-4ed81315a653" providerId="ADAL" clId="{6A8CBA8A-0DFA-49E5-9129-505E1F9E8E2C}" dt="2021-07-25T11:30:50.663" v="6044" actId="1076"/>
          <ac:picMkLst>
            <pc:docMk/>
            <pc:sldMk cId="152757834" sldId="1735"/>
            <ac:picMk id="97" creationId="{BA3B7E6F-0AF5-49D9-AEEC-0E29915C47B0}"/>
          </ac:picMkLst>
        </pc:picChg>
        <pc:picChg chg="mod topLvl">
          <ac:chgData name="Yash Ratanpal" userId="5db668b1-93e7-4c08-9786-4ed81315a653" providerId="ADAL" clId="{6A8CBA8A-0DFA-49E5-9129-505E1F9E8E2C}" dt="2021-07-25T11:30:50.663" v="6044" actId="1076"/>
          <ac:picMkLst>
            <pc:docMk/>
            <pc:sldMk cId="152757834" sldId="1735"/>
            <ac:picMk id="105" creationId="{662BB8B1-F916-4D84-A2D6-9E1FD4D809D0}"/>
          </ac:picMkLst>
        </pc:picChg>
        <pc:cxnChg chg="add del mod">
          <ac:chgData name="Yash Ratanpal" userId="5db668b1-93e7-4c08-9786-4ed81315a653" providerId="ADAL" clId="{6A8CBA8A-0DFA-49E5-9129-505E1F9E8E2C}" dt="2021-07-25T11:22:48.270" v="5895"/>
          <ac:cxnSpMkLst>
            <pc:docMk/>
            <pc:sldMk cId="152757834" sldId="1735"/>
            <ac:cxnSpMk id="43" creationId="{158133E1-C923-428D-B25D-6636831A2521}"/>
          </ac:cxnSpMkLst>
        </pc:cxnChg>
        <pc:cxnChg chg="add del mod">
          <ac:chgData name="Yash Ratanpal" userId="5db668b1-93e7-4c08-9786-4ed81315a653" providerId="ADAL" clId="{6A8CBA8A-0DFA-49E5-9129-505E1F9E8E2C}" dt="2021-07-25T11:22:52.233" v="5898" actId="478"/>
          <ac:cxnSpMkLst>
            <pc:docMk/>
            <pc:sldMk cId="152757834" sldId="1735"/>
            <ac:cxnSpMk id="56" creationId="{E6939BD0-84F2-470D-A7B3-DE819ADA4D82}"/>
          </ac:cxnSpMkLst>
        </pc:cxnChg>
      </pc:sldChg>
      <pc:sldChg chg="add del">
        <pc:chgData name="Yash Ratanpal" userId="5db668b1-93e7-4c08-9786-4ed81315a653" providerId="ADAL" clId="{6A8CBA8A-0DFA-49E5-9129-505E1F9E8E2C}" dt="2021-07-25T11:25:05.496" v="5946" actId="2890"/>
        <pc:sldMkLst>
          <pc:docMk/>
          <pc:sldMk cId="1049048523" sldId="1736"/>
        </pc:sldMkLst>
      </pc:sldChg>
      <pc:sldMasterChg chg="del delSldLayout">
        <pc:chgData name="Yash Ratanpal" userId="5db668b1-93e7-4c08-9786-4ed81315a653" providerId="ADAL" clId="{6A8CBA8A-0DFA-49E5-9129-505E1F9E8E2C}" dt="2021-07-25T10:42:14.042" v="4530" actId="47"/>
        <pc:sldMasterMkLst>
          <pc:docMk/>
          <pc:sldMasterMk cId="821979530" sldId="2147483673"/>
        </pc:sldMasterMkLst>
        <pc:sldLayoutChg chg="del">
          <pc:chgData name="Yash Ratanpal" userId="5db668b1-93e7-4c08-9786-4ed81315a653" providerId="ADAL" clId="{6A8CBA8A-0DFA-49E5-9129-505E1F9E8E2C}" dt="2021-07-25T10:42:14.042" v="4530" actId="47"/>
          <pc:sldLayoutMkLst>
            <pc:docMk/>
            <pc:sldMasterMk cId="821979530" sldId="2147483673"/>
            <pc:sldLayoutMk cId="1354545134" sldId="2147483674"/>
          </pc:sldLayoutMkLst>
        </pc:sldLayoutChg>
        <pc:sldLayoutChg chg="del">
          <pc:chgData name="Yash Ratanpal" userId="5db668b1-93e7-4c08-9786-4ed81315a653" providerId="ADAL" clId="{6A8CBA8A-0DFA-49E5-9129-505E1F9E8E2C}" dt="2021-07-25T10:42:14.042" v="4530" actId="47"/>
          <pc:sldLayoutMkLst>
            <pc:docMk/>
            <pc:sldMasterMk cId="821979530" sldId="2147483673"/>
            <pc:sldLayoutMk cId="3317353275" sldId="214748367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aciesconsulting-my.sharepoint.com/personal/yashratanpal_acies_consulting/Documents/Documents/One%20Drive%20Repository/Actuarial%20Science/Webinar%20-%20ALM%20&amp;%20IRRBB%20IAI/IRRBB%20-%20Excel%20Model.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aciesconsulting-my.sharepoint.com/personal/yashratanpal_acies_consulting/Documents/Documents/One%20Drive%20Repository/Actuarial%20Science/Webinar%20-%20ALM%20&amp;%20IRRBB%20IAI/IRRBB%20-%20Excel%20Model.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aciesconsulting-my.sharepoint.com/personal/yashratanpal_acies_consulting/Documents/Documents/One%20Drive%20Repository/Actuarial%20Science/Webinar%20-%20ALM%20&amp;%20IRRBB%20IAI/IRRBB%20-%20Excel%20Model.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aciesconsulting-my.sharepoint.com/personal/yashratanpal_acies_consulting/Documents/Documents/One%20Drive%20Repository/Actuarial%20Science/Webinar%20-%20ALM%20&amp;%20IRRBB%20IAI/IRRBB%20Excel%20Model%20-%202.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aciesconsulting-my.sharepoint.com/personal/yashratanpal_acies_consulting/Documents/Documents/One%20Drive%20Repository/Actuarial%20Science/Webinar%20-%20ALM%20&amp;%20IRRBB%20IAI/IRRBB%20Excel%20Model%20-%202.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Parallel Shocks</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tandardized Shock Scenarios'!$A$20</c:f>
              <c:strCache>
                <c:ptCount val="1"/>
                <c:pt idx="0">
                  <c:v>Parallel Shock Up</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20:$T$20</c:f>
              <c:numCache>
                <c:formatCode>General</c:formatCode>
                <c:ptCount val="19"/>
                <c:pt idx="0">
                  <c:v>400</c:v>
                </c:pt>
                <c:pt idx="1">
                  <c:v>400</c:v>
                </c:pt>
                <c:pt idx="2">
                  <c:v>400</c:v>
                </c:pt>
                <c:pt idx="3">
                  <c:v>400</c:v>
                </c:pt>
                <c:pt idx="4">
                  <c:v>400</c:v>
                </c:pt>
                <c:pt idx="5">
                  <c:v>400</c:v>
                </c:pt>
                <c:pt idx="6">
                  <c:v>400</c:v>
                </c:pt>
                <c:pt idx="7">
                  <c:v>400</c:v>
                </c:pt>
                <c:pt idx="8">
                  <c:v>400</c:v>
                </c:pt>
                <c:pt idx="9">
                  <c:v>400</c:v>
                </c:pt>
                <c:pt idx="10">
                  <c:v>400</c:v>
                </c:pt>
                <c:pt idx="11">
                  <c:v>400</c:v>
                </c:pt>
                <c:pt idx="12">
                  <c:v>400</c:v>
                </c:pt>
                <c:pt idx="13">
                  <c:v>400</c:v>
                </c:pt>
                <c:pt idx="14">
                  <c:v>400</c:v>
                </c:pt>
                <c:pt idx="15">
                  <c:v>400</c:v>
                </c:pt>
                <c:pt idx="16">
                  <c:v>400</c:v>
                </c:pt>
                <c:pt idx="17">
                  <c:v>400</c:v>
                </c:pt>
                <c:pt idx="18">
                  <c:v>400</c:v>
                </c:pt>
              </c:numCache>
            </c:numRef>
          </c:val>
          <c:smooth val="0"/>
          <c:extLst>
            <c:ext xmlns:c16="http://schemas.microsoft.com/office/drawing/2014/chart" uri="{C3380CC4-5D6E-409C-BE32-E72D297353CC}">
              <c16:uniqueId val="{00000000-C11C-4E19-8094-8532A5317CB4}"/>
            </c:ext>
          </c:extLst>
        </c:ser>
        <c:ser>
          <c:idx val="1"/>
          <c:order val="1"/>
          <c:tx>
            <c:strRef>
              <c:f>'Standardized Shock Scenarios'!$A$13</c:f>
              <c:strCache>
                <c:ptCount val="1"/>
                <c:pt idx="0">
                  <c:v>Baseline Central</c:v>
                </c:pt>
              </c:strCache>
            </c:strRef>
          </c:tx>
          <c:spPr>
            <a:ln w="34925" cap="rnd">
              <a:solidFill>
                <a:schemeClr val="bg1"/>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3:$T$13</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1-C11C-4E19-8094-8532A5317CB4}"/>
            </c:ext>
          </c:extLst>
        </c:ser>
        <c:ser>
          <c:idx val="2"/>
          <c:order val="2"/>
          <c:tx>
            <c:strRef>
              <c:f>'Standardized Shock Scenarios'!$A$21</c:f>
              <c:strCache>
                <c:ptCount val="1"/>
                <c:pt idx="0">
                  <c:v>Parallel Shock Down</c:v>
                </c:pt>
              </c:strCache>
            </c:strRef>
          </c:tx>
          <c:spPr>
            <a:ln w="34925" cap="rnd">
              <a:solidFill>
                <a:srgbClr val="92D050"/>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21:$T$21</c:f>
              <c:numCache>
                <c:formatCode>General</c:formatCode>
                <c:ptCount val="19"/>
                <c:pt idx="0">
                  <c:v>-400</c:v>
                </c:pt>
                <c:pt idx="1">
                  <c:v>-400</c:v>
                </c:pt>
                <c:pt idx="2">
                  <c:v>-400</c:v>
                </c:pt>
                <c:pt idx="3">
                  <c:v>-400</c:v>
                </c:pt>
                <c:pt idx="4">
                  <c:v>-400</c:v>
                </c:pt>
                <c:pt idx="5">
                  <c:v>-400</c:v>
                </c:pt>
                <c:pt idx="6">
                  <c:v>-400</c:v>
                </c:pt>
                <c:pt idx="7">
                  <c:v>-400</c:v>
                </c:pt>
                <c:pt idx="8">
                  <c:v>-400</c:v>
                </c:pt>
                <c:pt idx="9">
                  <c:v>-400</c:v>
                </c:pt>
                <c:pt idx="10">
                  <c:v>-400</c:v>
                </c:pt>
                <c:pt idx="11">
                  <c:v>-400</c:v>
                </c:pt>
                <c:pt idx="12">
                  <c:v>-400</c:v>
                </c:pt>
                <c:pt idx="13">
                  <c:v>-400</c:v>
                </c:pt>
                <c:pt idx="14">
                  <c:v>-400</c:v>
                </c:pt>
                <c:pt idx="15">
                  <c:v>-400</c:v>
                </c:pt>
                <c:pt idx="16">
                  <c:v>-400</c:v>
                </c:pt>
                <c:pt idx="17">
                  <c:v>-400</c:v>
                </c:pt>
                <c:pt idx="18">
                  <c:v>-400</c:v>
                </c:pt>
              </c:numCache>
            </c:numRef>
          </c:val>
          <c:smooth val="0"/>
          <c:extLst>
            <c:ext xmlns:c16="http://schemas.microsoft.com/office/drawing/2014/chart" uri="{C3380CC4-5D6E-409C-BE32-E72D297353CC}">
              <c16:uniqueId val="{00000002-C11C-4E19-8094-8532A5317CB4}"/>
            </c:ext>
          </c:extLst>
        </c:ser>
        <c:dLbls>
          <c:showLegendKey val="0"/>
          <c:showVal val="0"/>
          <c:showCatName val="0"/>
          <c:showSerName val="0"/>
          <c:showPercent val="0"/>
          <c:showBubbleSize val="0"/>
        </c:dLbls>
        <c:smooth val="0"/>
        <c:axId val="558667128"/>
        <c:axId val="558665560"/>
      </c:lineChart>
      <c:catAx>
        <c:axId val="558667128"/>
        <c:scaling>
          <c:orientation val="minMax"/>
        </c:scaling>
        <c:delete val="0"/>
        <c:axPos val="b"/>
        <c:title>
          <c:tx>
            <c:rich>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TENOR (YEARS)</a:t>
                </a:r>
              </a:p>
            </c:rich>
          </c:tx>
          <c:overlay val="0"/>
          <c:spPr>
            <a:noFill/>
            <a:ln>
              <a:noFill/>
            </a:ln>
            <a:effectLst/>
          </c:spPr>
          <c:txPr>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58665560"/>
        <c:crosses val="autoZero"/>
        <c:auto val="1"/>
        <c:lblAlgn val="ctr"/>
        <c:lblOffset val="100"/>
        <c:noMultiLvlLbl val="0"/>
      </c:catAx>
      <c:valAx>
        <c:axId val="558665560"/>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bps shock</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586671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dirty="0"/>
              <a:t>TDRR adjusted principal</a:t>
            </a:r>
            <a:r>
              <a:rPr lang="en-IN" baseline="0" dirty="0"/>
              <a:t> run-off across IR scenarios</a:t>
            </a:r>
            <a:endParaRPr lang="en-IN" dirty="0"/>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cked"/>
        <c:varyColors val="0"/>
        <c:ser>
          <c:idx val="0"/>
          <c:order val="0"/>
          <c:tx>
            <c:strRef>
              <c:f>Visuals!$B$86</c:f>
              <c:strCache>
                <c:ptCount val="1"/>
                <c:pt idx="0">
                  <c:v>Baseline</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B$87:$B$97</c:f>
              <c:numCache>
                <c:formatCode>0.000</c:formatCode>
                <c:ptCount val="11"/>
                <c:pt idx="0">
                  <c:v>100</c:v>
                </c:pt>
                <c:pt idx="1">
                  <c:v>90</c:v>
                </c:pt>
                <c:pt idx="2">
                  <c:v>80</c:v>
                </c:pt>
                <c:pt idx="3">
                  <c:v>70</c:v>
                </c:pt>
                <c:pt idx="4">
                  <c:v>60</c:v>
                </c:pt>
                <c:pt idx="5">
                  <c:v>50</c:v>
                </c:pt>
                <c:pt idx="6">
                  <c:v>40</c:v>
                </c:pt>
                <c:pt idx="7">
                  <c:v>30</c:v>
                </c:pt>
                <c:pt idx="8">
                  <c:v>20</c:v>
                </c:pt>
                <c:pt idx="9">
                  <c:v>10</c:v>
                </c:pt>
                <c:pt idx="10">
                  <c:v>0</c:v>
                </c:pt>
              </c:numCache>
            </c:numRef>
          </c:val>
          <c:smooth val="0"/>
          <c:extLst>
            <c:ext xmlns:c16="http://schemas.microsoft.com/office/drawing/2014/chart" uri="{C3380CC4-5D6E-409C-BE32-E72D297353CC}">
              <c16:uniqueId val="{00000000-2960-4611-8BF8-33786E48D1DC}"/>
            </c:ext>
          </c:extLst>
        </c:ser>
        <c:ser>
          <c:idx val="1"/>
          <c:order val="1"/>
          <c:tx>
            <c:strRef>
              <c:f>Visuals!$C$86</c:f>
              <c:strCache>
                <c:ptCount val="1"/>
                <c:pt idx="0">
                  <c:v>Parallel-U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C$87:$C$97</c:f>
              <c:numCache>
                <c:formatCode>0.000</c:formatCode>
                <c:ptCount val="11"/>
                <c:pt idx="0">
                  <c:v>100</c:v>
                </c:pt>
                <c:pt idx="1">
                  <c:v>89.891999999999996</c:v>
                </c:pt>
                <c:pt idx="2">
                  <c:v>79.808115200000003</c:v>
                </c:pt>
                <c:pt idx="3">
                  <c:v>69.748302279040004</c:v>
                </c:pt>
                <c:pt idx="4">
                  <c:v>59.712517985404418</c:v>
                </c:pt>
                <c:pt idx="5">
                  <c:v>49.700719136518281</c:v>
                </c:pt>
                <c:pt idx="6">
                  <c:v>39.712862618843573</c:v>
                </c:pt>
                <c:pt idx="7">
                  <c:v>29.748905387775714</c:v>
                </c:pt>
                <c:pt idx="8">
                  <c:v>19.808804467540256</c:v>
                </c:pt>
                <c:pt idx="9">
                  <c:v>9.892516951089604</c:v>
                </c:pt>
                <c:pt idx="10">
                  <c:v>0</c:v>
                </c:pt>
              </c:numCache>
            </c:numRef>
          </c:val>
          <c:smooth val="0"/>
          <c:extLst>
            <c:ext xmlns:c16="http://schemas.microsoft.com/office/drawing/2014/chart" uri="{C3380CC4-5D6E-409C-BE32-E72D297353CC}">
              <c16:uniqueId val="{00000001-2960-4611-8BF8-33786E48D1DC}"/>
            </c:ext>
          </c:extLst>
        </c:ser>
        <c:ser>
          <c:idx val="2"/>
          <c:order val="2"/>
          <c:tx>
            <c:strRef>
              <c:f>Visuals!$D$86</c:f>
              <c:strCache>
                <c:ptCount val="1"/>
                <c:pt idx="0">
                  <c:v>Parallel-Down</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D$87:$D$97</c:f>
              <c:numCache>
                <c:formatCode>0.000</c:formatCode>
                <c:ptCount val="11"/>
                <c:pt idx="0">
                  <c:v>100</c:v>
                </c:pt>
                <c:pt idx="1">
                  <c:v>89.927999999999997</c:v>
                </c:pt>
                <c:pt idx="2">
                  <c:v>79.872051200000001</c:v>
                </c:pt>
                <c:pt idx="3">
                  <c:v>69.832134364159998</c:v>
                </c:pt>
                <c:pt idx="4">
                  <c:v>59.808230277144567</c:v>
                </c:pt>
                <c:pt idx="5">
                  <c:v>49.800319744102374</c:v>
                </c:pt>
                <c:pt idx="6">
                  <c:v>39.808383590645676</c:v>
                </c:pt>
                <c:pt idx="7">
                  <c:v>29.832402662829868</c:v>
                </c:pt>
                <c:pt idx="8">
                  <c:v>19.872357827133065</c:v>
                </c:pt>
                <c:pt idx="9">
                  <c:v>9.9282299704356802</c:v>
                </c:pt>
                <c:pt idx="10">
                  <c:v>0</c:v>
                </c:pt>
              </c:numCache>
            </c:numRef>
          </c:val>
          <c:smooth val="0"/>
          <c:extLst>
            <c:ext xmlns:c16="http://schemas.microsoft.com/office/drawing/2014/chart" uri="{C3380CC4-5D6E-409C-BE32-E72D297353CC}">
              <c16:uniqueId val="{00000002-2960-4611-8BF8-33786E48D1DC}"/>
            </c:ext>
          </c:extLst>
        </c:ser>
        <c:ser>
          <c:idx val="3"/>
          <c:order val="3"/>
          <c:tx>
            <c:strRef>
              <c:f>Visuals!$E$86</c:f>
              <c:strCache>
                <c:ptCount val="1"/>
                <c:pt idx="0">
                  <c:v>Steepner</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E$87:$E$97</c:f>
              <c:numCache>
                <c:formatCode>0.000</c:formatCode>
                <c:ptCount val="11"/>
                <c:pt idx="0">
                  <c:v>100</c:v>
                </c:pt>
                <c:pt idx="1">
                  <c:v>89.927999999999997</c:v>
                </c:pt>
                <c:pt idx="2">
                  <c:v>79.872051200000001</c:v>
                </c:pt>
                <c:pt idx="3">
                  <c:v>69.832134364159998</c:v>
                </c:pt>
                <c:pt idx="4">
                  <c:v>59.808230277144567</c:v>
                </c:pt>
                <c:pt idx="5">
                  <c:v>49.800319744102374</c:v>
                </c:pt>
                <c:pt idx="6">
                  <c:v>39.808383590645676</c:v>
                </c:pt>
                <c:pt idx="7">
                  <c:v>29.832402662829868</c:v>
                </c:pt>
                <c:pt idx="8">
                  <c:v>19.872357827133065</c:v>
                </c:pt>
                <c:pt idx="9">
                  <c:v>9.9282299704356802</c:v>
                </c:pt>
                <c:pt idx="10">
                  <c:v>0</c:v>
                </c:pt>
              </c:numCache>
            </c:numRef>
          </c:val>
          <c:smooth val="0"/>
          <c:extLst>
            <c:ext xmlns:c16="http://schemas.microsoft.com/office/drawing/2014/chart" uri="{C3380CC4-5D6E-409C-BE32-E72D297353CC}">
              <c16:uniqueId val="{00000003-2960-4611-8BF8-33786E48D1DC}"/>
            </c:ext>
          </c:extLst>
        </c:ser>
        <c:ser>
          <c:idx val="4"/>
          <c:order val="4"/>
          <c:tx>
            <c:strRef>
              <c:f>Visuals!$F$86</c:f>
              <c:strCache>
                <c:ptCount val="1"/>
                <c:pt idx="0">
                  <c:v>Flattener</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F$87:$F$97</c:f>
              <c:numCache>
                <c:formatCode>0.000</c:formatCode>
                <c:ptCount val="11"/>
                <c:pt idx="0">
                  <c:v>100</c:v>
                </c:pt>
                <c:pt idx="1">
                  <c:v>89.891999999999996</c:v>
                </c:pt>
                <c:pt idx="2">
                  <c:v>79.808115200000003</c:v>
                </c:pt>
                <c:pt idx="3">
                  <c:v>69.748302279040004</c:v>
                </c:pt>
                <c:pt idx="4">
                  <c:v>59.712517985404418</c:v>
                </c:pt>
                <c:pt idx="5">
                  <c:v>49.700719136518281</c:v>
                </c:pt>
                <c:pt idx="6">
                  <c:v>39.712862618843573</c:v>
                </c:pt>
                <c:pt idx="7">
                  <c:v>29.748905387775714</c:v>
                </c:pt>
                <c:pt idx="8">
                  <c:v>19.808804467540256</c:v>
                </c:pt>
                <c:pt idx="9">
                  <c:v>9.892516951089604</c:v>
                </c:pt>
                <c:pt idx="10">
                  <c:v>0</c:v>
                </c:pt>
              </c:numCache>
            </c:numRef>
          </c:val>
          <c:smooth val="0"/>
          <c:extLst>
            <c:ext xmlns:c16="http://schemas.microsoft.com/office/drawing/2014/chart" uri="{C3380CC4-5D6E-409C-BE32-E72D297353CC}">
              <c16:uniqueId val="{00000004-2960-4611-8BF8-33786E48D1DC}"/>
            </c:ext>
          </c:extLst>
        </c:ser>
        <c:ser>
          <c:idx val="5"/>
          <c:order val="5"/>
          <c:tx>
            <c:strRef>
              <c:f>Visuals!$G$86</c:f>
              <c:strCache>
                <c:ptCount val="1"/>
                <c:pt idx="0">
                  <c:v>Short rate up</c:v>
                </c:pt>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G$87:$G$97</c:f>
              <c:numCache>
                <c:formatCode>0.000</c:formatCode>
                <c:ptCount val="11"/>
                <c:pt idx="0">
                  <c:v>100</c:v>
                </c:pt>
                <c:pt idx="1">
                  <c:v>89.891999999999996</c:v>
                </c:pt>
                <c:pt idx="2">
                  <c:v>79.808115200000003</c:v>
                </c:pt>
                <c:pt idx="3">
                  <c:v>69.748302279040004</c:v>
                </c:pt>
                <c:pt idx="4">
                  <c:v>59.712517985404418</c:v>
                </c:pt>
                <c:pt idx="5">
                  <c:v>49.700719136518281</c:v>
                </c:pt>
                <c:pt idx="6">
                  <c:v>39.712862618843573</c:v>
                </c:pt>
                <c:pt idx="7">
                  <c:v>29.748905387775714</c:v>
                </c:pt>
                <c:pt idx="8">
                  <c:v>19.808804467540256</c:v>
                </c:pt>
                <c:pt idx="9">
                  <c:v>9.892516951089604</c:v>
                </c:pt>
                <c:pt idx="10">
                  <c:v>0</c:v>
                </c:pt>
              </c:numCache>
            </c:numRef>
          </c:val>
          <c:smooth val="0"/>
          <c:extLst>
            <c:ext xmlns:c16="http://schemas.microsoft.com/office/drawing/2014/chart" uri="{C3380CC4-5D6E-409C-BE32-E72D297353CC}">
              <c16:uniqueId val="{00000005-2960-4611-8BF8-33786E48D1DC}"/>
            </c:ext>
          </c:extLst>
        </c:ser>
        <c:ser>
          <c:idx val="6"/>
          <c:order val="6"/>
          <c:tx>
            <c:strRef>
              <c:f>Visuals!$H$86</c:f>
              <c:strCache>
                <c:ptCount val="1"/>
                <c:pt idx="0">
                  <c:v>Short rate down</c:v>
                </c:pt>
              </c:strCache>
            </c:strRef>
          </c:tx>
          <c:spPr>
            <a:ln w="34925" cap="rnd">
              <a:solidFill>
                <a:schemeClr val="accent1">
                  <a:lumMod val="60000"/>
                </a:schemeClr>
              </a:solidFill>
              <a:round/>
            </a:ln>
            <a:effectLst>
              <a:outerShdw blurRad="57150" dist="19050" dir="5400000" algn="ctr" rotWithShape="0">
                <a:srgbClr val="000000">
                  <a:alpha val="63000"/>
                </a:srgbClr>
              </a:outerShdw>
            </a:effectLst>
          </c:spPr>
          <c:marker>
            <c:symbol val="none"/>
          </c:marker>
          <c:cat>
            <c:numRef>
              <c:f>Visuals!$A$87:$A$97</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H$87:$H$97</c:f>
              <c:numCache>
                <c:formatCode>0.000</c:formatCode>
                <c:ptCount val="11"/>
                <c:pt idx="0">
                  <c:v>100</c:v>
                </c:pt>
                <c:pt idx="1">
                  <c:v>89.927999999999997</c:v>
                </c:pt>
                <c:pt idx="2">
                  <c:v>79.872051200000001</c:v>
                </c:pt>
                <c:pt idx="3">
                  <c:v>69.832134364159998</c:v>
                </c:pt>
                <c:pt idx="4">
                  <c:v>59.808230277144567</c:v>
                </c:pt>
                <c:pt idx="5">
                  <c:v>49.800319744102374</c:v>
                </c:pt>
                <c:pt idx="6">
                  <c:v>39.808383590645676</c:v>
                </c:pt>
                <c:pt idx="7">
                  <c:v>29.832402662829868</c:v>
                </c:pt>
                <c:pt idx="8">
                  <c:v>19.872357827133065</c:v>
                </c:pt>
                <c:pt idx="9">
                  <c:v>9.9282299704356802</c:v>
                </c:pt>
                <c:pt idx="10">
                  <c:v>0</c:v>
                </c:pt>
              </c:numCache>
            </c:numRef>
          </c:val>
          <c:smooth val="0"/>
          <c:extLst>
            <c:ext xmlns:c16="http://schemas.microsoft.com/office/drawing/2014/chart" uri="{C3380CC4-5D6E-409C-BE32-E72D297353CC}">
              <c16:uniqueId val="{00000006-2960-4611-8BF8-33786E48D1DC}"/>
            </c:ext>
          </c:extLst>
        </c:ser>
        <c:dLbls>
          <c:showLegendKey val="0"/>
          <c:showVal val="0"/>
          <c:showCatName val="0"/>
          <c:showSerName val="0"/>
          <c:showPercent val="0"/>
          <c:showBubbleSize val="0"/>
        </c:dLbls>
        <c:smooth val="0"/>
        <c:axId val="2048669744"/>
        <c:axId val="2048658096"/>
      </c:lineChart>
      <c:dateAx>
        <c:axId val="2048669744"/>
        <c:scaling>
          <c:orientation val="minMax"/>
        </c:scaling>
        <c:delete val="1"/>
        <c:axPos val="b"/>
        <c:numFmt formatCode="d\-mmm\-yy" sourceLinked="1"/>
        <c:majorTickMark val="out"/>
        <c:minorTickMark val="none"/>
        <c:tickLblPos val="nextTo"/>
        <c:crossAx val="2048658096"/>
        <c:crosses val="autoZero"/>
        <c:auto val="1"/>
        <c:lblOffset val="100"/>
        <c:baseTimeUnit val="months"/>
      </c:dateAx>
      <c:valAx>
        <c:axId val="2048658096"/>
        <c:scaling>
          <c:orientation val="minMax"/>
        </c:scaling>
        <c:delete val="1"/>
        <c:axPos val="l"/>
        <c:majorGridlines>
          <c:spPr>
            <a:ln w="9525" cap="flat" cmpd="sng" algn="ctr">
              <a:solidFill>
                <a:schemeClr val="lt1">
                  <a:lumMod val="95000"/>
                  <a:alpha val="10000"/>
                </a:schemeClr>
              </a:solidFill>
              <a:round/>
            </a:ln>
            <a:effectLst/>
          </c:spPr>
        </c:majorGridlines>
        <c:numFmt formatCode="0.000" sourceLinked="1"/>
        <c:majorTickMark val="none"/>
        <c:minorTickMark val="none"/>
        <c:tickLblPos val="nextTo"/>
        <c:crossAx val="2048669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Baseline Scenario</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Bucketing!$A$7</c:f>
              <c:strCache>
                <c:ptCount val="1"/>
                <c:pt idx="0">
                  <c:v>Asset Cashflow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7:$N$7</c:f>
              <c:numCache>
                <c:formatCode>0.000</c:formatCode>
                <c:ptCount val="13"/>
                <c:pt idx="0">
                  <c:v>100</c:v>
                </c:pt>
                <c:pt idx="1">
                  <c:v>110</c:v>
                </c:pt>
                <c:pt idx="2">
                  <c:v>95</c:v>
                </c:pt>
                <c:pt idx="3">
                  <c:v>85</c:v>
                </c:pt>
                <c:pt idx="4">
                  <c:v>70</c:v>
                </c:pt>
                <c:pt idx="5">
                  <c:v>65</c:v>
                </c:pt>
                <c:pt idx="6">
                  <c:v>125</c:v>
                </c:pt>
                <c:pt idx="7">
                  <c:v>130</c:v>
                </c:pt>
                <c:pt idx="8">
                  <c:v>135</c:v>
                </c:pt>
                <c:pt idx="9">
                  <c:v>180</c:v>
                </c:pt>
                <c:pt idx="10">
                  <c:v>250</c:v>
                </c:pt>
                <c:pt idx="11">
                  <c:v>300</c:v>
                </c:pt>
                <c:pt idx="12">
                  <c:v>350</c:v>
                </c:pt>
              </c:numCache>
            </c:numRef>
          </c:val>
          <c:extLst>
            <c:ext xmlns:c16="http://schemas.microsoft.com/office/drawing/2014/chart" uri="{C3380CC4-5D6E-409C-BE32-E72D297353CC}">
              <c16:uniqueId val="{00000000-A761-4BF5-9D5D-342E36C3C3DD}"/>
            </c:ext>
          </c:extLst>
        </c:ser>
        <c:ser>
          <c:idx val="1"/>
          <c:order val="1"/>
          <c:tx>
            <c:strRef>
              <c:f>Bucketing!$A$8</c:f>
              <c:strCache>
                <c:ptCount val="1"/>
                <c:pt idx="0">
                  <c:v>Liability Cashflow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8:$N$8</c:f>
              <c:numCache>
                <c:formatCode>0.000</c:formatCode>
                <c:ptCount val="13"/>
                <c:pt idx="0">
                  <c:v>-90</c:v>
                </c:pt>
                <c:pt idx="1">
                  <c:v>-99</c:v>
                </c:pt>
                <c:pt idx="2">
                  <c:v>-85.5</c:v>
                </c:pt>
                <c:pt idx="3">
                  <c:v>-76.5</c:v>
                </c:pt>
                <c:pt idx="4">
                  <c:v>-63</c:v>
                </c:pt>
                <c:pt idx="5">
                  <c:v>-58.5</c:v>
                </c:pt>
                <c:pt idx="6">
                  <c:v>-112.5</c:v>
                </c:pt>
                <c:pt idx="7">
                  <c:v>-117</c:v>
                </c:pt>
                <c:pt idx="8">
                  <c:v>-121.5</c:v>
                </c:pt>
                <c:pt idx="9">
                  <c:v>-162</c:v>
                </c:pt>
                <c:pt idx="10">
                  <c:v>-225</c:v>
                </c:pt>
                <c:pt idx="11">
                  <c:v>-270</c:v>
                </c:pt>
                <c:pt idx="12">
                  <c:v>-315</c:v>
                </c:pt>
              </c:numCache>
            </c:numRef>
          </c:val>
          <c:extLst>
            <c:ext xmlns:c16="http://schemas.microsoft.com/office/drawing/2014/chart" uri="{C3380CC4-5D6E-409C-BE32-E72D297353CC}">
              <c16:uniqueId val="{00000001-A761-4BF5-9D5D-342E36C3C3DD}"/>
            </c:ext>
          </c:extLst>
        </c:ser>
        <c:dLbls>
          <c:showLegendKey val="0"/>
          <c:showVal val="0"/>
          <c:showCatName val="0"/>
          <c:showSerName val="0"/>
          <c:showPercent val="0"/>
          <c:showBubbleSize val="0"/>
        </c:dLbls>
        <c:gapWidth val="150"/>
        <c:overlap val="100"/>
        <c:axId val="534485376"/>
        <c:axId val="534486624"/>
      </c:barChart>
      <c:catAx>
        <c:axId val="53448537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6624"/>
        <c:crosses val="autoZero"/>
        <c:auto val="1"/>
        <c:lblAlgn val="ctr"/>
        <c:lblOffset val="100"/>
        <c:noMultiLvlLbl val="0"/>
      </c:catAx>
      <c:valAx>
        <c:axId val="534486624"/>
        <c:scaling>
          <c:orientation val="minMax"/>
          <c:max val="400"/>
          <c:min val="-400"/>
        </c:scaling>
        <c:delete val="0"/>
        <c:axPos val="l"/>
        <c:majorGridlines>
          <c:spPr>
            <a:ln w="9525" cap="flat" cmpd="sng" algn="ctr">
              <a:solidFill>
                <a:schemeClr val="lt1">
                  <a:lumMod val="95000"/>
                  <a:alpha val="10000"/>
                </a:schemeClr>
              </a:solidFill>
              <a:round/>
            </a:ln>
            <a:effectLst/>
          </c:spPr>
        </c:majorGridlines>
        <c:numFmt formatCode="0.0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5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Parallel-Up Scenario</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Bucketing!$A$7</c:f>
              <c:strCache>
                <c:ptCount val="1"/>
                <c:pt idx="0">
                  <c:v>Asset Cashflow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16:$N$16</c:f>
              <c:numCache>
                <c:formatCode>0.000</c:formatCode>
                <c:ptCount val="13"/>
                <c:pt idx="0">
                  <c:v>120</c:v>
                </c:pt>
                <c:pt idx="1">
                  <c:v>132</c:v>
                </c:pt>
                <c:pt idx="2">
                  <c:v>114</c:v>
                </c:pt>
                <c:pt idx="3">
                  <c:v>102</c:v>
                </c:pt>
                <c:pt idx="4">
                  <c:v>84</c:v>
                </c:pt>
                <c:pt idx="5">
                  <c:v>78</c:v>
                </c:pt>
                <c:pt idx="6">
                  <c:v>150</c:v>
                </c:pt>
                <c:pt idx="7">
                  <c:v>156</c:v>
                </c:pt>
                <c:pt idx="8">
                  <c:v>162</c:v>
                </c:pt>
                <c:pt idx="9">
                  <c:v>216</c:v>
                </c:pt>
                <c:pt idx="10">
                  <c:v>300</c:v>
                </c:pt>
                <c:pt idx="11">
                  <c:v>360</c:v>
                </c:pt>
                <c:pt idx="12">
                  <c:v>420</c:v>
                </c:pt>
              </c:numCache>
            </c:numRef>
          </c:val>
          <c:extLst>
            <c:ext xmlns:c16="http://schemas.microsoft.com/office/drawing/2014/chart" uri="{C3380CC4-5D6E-409C-BE32-E72D297353CC}">
              <c16:uniqueId val="{00000000-06E9-4CCC-BD85-0A3FFA54A928}"/>
            </c:ext>
          </c:extLst>
        </c:ser>
        <c:ser>
          <c:idx val="1"/>
          <c:order val="1"/>
          <c:tx>
            <c:strRef>
              <c:f>Bucketing!$A$8</c:f>
              <c:strCache>
                <c:ptCount val="1"/>
                <c:pt idx="0">
                  <c:v>Liability Cashflow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17:$N$17</c:f>
              <c:numCache>
                <c:formatCode>0.000</c:formatCode>
                <c:ptCount val="13"/>
                <c:pt idx="0">
                  <c:v>-85.5</c:v>
                </c:pt>
                <c:pt idx="1">
                  <c:v>-94.05</c:v>
                </c:pt>
                <c:pt idx="2">
                  <c:v>-81.224999999999994</c:v>
                </c:pt>
                <c:pt idx="3">
                  <c:v>-72.674999999999997</c:v>
                </c:pt>
                <c:pt idx="4">
                  <c:v>-59.849999999999994</c:v>
                </c:pt>
                <c:pt idx="5">
                  <c:v>-55.574999999999996</c:v>
                </c:pt>
                <c:pt idx="6">
                  <c:v>-106.875</c:v>
                </c:pt>
                <c:pt idx="7">
                  <c:v>-111.14999999999999</c:v>
                </c:pt>
                <c:pt idx="8">
                  <c:v>-115.425</c:v>
                </c:pt>
                <c:pt idx="9">
                  <c:v>-153.9</c:v>
                </c:pt>
                <c:pt idx="10">
                  <c:v>-213.75</c:v>
                </c:pt>
                <c:pt idx="11">
                  <c:v>-256.5</c:v>
                </c:pt>
                <c:pt idx="12">
                  <c:v>-299.25</c:v>
                </c:pt>
              </c:numCache>
            </c:numRef>
          </c:val>
          <c:extLst>
            <c:ext xmlns:c16="http://schemas.microsoft.com/office/drawing/2014/chart" uri="{C3380CC4-5D6E-409C-BE32-E72D297353CC}">
              <c16:uniqueId val="{00000001-06E9-4CCC-BD85-0A3FFA54A928}"/>
            </c:ext>
          </c:extLst>
        </c:ser>
        <c:dLbls>
          <c:showLegendKey val="0"/>
          <c:showVal val="0"/>
          <c:showCatName val="0"/>
          <c:showSerName val="0"/>
          <c:showPercent val="0"/>
          <c:showBubbleSize val="0"/>
        </c:dLbls>
        <c:gapWidth val="150"/>
        <c:overlap val="100"/>
        <c:axId val="534485376"/>
        <c:axId val="534486624"/>
      </c:barChart>
      <c:catAx>
        <c:axId val="53448537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6624"/>
        <c:crosses val="autoZero"/>
        <c:auto val="1"/>
        <c:lblAlgn val="ctr"/>
        <c:lblOffset val="100"/>
        <c:noMultiLvlLbl val="0"/>
      </c:catAx>
      <c:valAx>
        <c:axId val="534486624"/>
        <c:scaling>
          <c:orientation val="minMax"/>
          <c:max val="400"/>
          <c:min val="-400"/>
        </c:scaling>
        <c:delete val="0"/>
        <c:axPos val="l"/>
        <c:majorGridlines>
          <c:spPr>
            <a:ln w="9525" cap="flat" cmpd="sng" algn="ctr">
              <a:solidFill>
                <a:schemeClr val="lt1">
                  <a:lumMod val="95000"/>
                  <a:alpha val="10000"/>
                </a:schemeClr>
              </a:solidFill>
              <a:round/>
            </a:ln>
            <a:effectLst/>
          </c:spPr>
        </c:majorGridlines>
        <c:numFmt formatCode="0.0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5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Parallel-Down Scenario</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Bucketing!$A$7</c:f>
              <c:strCache>
                <c:ptCount val="1"/>
                <c:pt idx="0">
                  <c:v>Asset Cashflow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25:$N$25</c:f>
              <c:numCache>
                <c:formatCode>0.000</c:formatCode>
                <c:ptCount val="13"/>
                <c:pt idx="0">
                  <c:v>85</c:v>
                </c:pt>
                <c:pt idx="1">
                  <c:v>93.5</c:v>
                </c:pt>
                <c:pt idx="2">
                  <c:v>80.75</c:v>
                </c:pt>
                <c:pt idx="3">
                  <c:v>72.25</c:v>
                </c:pt>
                <c:pt idx="4">
                  <c:v>59.5</c:v>
                </c:pt>
                <c:pt idx="5">
                  <c:v>55.25</c:v>
                </c:pt>
                <c:pt idx="6">
                  <c:v>106.25</c:v>
                </c:pt>
                <c:pt idx="7">
                  <c:v>110.5</c:v>
                </c:pt>
                <c:pt idx="8">
                  <c:v>114.75</c:v>
                </c:pt>
                <c:pt idx="9">
                  <c:v>153</c:v>
                </c:pt>
                <c:pt idx="10">
                  <c:v>212.5</c:v>
                </c:pt>
                <c:pt idx="11">
                  <c:v>255</c:v>
                </c:pt>
                <c:pt idx="12">
                  <c:v>297.5</c:v>
                </c:pt>
              </c:numCache>
            </c:numRef>
          </c:val>
          <c:extLst>
            <c:ext xmlns:c16="http://schemas.microsoft.com/office/drawing/2014/chart" uri="{C3380CC4-5D6E-409C-BE32-E72D297353CC}">
              <c16:uniqueId val="{00000000-3FCB-45CC-BF6E-8C8C11CAD52B}"/>
            </c:ext>
          </c:extLst>
        </c:ser>
        <c:ser>
          <c:idx val="1"/>
          <c:order val="1"/>
          <c:tx>
            <c:strRef>
              <c:f>Bucketing!$A$8</c:f>
              <c:strCache>
                <c:ptCount val="1"/>
                <c:pt idx="0">
                  <c:v>Liability Cashflow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Bucke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Bucketing!$B$26:$N$26</c:f>
              <c:numCache>
                <c:formatCode>0.000</c:formatCode>
                <c:ptCount val="13"/>
                <c:pt idx="0">
                  <c:v>-108</c:v>
                </c:pt>
                <c:pt idx="1">
                  <c:v>-118.8</c:v>
                </c:pt>
                <c:pt idx="2">
                  <c:v>-102.6</c:v>
                </c:pt>
                <c:pt idx="3">
                  <c:v>-91.8</c:v>
                </c:pt>
                <c:pt idx="4">
                  <c:v>-75.599999999999994</c:v>
                </c:pt>
                <c:pt idx="5">
                  <c:v>-70.2</c:v>
                </c:pt>
                <c:pt idx="6">
                  <c:v>-135</c:v>
                </c:pt>
                <c:pt idx="7">
                  <c:v>-140.4</c:v>
                </c:pt>
                <c:pt idx="8">
                  <c:v>-145.79999999999998</c:v>
                </c:pt>
                <c:pt idx="9">
                  <c:v>-194.4</c:v>
                </c:pt>
                <c:pt idx="10">
                  <c:v>-270</c:v>
                </c:pt>
                <c:pt idx="11">
                  <c:v>-324</c:v>
                </c:pt>
                <c:pt idx="12">
                  <c:v>-378</c:v>
                </c:pt>
              </c:numCache>
            </c:numRef>
          </c:val>
          <c:extLst>
            <c:ext xmlns:c16="http://schemas.microsoft.com/office/drawing/2014/chart" uri="{C3380CC4-5D6E-409C-BE32-E72D297353CC}">
              <c16:uniqueId val="{00000001-3FCB-45CC-BF6E-8C8C11CAD52B}"/>
            </c:ext>
          </c:extLst>
        </c:ser>
        <c:dLbls>
          <c:showLegendKey val="0"/>
          <c:showVal val="0"/>
          <c:showCatName val="0"/>
          <c:showSerName val="0"/>
          <c:showPercent val="0"/>
          <c:showBubbleSize val="0"/>
        </c:dLbls>
        <c:gapWidth val="150"/>
        <c:overlap val="100"/>
        <c:axId val="534485376"/>
        <c:axId val="534486624"/>
      </c:barChart>
      <c:catAx>
        <c:axId val="534485376"/>
        <c:scaling>
          <c:orientation val="minMax"/>
        </c:scaling>
        <c:delete val="0"/>
        <c:axPos val="b"/>
        <c:numFmt formatCode="General" sourceLinked="1"/>
        <c:majorTickMark val="none"/>
        <c:minorTickMark val="none"/>
        <c:tickLblPos val="low"/>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6624"/>
        <c:crosses val="autoZero"/>
        <c:auto val="1"/>
        <c:lblAlgn val="ctr"/>
        <c:lblOffset val="100"/>
        <c:noMultiLvlLbl val="0"/>
      </c:catAx>
      <c:valAx>
        <c:axId val="534486624"/>
        <c:scaling>
          <c:orientation val="minMax"/>
          <c:max val="400"/>
          <c:min val="-400"/>
        </c:scaling>
        <c:delete val="0"/>
        <c:axPos val="l"/>
        <c:majorGridlines>
          <c:spPr>
            <a:ln w="9525" cap="flat" cmpd="sng" algn="ctr">
              <a:solidFill>
                <a:schemeClr val="lt1">
                  <a:lumMod val="95000"/>
                  <a:alpha val="10000"/>
                </a:schemeClr>
              </a:solidFill>
              <a:round/>
            </a:ln>
            <a:effectLst/>
          </c:spPr>
        </c:majorGridlines>
        <c:numFmt formatCode="0.000" sourceLinked="1"/>
        <c:majorTickMark val="none"/>
        <c:minorTickMark val="none"/>
        <c:tickLblPos val="low"/>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34485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Projected</a:t>
            </a:r>
            <a:r>
              <a:rPr lang="en-IN" baseline="0"/>
              <a:t> Discount Rates</a:t>
            </a:r>
            <a:endParaRPr lang="en-IN"/>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v>Baseline</c:v>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8:$N$8</c:f>
              <c:numCache>
                <c:formatCode>0.00%</c:formatCode>
                <c:ptCount val="13"/>
                <c:pt idx="0" formatCode="0%">
                  <c:v>0.05</c:v>
                </c:pt>
                <c:pt idx="1">
                  <c:v>5.3000000000000005E-2</c:v>
                </c:pt>
                <c:pt idx="2">
                  <c:v>5.6000000000000008E-2</c:v>
                </c:pt>
                <c:pt idx="3">
                  <c:v>5.9000000000000011E-2</c:v>
                </c:pt>
                <c:pt idx="4">
                  <c:v>6.2000000000000013E-2</c:v>
                </c:pt>
                <c:pt idx="5">
                  <c:v>6.5000000000000016E-2</c:v>
                </c:pt>
                <c:pt idx="6">
                  <c:v>6.8000000000000019E-2</c:v>
                </c:pt>
                <c:pt idx="7">
                  <c:v>7.1000000000000021E-2</c:v>
                </c:pt>
                <c:pt idx="8">
                  <c:v>7.4000000000000024E-2</c:v>
                </c:pt>
                <c:pt idx="9">
                  <c:v>7.7000000000000027E-2</c:v>
                </c:pt>
                <c:pt idx="10">
                  <c:v>8.0000000000000029E-2</c:v>
                </c:pt>
                <c:pt idx="11">
                  <c:v>8.3000000000000032E-2</c:v>
                </c:pt>
                <c:pt idx="12">
                  <c:v>8.6000000000000035E-2</c:v>
                </c:pt>
              </c:numCache>
            </c:numRef>
          </c:val>
          <c:smooth val="0"/>
          <c:extLst>
            <c:ext xmlns:c16="http://schemas.microsoft.com/office/drawing/2014/chart" uri="{C3380CC4-5D6E-409C-BE32-E72D297353CC}">
              <c16:uniqueId val="{00000000-F664-4EBC-A4E9-539599A0A6AB}"/>
            </c:ext>
          </c:extLst>
        </c:ser>
        <c:ser>
          <c:idx val="1"/>
          <c:order val="1"/>
          <c:tx>
            <c:v>Parallel-Up</c:v>
          </c:tx>
          <c:spPr>
            <a:ln w="34925" cap="rnd">
              <a:solidFill>
                <a:schemeClr val="accent2"/>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18:$N$18</c:f>
              <c:numCache>
                <c:formatCode>0.00%</c:formatCode>
                <c:ptCount val="13"/>
                <c:pt idx="0">
                  <c:v>6.5000000000000002E-2</c:v>
                </c:pt>
                <c:pt idx="1">
                  <c:v>6.8000000000000005E-2</c:v>
                </c:pt>
                <c:pt idx="2">
                  <c:v>7.1000000000000008E-2</c:v>
                </c:pt>
                <c:pt idx="3">
                  <c:v>7.400000000000001E-2</c:v>
                </c:pt>
                <c:pt idx="4">
                  <c:v>7.7000000000000013E-2</c:v>
                </c:pt>
                <c:pt idx="5">
                  <c:v>8.0000000000000016E-2</c:v>
                </c:pt>
                <c:pt idx="6">
                  <c:v>8.3000000000000018E-2</c:v>
                </c:pt>
                <c:pt idx="7">
                  <c:v>8.6000000000000021E-2</c:v>
                </c:pt>
                <c:pt idx="8">
                  <c:v>8.9000000000000024E-2</c:v>
                </c:pt>
                <c:pt idx="9">
                  <c:v>9.2000000000000026E-2</c:v>
                </c:pt>
                <c:pt idx="10">
                  <c:v>9.5000000000000029E-2</c:v>
                </c:pt>
                <c:pt idx="11">
                  <c:v>9.8000000000000032E-2</c:v>
                </c:pt>
                <c:pt idx="12">
                  <c:v>0.10100000000000003</c:v>
                </c:pt>
              </c:numCache>
            </c:numRef>
          </c:val>
          <c:smooth val="0"/>
          <c:extLst>
            <c:ext xmlns:c16="http://schemas.microsoft.com/office/drawing/2014/chart" uri="{C3380CC4-5D6E-409C-BE32-E72D297353CC}">
              <c16:uniqueId val="{00000001-F664-4EBC-A4E9-539599A0A6AB}"/>
            </c:ext>
          </c:extLst>
        </c:ser>
        <c:ser>
          <c:idx val="2"/>
          <c:order val="2"/>
          <c:tx>
            <c:v>Parallel-Down</c:v>
          </c:tx>
          <c:spPr>
            <a:ln w="34925" cap="rnd">
              <a:solidFill>
                <a:schemeClr val="accent3"/>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28:$N$28</c:f>
              <c:numCache>
                <c:formatCode>0.000%</c:formatCode>
                <c:ptCount val="13"/>
                <c:pt idx="0">
                  <c:v>3.5000000000000003E-2</c:v>
                </c:pt>
                <c:pt idx="1">
                  <c:v>3.8000000000000006E-2</c:v>
                </c:pt>
                <c:pt idx="2">
                  <c:v>4.1000000000000009E-2</c:v>
                </c:pt>
                <c:pt idx="3">
                  <c:v>4.4000000000000011E-2</c:v>
                </c:pt>
                <c:pt idx="4">
                  <c:v>4.7000000000000014E-2</c:v>
                </c:pt>
                <c:pt idx="5">
                  <c:v>5.0000000000000017E-2</c:v>
                </c:pt>
                <c:pt idx="6">
                  <c:v>5.3000000000000019E-2</c:v>
                </c:pt>
                <c:pt idx="7">
                  <c:v>5.6000000000000022E-2</c:v>
                </c:pt>
                <c:pt idx="8">
                  <c:v>5.9000000000000025E-2</c:v>
                </c:pt>
                <c:pt idx="9">
                  <c:v>6.2000000000000027E-2</c:v>
                </c:pt>
                <c:pt idx="10">
                  <c:v>6.500000000000003E-2</c:v>
                </c:pt>
                <c:pt idx="11">
                  <c:v>6.8000000000000033E-2</c:v>
                </c:pt>
                <c:pt idx="12">
                  <c:v>7.1000000000000035E-2</c:v>
                </c:pt>
              </c:numCache>
            </c:numRef>
          </c:val>
          <c:smooth val="0"/>
          <c:extLst>
            <c:ext xmlns:c16="http://schemas.microsoft.com/office/drawing/2014/chart" uri="{C3380CC4-5D6E-409C-BE32-E72D297353CC}">
              <c16:uniqueId val="{00000002-F664-4EBC-A4E9-539599A0A6AB}"/>
            </c:ext>
          </c:extLst>
        </c:ser>
        <c:dLbls>
          <c:showLegendKey val="0"/>
          <c:showVal val="0"/>
          <c:showCatName val="0"/>
          <c:showSerName val="0"/>
          <c:showPercent val="0"/>
          <c:showBubbleSize val="0"/>
        </c:dLbls>
        <c:smooth val="0"/>
        <c:axId val="779861824"/>
        <c:axId val="779863072"/>
      </c:lineChart>
      <c:catAx>
        <c:axId val="779861824"/>
        <c:scaling>
          <c:orientation val="minMax"/>
        </c:scaling>
        <c:delete val="0"/>
        <c:axPos val="b"/>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79863072"/>
        <c:crosses val="autoZero"/>
        <c:auto val="1"/>
        <c:lblAlgn val="ctr"/>
        <c:lblOffset val="100"/>
        <c:noMultiLvlLbl val="0"/>
      </c:catAx>
      <c:valAx>
        <c:axId val="779863072"/>
        <c:scaling>
          <c:orientation val="minMax"/>
        </c:scaling>
        <c:delete val="0"/>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79861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Projected</a:t>
            </a:r>
            <a:r>
              <a:rPr lang="en-IN" baseline="0"/>
              <a:t> Discount Factors</a:t>
            </a:r>
            <a:endParaRPr lang="en-IN"/>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v>Baseline</c:v>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9:$N$9</c:f>
              <c:numCache>
                <c:formatCode>0.0000</c:formatCode>
                <c:ptCount val="13"/>
                <c:pt idx="0">
                  <c:v>0.9998600097995427</c:v>
                </c:pt>
                <c:pt idx="1">
                  <c:v>0.99779234047277765</c:v>
                </c:pt>
                <c:pt idx="2">
                  <c:v>0.99070823770787142</c:v>
                </c:pt>
                <c:pt idx="3">
                  <c:v>0.97811796266401208</c:v>
                </c:pt>
                <c:pt idx="4">
                  <c:v>0.96199117688086766</c:v>
                </c:pt>
                <c:pt idx="5">
                  <c:v>0.94471215100514283</c:v>
                </c:pt>
                <c:pt idx="6">
                  <c:v>0.84366481659638359</c:v>
                </c:pt>
                <c:pt idx="7">
                  <c:v>0.77996986083513264</c:v>
                </c:pt>
                <c:pt idx="8">
                  <c:v>0.71677019415569887</c:v>
                </c:pt>
                <c:pt idx="9">
                  <c:v>0.56129986362319129</c:v>
                </c:pt>
                <c:pt idx="10">
                  <c:v>0.36787944117144217</c:v>
                </c:pt>
                <c:pt idx="11">
                  <c:v>0.23398459479523478</c:v>
                </c:pt>
                <c:pt idx="12">
                  <c:v>0.11648415777349687</c:v>
                </c:pt>
              </c:numCache>
            </c:numRef>
          </c:val>
          <c:smooth val="0"/>
          <c:extLst>
            <c:ext xmlns:c16="http://schemas.microsoft.com/office/drawing/2014/chart" uri="{C3380CC4-5D6E-409C-BE32-E72D297353CC}">
              <c16:uniqueId val="{00000000-7E34-4A85-8774-6276E22BDB23}"/>
            </c:ext>
          </c:extLst>
        </c:ser>
        <c:ser>
          <c:idx val="1"/>
          <c:order val="1"/>
          <c:tx>
            <c:v>Parallel-Up</c:v>
          </c:tx>
          <c:spPr>
            <a:ln w="34925" cap="rnd">
              <a:solidFill>
                <a:schemeClr val="accent2"/>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19:$N$19</c:f>
              <c:numCache>
                <c:formatCode>0.0000</c:formatCode>
                <c:ptCount val="13"/>
                <c:pt idx="0">
                  <c:v>0.99981801656099534</c:v>
                </c:pt>
                <c:pt idx="1">
                  <c:v>0.99716841651637178</c:v>
                </c:pt>
                <c:pt idx="2">
                  <c:v>0.98823406638133016</c:v>
                </c:pt>
                <c:pt idx="3">
                  <c:v>0.97263149428261608</c:v>
                </c:pt>
                <c:pt idx="4">
                  <c:v>0.95301465280016751</c:v>
                </c:pt>
                <c:pt idx="5">
                  <c:v>0.93239381990594827</c:v>
                </c:pt>
                <c:pt idx="6">
                  <c:v>0.81261324177309768</c:v>
                </c:pt>
                <c:pt idx="7">
                  <c:v>0.74007777274670761</c:v>
                </c:pt>
                <c:pt idx="8">
                  <c:v>0.66998496978866395</c:v>
                </c:pt>
                <c:pt idx="9">
                  <c:v>0.50157606906605545</c:v>
                </c:pt>
                <c:pt idx="10">
                  <c:v>0.30498276871105917</c:v>
                </c:pt>
                <c:pt idx="11">
                  <c:v>0.17996372071311209</c:v>
                </c:pt>
                <c:pt idx="12">
                  <c:v>8.0058312786720473E-2</c:v>
                </c:pt>
              </c:numCache>
            </c:numRef>
          </c:val>
          <c:smooth val="0"/>
          <c:extLst>
            <c:ext xmlns:c16="http://schemas.microsoft.com/office/drawing/2014/chart" uri="{C3380CC4-5D6E-409C-BE32-E72D297353CC}">
              <c16:uniqueId val="{00000001-7E34-4A85-8774-6276E22BDB23}"/>
            </c:ext>
          </c:extLst>
        </c:ser>
        <c:ser>
          <c:idx val="2"/>
          <c:order val="2"/>
          <c:tx>
            <c:v>Parallel-Down</c:v>
          </c:tx>
          <c:spPr>
            <a:ln w="34925" cap="rnd">
              <a:solidFill>
                <a:schemeClr val="accent3"/>
              </a:solidFill>
              <a:round/>
            </a:ln>
            <a:effectLst>
              <a:outerShdw blurRad="57150" dist="19050" dir="5400000" algn="ctr" rotWithShape="0">
                <a:srgbClr val="000000">
                  <a:alpha val="63000"/>
                </a:srgbClr>
              </a:outerShdw>
            </a:effectLst>
          </c:spPr>
          <c:marker>
            <c:symbol val="none"/>
          </c:marker>
          <c:cat>
            <c:strRef>
              <c:f>Discounting!$B$5:$N$5</c:f>
              <c:strCache>
                <c:ptCount val="13"/>
                <c:pt idx="0">
                  <c:v>O/N</c:v>
                </c:pt>
                <c:pt idx="1">
                  <c:v>O/N - 1M</c:v>
                </c:pt>
                <c:pt idx="2">
                  <c:v>1M - 3M</c:v>
                </c:pt>
                <c:pt idx="3">
                  <c:v>3M - 6M</c:v>
                </c:pt>
                <c:pt idx="4">
                  <c:v>6M- 9M</c:v>
                </c:pt>
                <c:pt idx="5">
                  <c:v>9M - 1Y</c:v>
                </c:pt>
                <c:pt idx="6">
                  <c:v>1Y - 3Y</c:v>
                </c:pt>
                <c:pt idx="7">
                  <c:v>3Y-5Y</c:v>
                </c:pt>
                <c:pt idx="8">
                  <c:v>5Y - 7Y</c:v>
                </c:pt>
                <c:pt idx="9">
                  <c:v>7Y - 10Y</c:v>
                </c:pt>
                <c:pt idx="10">
                  <c:v>10Y - 15Y</c:v>
                </c:pt>
                <c:pt idx="11">
                  <c:v>15Y- 201Y</c:v>
                </c:pt>
                <c:pt idx="12">
                  <c:v>&gt; 20Y</c:v>
                </c:pt>
              </c:strCache>
            </c:strRef>
          </c:cat>
          <c:val>
            <c:numRef>
              <c:f>Discounting!$B$29:$N$29</c:f>
              <c:numCache>
                <c:formatCode>0.0000</c:formatCode>
                <c:ptCount val="13"/>
                <c:pt idx="0">
                  <c:v>0.9999020048018431</c:v>
                </c:pt>
                <c:pt idx="1">
                  <c:v>0.99841665481569886</c:v>
                </c:pt>
                <c:pt idx="2">
                  <c:v>0.99318860344114412</c:v>
                </c:pt>
                <c:pt idx="3">
                  <c:v>0.98363537939067236</c:v>
                </c:pt>
                <c:pt idx="4">
                  <c:v>0.9710522515866129</c:v>
                </c:pt>
                <c:pt idx="5">
                  <c:v>0.95719322586971833</c:v>
                </c:pt>
                <c:pt idx="6">
                  <c:v>0.87590293410620312</c:v>
                </c:pt>
                <c:pt idx="7">
                  <c:v>0.82201223467818652</c:v>
                </c:pt>
                <c:pt idx="8">
                  <c:v>0.76682244288562995</c:v>
                </c:pt>
                <c:pt idx="9">
                  <c:v>0.62813510518964066</c:v>
                </c:pt>
                <c:pt idx="10">
                  <c:v>0.4437473100810797</c:v>
                </c:pt>
                <c:pt idx="11">
                  <c:v>0.30422126406670386</c:v>
                </c:pt>
                <c:pt idx="12">
                  <c:v>0.16948344949946995</c:v>
                </c:pt>
              </c:numCache>
            </c:numRef>
          </c:val>
          <c:smooth val="0"/>
          <c:extLst>
            <c:ext xmlns:c16="http://schemas.microsoft.com/office/drawing/2014/chart" uri="{C3380CC4-5D6E-409C-BE32-E72D297353CC}">
              <c16:uniqueId val="{00000002-7E34-4A85-8774-6276E22BDB23}"/>
            </c:ext>
          </c:extLst>
        </c:ser>
        <c:dLbls>
          <c:showLegendKey val="0"/>
          <c:showVal val="0"/>
          <c:showCatName val="0"/>
          <c:showSerName val="0"/>
          <c:showPercent val="0"/>
          <c:showBubbleSize val="0"/>
        </c:dLbls>
        <c:smooth val="0"/>
        <c:axId val="779861824"/>
        <c:axId val="779863072"/>
      </c:lineChart>
      <c:catAx>
        <c:axId val="779861824"/>
        <c:scaling>
          <c:orientation val="minMax"/>
        </c:scaling>
        <c:delete val="0"/>
        <c:axPos val="b"/>
        <c:numFmt formatCode="General" sourceLinked="1"/>
        <c:majorTickMark val="none"/>
        <c:minorTickMark val="none"/>
        <c:tickLblPos val="nextTo"/>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79863072"/>
        <c:crosses val="autoZero"/>
        <c:auto val="1"/>
        <c:lblAlgn val="ctr"/>
        <c:lblOffset val="100"/>
        <c:noMultiLvlLbl val="0"/>
      </c:catAx>
      <c:valAx>
        <c:axId val="779863072"/>
        <c:scaling>
          <c:orientation val="minMax"/>
        </c:scaling>
        <c:delete val="0"/>
        <c:axPos val="l"/>
        <c:majorGridlines>
          <c:spPr>
            <a:ln w="9525" cap="flat" cmpd="sng" algn="ctr">
              <a:solidFill>
                <a:schemeClr val="lt1">
                  <a:lumMod val="95000"/>
                  <a:alpha val="10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779861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l-GR" dirty="0"/>
              <a:t>Δ </a:t>
            </a:r>
            <a:r>
              <a:rPr lang="en-IN" dirty="0"/>
              <a:t>EVE (Without</a:t>
            </a:r>
            <a:r>
              <a:rPr lang="en-IN" baseline="0" dirty="0"/>
              <a:t> AIRO)</a:t>
            </a:r>
            <a:endParaRPr lang="en-IN" dirty="0"/>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clustered"/>
        <c:varyColors val="0"/>
        <c:ser>
          <c:idx val="0"/>
          <c:order val="0"/>
          <c:tx>
            <c:v>INR</c:v>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EVE!$A$3:$A$9</c:f>
              <c:strCache>
                <c:ptCount val="7"/>
                <c:pt idx="0">
                  <c:v>Baseline</c:v>
                </c:pt>
                <c:pt idx="1">
                  <c:v>Parallel-Up</c:v>
                </c:pt>
                <c:pt idx="2">
                  <c:v>Parallel-Down</c:v>
                </c:pt>
                <c:pt idx="3">
                  <c:v>Steepener</c:v>
                </c:pt>
                <c:pt idx="4">
                  <c:v>Flattener</c:v>
                </c:pt>
                <c:pt idx="5">
                  <c:v>Short-Rate Up</c:v>
                </c:pt>
                <c:pt idx="6">
                  <c:v>Short-Rate Down</c:v>
                </c:pt>
              </c:strCache>
            </c:strRef>
          </c:cat>
          <c:val>
            <c:numRef>
              <c:f>EVE!$B$3:$B$9</c:f>
              <c:numCache>
                <c:formatCode>General</c:formatCode>
                <c:ptCount val="7"/>
                <c:pt idx="0">
                  <c:v>100</c:v>
                </c:pt>
                <c:pt idx="1">
                  <c:v>80</c:v>
                </c:pt>
                <c:pt idx="2">
                  <c:v>120</c:v>
                </c:pt>
                <c:pt idx="3">
                  <c:v>75</c:v>
                </c:pt>
                <c:pt idx="4">
                  <c:v>200</c:v>
                </c:pt>
                <c:pt idx="5">
                  <c:v>350</c:v>
                </c:pt>
                <c:pt idx="6">
                  <c:v>175</c:v>
                </c:pt>
              </c:numCache>
            </c:numRef>
          </c:val>
          <c:extLst>
            <c:ext xmlns:c16="http://schemas.microsoft.com/office/drawing/2014/chart" uri="{C3380CC4-5D6E-409C-BE32-E72D297353CC}">
              <c16:uniqueId val="{00000000-DCC6-4535-9E69-A36DFAE89822}"/>
            </c:ext>
          </c:extLst>
        </c:ser>
        <c:ser>
          <c:idx val="1"/>
          <c:order val="1"/>
          <c:tx>
            <c:v>USD</c:v>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EVE!$A$3:$A$9</c:f>
              <c:strCache>
                <c:ptCount val="7"/>
                <c:pt idx="0">
                  <c:v>Baseline</c:v>
                </c:pt>
                <c:pt idx="1">
                  <c:v>Parallel-Up</c:v>
                </c:pt>
                <c:pt idx="2">
                  <c:v>Parallel-Down</c:v>
                </c:pt>
                <c:pt idx="3">
                  <c:v>Steepener</c:v>
                </c:pt>
                <c:pt idx="4">
                  <c:v>Flattener</c:v>
                </c:pt>
                <c:pt idx="5">
                  <c:v>Short-Rate Up</c:v>
                </c:pt>
                <c:pt idx="6">
                  <c:v>Short-Rate Down</c:v>
                </c:pt>
              </c:strCache>
            </c:strRef>
          </c:cat>
          <c:val>
            <c:numRef>
              <c:f>EVE!$B$14:$B$20</c:f>
              <c:numCache>
                <c:formatCode>General</c:formatCode>
                <c:ptCount val="7"/>
                <c:pt idx="0">
                  <c:v>70</c:v>
                </c:pt>
                <c:pt idx="1">
                  <c:v>50</c:v>
                </c:pt>
                <c:pt idx="2">
                  <c:v>90</c:v>
                </c:pt>
                <c:pt idx="3">
                  <c:v>65</c:v>
                </c:pt>
                <c:pt idx="4">
                  <c:v>95</c:v>
                </c:pt>
                <c:pt idx="5">
                  <c:v>50</c:v>
                </c:pt>
                <c:pt idx="6">
                  <c:v>100</c:v>
                </c:pt>
              </c:numCache>
            </c:numRef>
          </c:val>
          <c:extLst>
            <c:ext xmlns:c16="http://schemas.microsoft.com/office/drawing/2014/chart" uri="{C3380CC4-5D6E-409C-BE32-E72D297353CC}">
              <c16:uniqueId val="{00000001-DCC6-4535-9E69-A36DFAE89822}"/>
            </c:ext>
          </c:extLst>
        </c:ser>
        <c:dLbls>
          <c:showLegendKey val="0"/>
          <c:showVal val="0"/>
          <c:showCatName val="0"/>
          <c:showSerName val="0"/>
          <c:showPercent val="0"/>
          <c:showBubbleSize val="0"/>
        </c:dLbls>
        <c:gapWidth val="100"/>
        <c:overlap val="-24"/>
        <c:axId val="1147153344"/>
        <c:axId val="1147157504"/>
      </c:barChart>
      <c:catAx>
        <c:axId val="114715334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147157504"/>
        <c:crosses val="autoZero"/>
        <c:auto val="1"/>
        <c:lblAlgn val="ctr"/>
        <c:lblOffset val="100"/>
        <c:noMultiLvlLbl val="0"/>
      </c:catAx>
      <c:valAx>
        <c:axId val="1147157504"/>
        <c:scaling>
          <c:orientation val="minMax"/>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147153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Short Rate Shocks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3"/>
          <c:order val="3"/>
          <c:tx>
            <c:strRef>
              <c:f>'Standardized Shock Scenarios'!$A$13</c:f>
              <c:strCache>
                <c:ptCount val="1"/>
                <c:pt idx="0">
                  <c:v>Baseline Central</c:v>
                </c:pt>
              </c:strCache>
            </c:strRef>
          </c:tx>
          <c:spPr>
            <a:ln w="34925" cap="rnd">
              <a:solidFill>
                <a:schemeClr val="bg1"/>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3:$T$13</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0-B7EE-4E07-BFA9-F2DDBAF53F4F}"/>
            </c:ext>
          </c:extLst>
        </c:ser>
        <c:ser>
          <c:idx val="5"/>
          <c:order val="5"/>
          <c:tx>
            <c:strRef>
              <c:f>'Standardized Shock Scenarios'!$A$16</c:f>
              <c:strCache>
                <c:ptCount val="1"/>
                <c:pt idx="0">
                  <c:v>Short Rate Shock Up (BPS)</c:v>
                </c:pt>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val>
            <c:numRef>
              <c:f>'Standardized Shock Scenarios'!$B$16:$T$16</c:f>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1-B7EE-4E07-BFA9-F2DDBAF53F4F}"/>
            </c:ext>
          </c:extLst>
        </c:ser>
        <c:ser>
          <c:idx val="6"/>
          <c:order val="6"/>
          <c:tx>
            <c:strRef>
              <c:f>'Standardized Shock Scenarios'!$A$17</c:f>
              <c:strCache>
                <c:ptCount val="1"/>
                <c:pt idx="0">
                  <c:v>Short Rate Shock Down (Bps)</c:v>
                </c:pt>
              </c:strCache>
            </c:strRef>
          </c:tx>
          <c:spPr>
            <a:ln w="34925" cap="rnd">
              <a:solidFill>
                <a:schemeClr val="accent1">
                  <a:lumMod val="60000"/>
                </a:schemeClr>
              </a:solidFill>
              <a:round/>
            </a:ln>
            <a:effectLst>
              <a:outerShdw blurRad="57150" dist="19050" dir="5400000" algn="ctr" rotWithShape="0">
                <a:srgbClr val="000000">
                  <a:alpha val="63000"/>
                </a:srgbClr>
              </a:outerShdw>
            </a:effectLst>
          </c:spPr>
          <c:marker>
            <c:symbol val="none"/>
          </c:marker>
          <c:val>
            <c:numRef>
              <c:f>'Standardized Shock Scenarios'!$B$17:$T$17</c:f>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2-B7EE-4E07-BFA9-F2DDBAF53F4F}"/>
            </c:ext>
          </c:extLst>
        </c:ser>
        <c:dLbls>
          <c:showLegendKey val="0"/>
          <c:showVal val="0"/>
          <c:showCatName val="0"/>
          <c:showSerName val="0"/>
          <c:showPercent val="0"/>
          <c:showBubbleSize val="0"/>
        </c:dLbls>
        <c:smooth val="0"/>
        <c:axId val="31528856"/>
        <c:axId val="31524544"/>
        <c:extLst>
          <c:ext xmlns:c15="http://schemas.microsoft.com/office/drawing/2012/chart" uri="{02D57815-91ED-43cb-92C2-25804820EDAC}">
            <c15:filteredLineSeries>
              <c15:ser>
                <c:idx val="0"/>
                <c:order val="0"/>
                <c:tx>
                  <c:strRef>
                    <c:extLst>
                      <c:ext uri="{02D57815-91ED-43cb-92C2-25804820EDAC}">
                        <c15:formulaRef>
                          <c15:sqref>'Standardized Shock Scenarios'!$A$16</c15:sqref>
                        </c15:formulaRef>
                      </c:ext>
                    </c:extLst>
                    <c:strCache>
                      <c:ptCount val="1"/>
                      <c:pt idx="0">
                        <c:v>Short Rate Shock Up (BPS)</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extLst>
                      <c:ex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c:ext uri="{02D57815-91ED-43cb-92C2-25804820EDAC}">
                        <c15:formulaRef>
                          <c15:sqref>'Standardized Shock Scenarios'!$B$16:$T$16</c15:sqref>
                        </c15:formulaRef>
                      </c:ext>
                    </c:extLst>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3-B7EE-4E07-BFA9-F2DDBAF53F4F}"/>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tandardized Shock Scenarios'!$A$17</c15:sqref>
                        </c15:formulaRef>
                      </c:ext>
                    </c:extLst>
                    <c:strCache>
                      <c:ptCount val="1"/>
                      <c:pt idx="0">
                        <c:v>Short Rate Shock Down (Bps)</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7:$T$17</c15:sqref>
                        </c15:formulaRef>
                      </c:ext>
                    </c:extLst>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xmlns:c15="http://schemas.microsoft.com/office/drawing/2012/chart">
                  <c:ext xmlns:c16="http://schemas.microsoft.com/office/drawing/2014/chart" uri="{C3380CC4-5D6E-409C-BE32-E72D297353CC}">
                    <c16:uniqueId val="{00000004-B7EE-4E07-BFA9-F2DDBAF53F4F}"/>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tandardized Shock Scenarios'!$A$18</c15:sqref>
                        </c15:formulaRef>
                      </c:ext>
                    </c:extLst>
                    <c:strCache>
                      <c:ptCount val="1"/>
                      <c:pt idx="0">
                        <c:v>Steepener Shock (BPS)</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8:$T$18</c15:sqref>
                        </c15:formulaRef>
                      </c:ext>
                    </c:extLst>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xmlns:c15="http://schemas.microsoft.com/office/drawing/2012/chart">
                  <c:ext xmlns:c16="http://schemas.microsoft.com/office/drawing/2014/chart" uri="{C3380CC4-5D6E-409C-BE32-E72D297353CC}">
                    <c16:uniqueId val="{00000005-B7EE-4E07-BFA9-F2DDBAF53F4F}"/>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tandardized Shock Scenarios'!$A$18</c15:sqref>
                        </c15:formulaRef>
                      </c:ext>
                    </c:extLst>
                    <c:strCache>
                      <c:ptCount val="1"/>
                      <c:pt idx="0">
                        <c:v>Steepener Shock (BPS)</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8:$T$18</c15:sqref>
                        </c15:formulaRef>
                      </c:ext>
                    </c:extLst>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xmlns:c15="http://schemas.microsoft.com/office/drawing/2012/chart">
                  <c:ext xmlns:c16="http://schemas.microsoft.com/office/drawing/2014/chart" uri="{C3380CC4-5D6E-409C-BE32-E72D297353CC}">
                    <c16:uniqueId val="{00000006-B7EE-4E07-BFA9-F2DDBAF53F4F}"/>
                  </c:ext>
                </c:extLst>
              </c15:ser>
            </c15:filteredLineSeries>
          </c:ext>
        </c:extLst>
      </c:lineChart>
      <c:catAx>
        <c:axId val="31528856"/>
        <c:scaling>
          <c:orientation val="minMax"/>
        </c:scaling>
        <c:delete val="0"/>
        <c:axPos val="b"/>
        <c:title>
          <c:tx>
            <c:rich>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Tenor (yEARS)</a:t>
                </a:r>
              </a:p>
            </c:rich>
          </c:tx>
          <c:overlay val="0"/>
          <c:spPr>
            <a:noFill/>
            <a:ln>
              <a:noFill/>
            </a:ln>
            <a:effectLst/>
          </c:spPr>
          <c:txPr>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1524544"/>
        <c:crosses val="autoZero"/>
        <c:auto val="1"/>
        <c:lblAlgn val="ctr"/>
        <c:lblOffset val="100"/>
        <c:noMultiLvlLbl val="0"/>
      </c:catAx>
      <c:valAx>
        <c:axId val="3152454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bps shock</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15288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Rotational</a:t>
            </a:r>
            <a:r>
              <a:rPr lang="en-IN" baseline="0"/>
              <a:t> Shocks</a:t>
            </a:r>
            <a:endParaRPr lang="en-IN"/>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3"/>
          <c:order val="3"/>
          <c:tx>
            <c:strRef>
              <c:f>'Standardized Shock Scenarios'!$A$13</c:f>
              <c:strCache>
                <c:ptCount val="1"/>
                <c:pt idx="0">
                  <c:v>Baseline Central</c:v>
                </c:pt>
              </c:strCache>
            </c:strRef>
          </c:tx>
          <c:spPr>
            <a:ln w="34925" cap="rnd">
              <a:solidFill>
                <a:schemeClr val="bg1"/>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3:$T$13</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0-E3AF-45E1-9B9F-1C292EBC9091}"/>
            </c:ext>
          </c:extLst>
        </c:ser>
        <c:ser>
          <c:idx val="5"/>
          <c:order val="5"/>
          <c:tx>
            <c:strRef>
              <c:f>'Standardized Shock Scenarios'!$A$18</c:f>
              <c:strCache>
                <c:ptCount val="1"/>
                <c:pt idx="0">
                  <c:v>Steepener Shock (BPS)</c:v>
                </c:pt>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8:$T$18</c:f>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c:ext xmlns:c16="http://schemas.microsoft.com/office/drawing/2014/chart" uri="{C3380CC4-5D6E-409C-BE32-E72D297353CC}">
              <c16:uniqueId val="{00000001-E3AF-45E1-9B9F-1C292EBC9091}"/>
            </c:ext>
          </c:extLst>
        </c:ser>
        <c:ser>
          <c:idx val="6"/>
          <c:order val="6"/>
          <c:tx>
            <c:strRef>
              <c:f>'Standardized Shock Scenarios'!$A$19</c:f>
              <c:strCache>
                <c:ptCount val="1"/>
                <c:pt idx="0">
                  <c:v>Flattener Shock (BPS)</c:v>
                </c:pt>
              </c:strCache>
            </c:strRef>
          </c:tx>
          <c:spPr>
            <a:ln w="34925" cap="rnd">
              <a:solidFill>
                <a:schemeClr val="accent1">
                  <a:lumMod val="60000"/>
                </a:schemeClr>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9:$T$19</c:f>
              <c:numCache>
                <c:formatCode>General</c:formatCode>
                <c:ptCount val="19"/>
                <c:pt idx="0">
                  <c:v>399.59414206684914</c:v>
                </c:pt>
                <c:pt idx="1">
                  <c:v>393.98490814320013</c:v>
                </c:pt>
                <c:pt idx="2">
                  <c:v>376.32524906024111</c:v>
                </c:pt>
                <c:pt idx="3">
                  <c:v>348.09600960041985</c:v>
                </c:pt>
                <c:pt idx="4">
                  <c:v>316.10028983830506</c:v>
                </c:pt>
                <c:pt idx="5">
                  <c:v>286.04309273965526</c:v>
                </c:pt>
                <c:pt idx="6">
                  <c:v>244.33706478905225</c:v>
                </c:pt>
                <c:pt idx="7">
                  <c:v>194.47614532817738</c:v>
                </c:pt>
                <c:pt idx="8">
                  <c:v>130.45162854101443</c:v>
                </c:pt>
                <c:pt idx="9">
                  <c:v>61.779971413534895</c:v>
                </c:pt>
                <c:pt idx="10">
                  <c:v>8.2984310678428557</c:v>
                </c:pt>
                <c:pt idx="11">
                  <c:v>-33.353034433247032</c:v>
                </c:pt>
                <c:pt idx="12">
                  <c:v>-65.791228381567421</c:v>
                </c:pt>
                <c:pt idx="13">
                  <c:v>-91.054119229941506</c:v>
                </c:pt>
                <c:pt idx="14">
                  <c:v>-110.72887840530262</c:v>
                </c:pt>
                <c:pt idx="15">
                  <c:v>-126.05159625781516</c:v>
                </c:pt>
                <c:pt idx="16">
                  <c:v>-154.51657849842368</c:v>
                </c:pt>
                <c:pt idx="17">
                  <c:v>-172.69887749938829</c:v>
                </c:pt>
                <c:pt idx="18">
                  <c:v>-178.88033660098793</c:v>
                </c:pt>
              </c:numCache>
            </c:numRef>
          </c:val>
          <c:smooth val="0"/>
          <c:extLst>
            <c:ext xmlns:c16="http://schemas.microsoft.com/office/drawing/2014/chart" uri="{C3380CC4-5D6E-409C-BE32-E72D297353CC}">
              <c16:uniqueId val="{00000002-E3AF-45E1-9B9F-1C292EBC9091}"/>
            </c:ext>
          </c:extLst>
        </c:ser>
        <c:dLbls>
          <c:showLegendKey val="0"/>
          <c:showVal val="0"/>
          <c:showCatName val="0"/>
          <c:showSerName val="0"/>
          <c:showPercent val="0"/>
          <c:showBubbleSize val="0"/>
        </c:dLbls>
        <c:smooth val="0"/>
        <c:axId val="31528856"/>
        <c:axId val="31524544"/>
        <c:extLst>
          <c:ext xmlns:c15="http://schemas.microsoft.com/office/drawing/2012/chart" uri="{02D57815-91ED-43cb-92C2-25804820EDAC}">
            <c15:filteredLineSeries>
              <c15:ser>
                <c:idx val="0"/>
                <c:order val="0"/>
                <c:tx>
                  <c:strRef>
                    <c:extLst>
                      <c:ext uri="{02D57815-91ED-43cb-92C2-25804820EDAC}">
                        <c15:formulaRef>
                          <c15:sqref>'Standardized Shock Scenarios'!$A$16</c15:sqref>
                        </c15:formulaRef>
                      </c:ext>
                    </c:extLst>
                    <c:strCache>
                      <c:ptCount val="1"/>
                      <c:pt idx="0">
                        <c:v>Short Rate Shock Up (BPS)</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extLst>
                      <c:ex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c:ext uri="{02D57815-91ED-43cb-92C2-25804820EDAC}">
                        <c15:formulaRef>
                          <c15:sqref>'Standardized Shock Scenarios'!$B$16:$T$16</c15:sqref>
                        </c15:formulaRef>
                      </c:ext>
                    </c:extLst>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3-E3AF-45E1-9B9F-1C292EBC9091}"/>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tandardized Shock Scenarios'!$A$17</c15:sqref>
                        </c15:formulaRef>
                      </c:ext>
                    </c:extLst>
                    <c:strCache>
                      <c:ptCount val="1"/>
                      <c:pt idx="0">
                        <c:v>Short Rate Shock Down (Bps)</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7:$T$17</c15:sqref>
                        </c15:formulaRef>
                      </c:ext>
                    </c:extLst>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xmlns:c15="http://schemas.microsoft.com/office/drawing/2012/chart">
                  <c:ext xmlns:c16="http://schemas.microsoft.com/office/drawing/2014/chart" uri="{C3380CC4-5D6E-409C-BE32-E72D297353CC}">
                    <c16:uniqueId val="{00000004-E3AF-45E1-9B9F-1C292EBC9091}"/>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tandardized Shock Scenarios'!$A$18</c15:sqref>
                        </c15:formulaRef>
                      </c:ext>
                    </c:extLst>
                    <c:strCache>
                      <c:ptCount val="1"/>
                      <c:pt idx="0">
                        <c:v>Steepener Shock (BPS)</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8:$T$18</c15:sqref>
                        </c15:formulaRef>
                      </c:ext>
                    </c:extLst>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xmlns:c15="http://schemas.microsoft.com/office/drawing/2012/chart">
                  <c:ext xmlns:c16="http://schemas.microsoft.com/office/drawing/2014/chart" uri="{C3380CC4-5D6E-409C-BE32-E72D297353CC}">
                    <c16:uniqueId val="{00000005-E3AF-45E1-9B9F-1C292EBC9091}"/>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tandardized Shock Scenarios'!$A$18</c15:sqref>
                        </c15:formulaRef>
                      </c:ext>
                    </c:extLst>
                    <c:strCache>
                      <c:ptCount val="1"/>
                      <c:pt idx="0">
                        <c:v>Steepener Shock (BPS)</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extLst xmlns:c15="http://schemas.microsoft.com/office/drawing/2012/chart">
                      <c:ext xmlns:c15="http://schemas.microsoft.com/office/drawing/2012/chart" uri="{02D57815-91ED-43cb-92C2-25804820EDAC}">
                        <c15:formulaRef>
                          <c15:sqref>'Standardized Shock Scenarios'!$B$12:$T$12</c15:sqref>
                        </c15:formulaRef>
                      </c:ext>
                    </c:extLst>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extLst xmlns:c15="http://schemas.microsoft.com/office/drawing/2012/chart">
                      <c:ext xmlns:c15="http://schemas.microsoft.com/office/drawing/2012/chart" uri="{02D57815-91ED-43cb-92C2-25804820EDAC}">
                        <c15:formulaRef>
                          <c15:sqref>'Standardized Shock Scenarios'!$B$18:$T$18</c15:sqref>
                        </c15:formulaRef>
                      </c:ext>
                    </c:extLst>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xmlns:c15="http://schemas.microsoft.com/office/drawing/2012/chart">
                  <c:ext xmlns:c16="http://schemas.microsoft.com/office/drawing/2014/chart" uri="{C3380CC4-5D6E-409C-BE32-E72D297353CC}">
                    <c16:uniqueId val="{00000006-E3AF-45E1-9B9F-1C292EBC9091}"/>
                  </c:ext>
                </c:extLst>
              </c15:ser>
            </c15:filteredLineSeries>
          </c:ext>
        </c:extLst>
      </c:lineChart>
      <c:catAx>
        <c:axId val="31528856"/>
        <c:scaling>
          <c:orientation val="minMax"/>
        </c:scaling>
        <c:delete val="0"/>
        <c:axPos val="b"/>
        <c:title>
          <c:tx>
            <c:rich>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TENOR (YEARS)</a:t>
                </a:r>
              </a:p>
            </c:rich>
          </c:tx>
          <c:overlay val="0"/>
          <c:spPr>
            <a:noFill/>
            <a:ln>
              <a:noFill/>
            </a:ln>
            <a:effectLst/>
          </c:spPr>
          <c:txPr>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1524544"/>
        <c:crosses val="autoZero"/>
        <c:auto val="1"/>
        <c:lblAlgn val="ctr"/>
        <c:lblOffset val="100"/>
        <c:noMultiLvlLbl val="0"/>
      </c:catAx>
      <c:valAx>
        <c:axId val="3152454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bps shock</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15288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a:t>Standardized Shock Scenarios </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ndard"/>
        <c:varyColors val="0"/>
        <c:ser>
          <c:idx val="0"/>
          <c:order val="0"/>
          <c:tx>
            <c:strRef>
              <c:f>'Standardized Shock Scenarios'!$A$13</c:f>
              <c:strCache>
                <c:ptCount val="1"/>
                <c:pt idx="0">
                  <c:v>Baseline Central</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3:$T$13</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smooth val="0"/>
          <c:extLst>
            <c:ext xmlns:c16="http://schemas.microsoft.com/office/drawing/2014/chart" uri="{C3380CC4-5D6E-409C-BE32-E72D297353CC}">
              <c16:uniqueId val="{00000000-5927-464D-AEAF-68D16DDB7EA2}"/>
            </c:ext>
          </c:extLst>
        </c:ser>
        <c:ser>
          <c:idx val="1"/>
          <c:order val="1"/>
          <c:tx>
            <c:strRef>
              <c:f>'Standardized Shock Scenarios'!$A$16</c:f>
              <c:strCache>
                <c:ptCount val="1"/>
                <c:pt idx="0">
                  <c:v>Short Rate Shock Up (BPS)</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6:$T$16</c:f>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1-5927-464D-AEAF-68D16DDB7EA2}"/>
            </c:ext>
          </c:extLst>
        </c:ser>
        <c:ser>
          <c:idx val="2"/>
          <c:order val="2"/>
          <c:tx>
            <c:strRef>
              <c:f>'Standardized Shock Scenarios'!$A$17</c:f>
              <c:strCache>
                <c:ptCount val="1"/>
                <c:pt idx="0">
                  <c:v>Short Rate Shock Down (Bps)</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7:$T$17</c:f>
              <c:numCache>
                <c:formatCode>General</c:formatCode>
                <c:ptCount val="19"/>
                <c:pt idx="0">
                  <c:v>-499.65012247142164</c:v>
                </c:pt>
                <c:pt idx="1">
                  <c:v>-494.81457598551731</c:v>
                </c:pt>
                <c:pt idx="2">
                  <c:v>-479.59073194848366</c:v>
                </c:pt>
                <c:pt idx="3">
                  <c:v>-455.25518069001708</c:v>
                </c:pt>
                <c:pt idx="4">
                  <c:v>-427.67266365371125</c:v>
                </c:pt>
                <c:pt idx="5">
                  <c:v>-401.76128684453039</c:v>
                </c:pt>
                <c:pt idx="6">
                  <c:v>-365.80781447332089</c:v>
                </c:pt>
                <c:pt idx="7">
                  <c:v>-322.82426321394604</c:v>
                </c:pt>
                <c:pt idx="8">
                  <c:v>-267.63071425949516</c:v>
                </c:pt>
                <c:pt idx="9">
                  <c:v>-208.43100983925419</c:v>
                </c:pt>
                <c:pt idx="10">
                  <c:v>-162.32623367917486</c:v>
                </c:pt>
                <c:pt idx="11">
                  <c:v>-126.41979790237323</c:v>
                </c:pt>
                <c:pt idx="12">
                  <c:v>-98.455837602097034</c:v>
                </c:pt>
                <c:pt idx="13">
                  <c:v>-76.677483422464235</c:v>
                </c:pt>
                <c:pt idx="14">
                  <c:v>-59.716484133359806</c:v>
                </c:pt>
                <c:pt idx="15">
                  <c:v>-46.507244605331749</c:v>
                </c:pt>
                <c:pt idx="16">
                  <c:v>-21.96846681170371</c:v>
                </c:pt>
                <c:pt idx="17">
                  <c:v>-6.2940711212169989</c:v>
                </c:pt>
                <c:pt idx="18">
                  <c:v>-0.96522706811385461</c:v>
                </c:pt>
              </c:numCache>
            </c:numRef>
          </c:val>
          <c:smooth val="0"/>
          <c:extLst>
            <c:ext xmlns:c16="http://schemas.microsoft.com/office/drawing/2014/chart" uri="{C3380CC4-5D6E-409C-BE32-E72D297353CC}">
              <c16:uniqueId val="{00000002-5927-464D-AEAF-68D16DDB7EA2}"/>
            </c:ext>
          </c:extLst>
        </c:ser>
        <c:ser>
          <c:idx val="3"/>
          <c:order val="3"/>
          <c:tx>
            <c:strRef>
              <c:f>'Standardized Shock Scenarios'!$A$18</c:f>
              <c:strCache>
                <c:ptCount val="1"/>
                <c:pt idx="0">
                  <c:v>Steepener Shock (BPS)</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8:$T$18</c:f>
              <c:numCache>
                <c:formatCode>General</c:formatCode>
                <c:ptCount val="19"/>
                <c:pt idx="0">
                  <c:v>-324.58364574099176</c:v>
                </c:pt>
                <c:pt idx="1">
                  <c:v>-318.82934542276564</c:v>
                </c:pt>
                <c:pt idx="2">
                  <c:v>-300.71297101869555</c:v>
                </c:pt>
                <c:pt idx="3">
                  <c:v>-271.75366502112036</c:v>
                </c:pt>
                <c:pt idx="4">
                  <c:v>-238.93046974791639</c:v>
                </c:pt>
                <c:pt idx="5">
                  <c:v>-208.09593134499119</c:v>
                </c:pt>
                <c:pt idx="6">
                  <c:v>-165.31129922325186</c:v>
                </c:pt>
                <c:pt idx="7">
                  <c:v>-114.16087322459579</c:v>
                </c:pt>
                <c:pt idx="8">
                  <c:v>-48.480549968799224</c:v>
                </c:pt>
                <c:pt idx="9">
                  <c:v>21.967098291287499</c:v>
                </c:pt>
                <c:pt idx="10">
                  <c:v>76.831781921781896</c:v>
                </c:pt>
                <c:pt idx="11">
                  <c:v>119.56044049617586</c:v>
                </c:pt>
                <c:pt idx="12">
                  <c:v>152.83755325350455</c:v>
                </c:pt>
                <c:pt idx="13">
                  <c:v>178.75379472726758</c:v>
                </c:pt>
                <c:pt idx="14">
                  <c:v>198.93738388130186</c:v>
                </c:pt>
                <c:pt idx="15">
                  <c:v>214.65637891965522</c:v>
                </c:pt>
                <c:pt idx="16">
                  <c:v>243.85752449407258</c:v>
                </c:pt>
                <c:pt idx="17">
                  <c:v>262.51005536575178</c:v>
                </c:pt>
                <c:pt idx="18">
                  <c:v>268.85137978894454</c:v>
                </c:pt>
              </c:numCache>
            </c:numRef>
          </c:val>
          <c:smooth val="0"/>
          <c:extLst>
            <c:ext xmlns:c16="http://schemas.microsoft.com/office/drawing/2014/chart" uri="{C3380CC4-5D6E-409C-BE32-E72D297353CC}">
              <c16:uniqueId val="{00000003-5927-464D-AEAF-68D16DDB7EA2}"/>
            </c:ext>
          </c:extLst>
        </c:ser>
        <c:ser>
          <c:idx val="4"/>
          <c:order val="4"/>
          <c:tx>
            <c:strRef>
              <c:f>'Standardized Shock Scenarios'!$A$19</c:f>
              <c:strCache>
                <c:ptCount val="1"/>
                <c:pt idx="0">
                  <c:v>Flattener Shock (BPS)</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19:$T$19</c:f>
              <c:numCache>
                <c:formatCode>General</c:formatCode>
                <c:ptCount val="19"/>
                <c:pt idx="0">
                  <c:v>399.59414206684914</c:v>
                </c:pt>
                <c:pt idx="1">
                  <c:v>393.98490814320013</c:v>
                </c:pt>
                <c:pt idx="2">
                  <c:v>376.32524906024111</c:v>
                </c:pt>
                <c:pt idx="3">
                  <c:v>348.09600960041985</c:v>
                </c:pt>
                <c:pt idx="4">
                  <c:v>316.10028983830506</c:v>
                </c:pt>
                <c:pt idx="5">
                  <c:v>286.04309273965526</c:v>
                </c:pt>
                <c:pt idx="6">
                  <c:v>244.33706478905225</c:v>
                </c:pt>
                <c:pt idx="7">
                  <c:v>194.47614532817738</c:v>
                </c:pt>
                <c:pt idx="8">
                  <c:v>130.45162854101443</c:v>
                </c:pt>
                <c:pt idx="9">
                  <c:v>61.779971413534895</c:v>
                </c:pt>
                <c:pt idx="10">
                  <c:v>8.2984310678428557</c:v>
                </c:pt>
                <c:pt idx="11">
                  <c:v>-33.353034433247032</c:v>
                </c:pt>
                <c:pt idx="12">
                  <c:v>-65.791228381567421</c:v>
                </c:pt>
                <c:pt idx="13">
                  <c:v>-91.054119229941506</c:v>
                </c:pt>
                <c:pt idx="14">
                  <c:v>-110.72887840530262</c:v>
                </c:pt>
                <c:pt idx="15">
                  <c:v>-126.05159625781516</c:v>
                </c:pt>
                <c:pt idx="16">
                  <c:v>-154.51657849842368</c:v>
                </c:pt>
                <c:pt idx="17">
                  <c:v>-172.69887749938829</c:v>
                </c:pt>
                <c:pt idx="18">
                  <c:v>-178.88033660098793</c:v>
                </c:pt>
              </c:numCache>
            </c:numRef>
          </c:val>
          <c:smooth val="0"/>
          <c:extLst>
            <c:ext xmlns:c16="http://schemas.microsoft.com/office/drawing/2014/chart" uri="{C3380CC4-5D6E-409C-BE32-E72D297353CC}">
              <c16:uniqueId val="{00000004-5927-464D-AEAF-68D16DDB7EA2}"/>
            </c:ext>
          </c:extLst>
        </c:ser>
        <c:ser>
          <c:idx val="5"/>
          <c:order val="5"/>
          <c:tx>
            <c:strRef>
              <c:f>'Standardized Shock Scenarios'!$A$20</c:f>
              <c:strCache>
                <c:ptCount val="1"/>
                <c:pt idx="0">
                  <c:v>Parallel Shock Up</c:v>
                </c:pt>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20:$T$20</c:f>
              <c:numCache>
                <c:formatCode>General</c:formatCode>
                <c:ptCount val="19"/>
                <c:pt idx="0">
                  <c:v>400</c:v>
                </c:pt>
                <c:pt idx="1">
                  <c:v>400</c:v>
                </c:pt>
                <c:pt idx="2">
                  <c:v>400</c:v>
                </c:pt>
                <c:pt idx="3">
                  <c:v>400</c:v>
                </c:pt>
                <c:pt idx="4">
                  <c:v>400</c:v>
                </c:pt>
                <c:pt idx="5">
                  <c:v>400</c:v>
                </c:pt>
                <c:pt idx="6">
                  <c:v>400</c:v>
                </c:pt>
                <c:pt idx="7">
                  <c:v>400</c:v>
                </c:pt>
                <c:pt idx="8">
                  <c:v>400</c:v>
                </c:pt>
                <c:pt idx="9">
                  <c:v>400</c:v>
                </c:pt>
                <c:pt idx="10">
                  <c:v>400</c:v>
                </c:pt>
                <c:pt idx="11">
                  <c:v>400</c:v>
                </c:pt>
                <c:pt idx="12">
                  <c:v>400</c:v>
                </c:pt>
                <c:pt idx="13">
                  <c:v>400</c:v>
                </c:pt>
                <c:pt idx="14">
                  <c:v>400</c:v>
                </c:pt>
                <c:pt idx="15">
                  <c:v>400</c:v>
                </c:pt>
                <c:pt idx="16">
                  <c:v>400</c:v>
                </c:pt>
                <c:pt idx="17">
                  <c:v>400</c:v>
                </c:pt>
                <c:pt idx="18">
                  <c:v>400</c:v>
                </c:pt>
              </c:numCache>
            </c:numRef>
          </c:val>
          <c:smooth val="0"/>
          <c:extLst>
            <c:ext xmlns:c16="http://schemas.microsoft.com/office/drawing/2014/chart" uri="{C3380CC4-5D6E-409C-BE32-E72D297353CC}">
              <c16:uniqueId val="{00000005-5927-464D-AEAF-68D16DDB7EA2}"/>
            </c:ext>
          </c:extLst>
        </c:ser>
        <c:ser>
          <c:idx val="6"/>
          <c:order val="6"/>
          <c:tx>
            <c:strRef>
              <c:f>'Standardized Shock Scenarios'!$A$21</c:f>
              <c:strCache>
                <c:ptCount val="1"/>
                <c:pt idx="0">
                  <c:v>Parallel Shock Down</c:v>
                </c:pt>
              </c:strCache>
            </c:strRef>
          </c:tx>
          <c:spPr>
            <a:ln w="34925" cap="rnd">
              <a:solidFill>
                <a:schemeClr val="accent1">
                  <a:lumMod val="60000"/>
                </a:schemeClr>
              </a:solidFill>
              <a:round/>
            </a:ln>
            <a:effectLst>
              <a:outerShdw blurRad="57150" dist="19050" dir="5400000" algn="ctr" rotWithShape="0">
                <a:srgbClr val="000000">
                  <a:alpha val="63000"/>
                </a:srgbClr>
              </a:outerShdw>
            </a:effectLst>
          </c:spPr>
          <c:marker>
            <c:symbol val="none"/>
          </c:marker>
          <c:cat>
            <c:numRef>
              <c:f>'Standardized Shock Scenarios'!$B$12:$T$12</c:f>
              <c:numCache>
                <c:formatCode>General</c:formatCode>
                <c:ptCount val="19"/>
                <c:pt idx="0">
                  <c:v>2.8E-3</c:v>
                </c:pt>
                <c:pt idx="1">
                  <c:v>4.1700000000000001E-2</c:v>
                </c:pt>
                <c:pt idx="2">
                  <c:v>0.16669999999999999</c:v>
                </c:pt>
                <c:pt idx="3">
                  <c:v>0.375</c:v>
                </c:pt>
                <c:pt idx="4">
                  <c:v>0.625</c:v>
                </c:pt>
                <c:pt idx="5">
                  <c:v>0.875</c:v>
                </c:pt>
                <c:pt idx="6">
                  <c:v>1.25</c:v>
                </c:pt>
                <c:pt idx="7">
                  <c:v>1.75</c:v>
                </c:pt>
                <c:pt idx="8">
                  <c:v>2.5</c:v>
                </c:pt>
                <c:pt idx="9">
                  <c:v>3.5</c:v>
                </c:pt>
                <c:pt idx="10">
                  <c:v>4.5</c:v>
                </c:pt>
                <c:pt idx="11">
                  <c:v>5.5</c:v>
                </c:pt>
                <c:pt idx="12">
                  <c:v>6.5</c:v>
                </c:pt>
                <c:pt idx="13">
                  <c:v>7.5</c:v>
                </c:pt>
                <c:pt idx="14">
                  <c:v>8.5</c:v>
                </c:pt>
                <c:pt idx="15">
                  <c:v>9.5</c:v>
                </c:pt>
                <c:pt idx="16">
                  <c:v>12.5</c:v>
                </c:pt>
                <c:pt idx="17">
                  <c:v>17.5</c:v>
                </c:pt>
                <c:pt idx="18">
                  <c:v>25</c:v>
                </c:pt>
              </c:numCache>
            </c:numRef>
          </c:cat>
          <c:val>
            <c:numRef>
              <c:f>'Standardized Shock Scenarios'!$B$21:$T$21</c:f>
              <c:numCache>
                <c:formatCode>General</c:formatCode>
                <c:ptCount val="19"/>
                <c:pt idx="0">
                  <c:v>-400</c:v>
                </c:pt>
                <c:pt idx="1">
                  <c:v>-400</c:v>
                </c:pt>
                <c:pt idx="2">
                  <c:v>-400</c:v>
                </c:pt>
                <c:pt idx="3">
                  <c:v>-400</c:v>
                </c:pt>
                <c:pt idx="4">
                  <c:v>-400</c:v>
                </c:pt>
                <c:pt idx="5">
                  <c:v>-400</c:v>
                </c:pt>
                <c:pt idx="6">
                  <c:v>-400</c:v>
                </c:pt>
                <c:pt idx="7">
                  <c:v>-400</c:v>
                </c:pt>
                <c:pt idx="8">
                  <c:v>-400</c:v>
                </c:pt>
                <c:pt idx="9">
                  <c:v>-400</c:v>
                </c:pt>
                <c:pt idx="10">
                  <c:v>-400</c:v>
                </c:pt>
                <c:pt idx="11">
                  <c:v>-400</c:v>
                </c:pt>
                <c:pt idx="12">
                  <c:v>-400</c:v>
                </c:pt>
                <c:pt idx="13">
                  <c:v>-400</c:v>
                </c:pt>
                <c:pt idx="14">
                  <c:v>-400</c:v>
                </c:pt>
                <c:pt idx="15">
                  <c:v>-400</c:v>
                </c:pt>
                <c:pt idx="16">
                  <c:v>-400</c:v>
                </c:pt>
                <c:pt idx="17">
                  <c:v>-400</c:v>
                </c:pt>
                <c:pt idx="18">
                  <c:v>-400</c:v>
                </c:pt>
              </c:numCache>
            </c:numRef>
          </c:val>
          <c:smooth val="0"/>
          <c:extLst>
            <c:ext xmlns:c16="http://schemas.microsoft.com/office/drawing/2014/chart" uri="{C3380CC4-5D6E-409C-BE32-E72D297353CC}">
              <c16:uniqueId val="{00000006-5927-464D-AEAF-68D16DDB7EA2}"/>
            </c:ext>
          </c:extLst>
        </c:ser>
        <c:dLbls>
          <c:showLegendKey val="0"/>
          <c:showVal val="0"/>
          <c:showCatName val="0"/>
          <c:showSerName val="0"/>
          <c:showPercent val="0"/>
          <c:showBubbleSize val="0"/>
        </c:dLbls>
        <c:smooth val="0"/>
        <c:axId val="420190280"/>
        <c:axId val="420194544"/>
      </c:lineChart>
      <c:catAx>
        <c:axId val="420190280"/>
        <c:scaling>
          <c:orientation val="minMax"/>
        </c:scaling>
        <c:delete val="0"/>
        <c:axPos val="b"/>
        <c:title>
          <c:tx>
            <c:rich>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Tenor (Years)</a:t>
                </a:r>
              </a:p>
            </c:rich>
          </c:tx>
          <c:overlay val="0"/>
          <c:spPr>
            <a:noFill/>
            <a:ln>
              <a:noFill/>
            </a:ln>
            <a:effectLst/>
          </c:spPr>
          <c:txPr>
            <a:bodyPr rot="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lt1">
                <a:lumMod val="95000"/>
                <a:alpha val="10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20194544"/>
        <c:crosses val="autoZero"/>
        <c:auto val="1"/>
        <c:lblAlgn val="ctr"/>
        <c:lblOffset val="100"/>
        <c:noMultiLvlLbl val="0"/>
      </c:catAx>
      <c:valAx>
        <c:axId val="42019454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BPS Shock </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420190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I$4:$I$10</c:f>
              <c:strCache>
                <c:ptCount val="7"/>
                <c:pt idx="0">
                  <c:v>Baseline </c:v>
                </c:pt>
                <c:pt idx="1">
                  <c:v>Parallel-Up</c:v>
                </c:pt>
                <c:pt idx="2">
                  <c:v>Parallel-Down</c:v>
                </c:pt>
                <c:pt idx="3">
                  <c:v>Steepener </c:v>
                </c:pt>
                <c:pt idx="4">
                  <c:v>Flatenner</c:v>
                </c:pt>
                <c:pt idx="5">
                  <c:v>Short Rate Shock Up</c:v>
                </c:pt>
                <c:pt idx="6">
                  <c:v>Short Rate Shock Down</c:v>
                </c:pt>
              </c:strCache>
            </c:strRef>
          </c:cat>
          <c:val>
            <c:numRef>
              <c:f>Sheet1!$J$4:$J$10</c:f>
              <c:numCache>
                <c:formatCode>0.0000</c:formatCode>
                <c:ptCount val="7"/>
                <c:pt idx="0">
                  <c:v>105</c:v>
                </c:pt>
                <c:pt idx="1">
                  <c:v>105</c:v>
                </c:pt>
                <c:pt idx="2">
                  <c:v>105</c:v>
                </c:pt>
                <c:pt idx="3">
                  <c:v>105</c:v>
                </c:pt>
                <c:pt idx="4">
                  <c:v>105</c:v>
                </c:pt>
                <c:pt idx="5">
                  <c:v>105</c:v>
                </c:pt>
                <c:pt idx="6">
                  <c:v>105</c:v>
                </c:pt>
              </c:numCache>
            </c:numRef>
          </c:val>
          <c:extLst>
            <c:ext xmlns:c16="http://schemas.microsoft.com/office/drawing/2014/chart" uri="{C3380CC4-5D6E-409C-BE32-E72D297353CC}">
              <c16:uniqueId val="{00000000-1FF0-47FA-BF25-4ABA33312A5C}"/>
            </c:ext>
          </c:extLst>
        </c:ser>
        <c:dLbls>
          <c:showLegendKey val="0"/>
          <c:showVal val="0"/>
          <c:showCatName val="0"/>
          <c:showSerName val="0"/>
          <c:showPercent val="0"/>
          <c:showBubbleSize val="0"/>
        </c:dLbls>
        <c:gapWidth val="100"/>
        <c:overlap val="-24"/>
        <c:axId val="302956752"/>
        <c:axId val="302957584"/>
      </c:barChart>
      <c:catAx>
        <c:axId val="3029567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02957584"/>
        <c:crosses val="autoZero"/>
        <c:auto val="1"/>
        <c:lblAlgn val="ctr"/>
        <c:lblOffset val="100"/>
        <c:noMultiLvlLbl val="0"/>
      </c:catAx>
      <c:valAx>
        <c:axId val="30295758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dirty="0"/>
                  <a:t>Cashflows</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02956752"/>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I$4:$I$10</c:f>
              <c:strCache>
                <c:ptCount val="7"/>
                <c:pt idx="0">
                  <c:v>Baseline </c:v>
                </c:pt>
                <c:pt idx="1">
                  <c:v>Parallel-Up</c:v>
                </c:pt>
                <c:pt idx="2">
                  <c:v>Parallel-Down</c:v>
                </c:pt>
                <c:pt idx="3">
                  <c:v>Steepener </c:v>
                </c:pt>
                <c:pt idx="4">
                  <c:v>Flatenner</c:v>
                </c:pt>
                <c:pt idx="5">
                  <c:v>Short Rate Shock Up</c:v>
                </c:pt>
                <c:pt idx="6">
                  <c:v>Short Rate Shock Down</c:v>
                </c:pt>
              </c:strCache>
            </c:strRef>
          </c:cat>
          <c:val>
            <c:numRef>
              <c:f>Sheet1!$J$4:$J$10</c:f>
              <c:numCache>
                <c:formatCode>0.0000</c:formatCode>
                <c:ptCount val="7"/>
                <c:pt idx="0">
                  <c:v>105</c:v>
                </c:pt>
                <c:pt idx="1">
                  <c:v>125</c:v>
                </c:pt>
                <c:pt idx="2">
                  <c:v>85</c:v>
                </c:pt>
                <c:pt idx="3">
                  <c:v>95</c:v>
                </c:pt>
                <c:pt idx="4">
                  <c:v>102</c:v>
                </c:pt>
                <c:pt idx="5">
                  <c:v>110</c:v>
                </c:pt>
                <c:pt idx="6">
                  <c:v>90</c:v>
                </c:pt>
              </c:numCache>
            </c:numRef>
          </c:val>
          <c:extLst>
            <c:ext xmlns:c16="http://schemas.microsoft.com/office/drawing/2014/chart" uri="{C3380CC4-5D6E-409C-BE32-E72D297353CC}">
              <c16:uniqueId val="{00000000-E219-4A94-A7C9-36B922911BE7}"/>
            </c:ext>
          </c:extLst>
        </c:ser>
        <c:dLbls>
          <c:showLegendKey val="0"/>
          <c:showVal val="0"/>
          <c:showCatName val="0"/>
          <c:showSerName val="0"/>
          <c:showPercent val="0"/>
          <c:showBubbleSize val="0"/>
        </c:dLbls>
        <c:gapWidth val="100"/>
        <c:overlap val="-24"/>
        <c:axId val="302956752"/>
        <c:axId val="302957584"/>
      </c:barChart>
      <c:catAx>
        <c:axId val="302956752"/>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02957584"/>
        <c:crosses val="autoZero"/>
        <c:auto val="1"/>
        <c:lblAlgn val="ctr"/>
        <c:lblOffset val="100"/>
        <c:noMultiLvlLbl val="0"/>
      </c:catAx>
      <c:valAx>
        <c:axId val="302957584"/>
        <c:scaling>
          <c:orientation val="minMax"/>
        </c:scaling>
        <c:delete val="0"/>
        <c:axPos val="l"/>
        <c:majorGridlines>
          <c:spPr>
            <a:ln w="9525" cap="flat" cmpd="sng" algn="ctr">
              <a:solidFill>
                <a:schemeClr val="lt1">
                  <a:lumMod val="95000"/>
                  <a:alpha val="10000"/>
                </a:schemeClr>
              </a:solidFill>
              <a:round/>
            </a:ln>
            <a:effectLst/>
          </c:spPr>
        </c:majorGridlines>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IN"/>
                  <a:t>Cashflows</a:t>
                </a:r>
              </a:p>
            </c:rich>
          </c:tx>
          <c:overlay val="0"/>
          <c:spPr>
            <a:noFill/>
            <a:ln>
              <a:noFill/>
            </a:ln>
            <a:effectLst/>
          </c:spPr>
          <c:txPr>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endParaRPr lang="en-US"/>
            </a:p>
          </c:txPr>
        </c:title>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02956752"/>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3!$A$3</c:f>
              <c:strCache>
                <c:ptCount val="1"/>
                <c:pt idx="0">
                  <c:v>Core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3!$B$2:$D$2</c:f>
              <c:strCache>
                <c:ptCount val="3"/>
                <c:pt idx="0">
                  <c:v>Retail - Transactional </c:v>
                </c:pt>
                <c:pt idx="1">
                  <c:v>Retail - Non Transactional </c:v>
                </c:pt>
                <c:pt idx="2">
                  <c:v>Wholesale</c:v>
                </c:pt>
              </c:strCache>
            </c:strRef>
          </c:cat>
          <c:val>
            <c:numRef>
              <c:f>Sheet3!$B$3:$D$3</c:f>
              <c:numCache>
                <c:formatCode>0%</c:formatCode>
                <c:ptCount val="3"/>
                <c:pt idx="0">
                  <c:v>0.9</c:v>
                </c:pt>
                <c:pt idx="1">
                  <c:v>0.7</c:v>
                </c:pt>
                <c:pt idx="2">
                  <c:v>0.5</c:v>
                </c:pt>
              </c:numCache>
            </c:numRef>
          </c:val>
          <c:extLst>
            <c:ext xmlns:c16="http://schemas.microsoft.com/office/drawing/2014/chart" uri="{C3380CC4-5D6E-409C-BE32-E72D297353CC}">
              <c16:uniqueId val="{00000000-E030-4829-B18F-0A6357CBBE5F}"/>
            </c:ext>
          </c:extLst>
        </c:ser>
        <c:ser>
          <c:idx val="1"/>
          <c:order val="1"/>
          <c:tx>
            <c:strRef>
              <c:f>Sheet3!$A$4</c:f>
              <c:strCache>
                <c:ptCount val="1"/>
                <c:pt idx="0">
                  <c:v>Non-Cor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3!$B$2:$D$2</c:f>
              <c:strCache>
                <c:ptCount val="3"/>
                <c:pt idx="0">
                  <c:v>Retail - Transactional </c:v>
                </c:pt>
                <c:pt idx="1">
                  <c:v>Retail - Non Transactional </c:v>
                </c:pt>
                <c:pt idx="2">
                  <c:v>Wholesale</c:v>
                </c:pt>
              </c:strCache>
            </c:strRef>
          </c:cat>
          <c:val>
            <c:numRef>
              <c:f>Sheet3!$B$4:$D$4</c:f>
              <c:numCache>
                <c:formatCode>0%</c:formatCode>
                <c:ptCount val="3"/>
                <c:pt idx="0">
                  <c:v>0.1</c:v>
                </c:pt>
                <c:pt idx="1">
                  <c:v>0.3</c:v>
                </c:pt>
                <c:pt idx="2">
                  <c:v>0.5</c:v>
                </c:pt>
              </c:numCache>
            </c:numRef>
          </c:val>
          <c:extLst>
            <c:ext xmlns:c16="http://schemas.microsoft.com/office/drawing/2014/chart" uri="{C3380CC4-5D6E-409C-BE32-E72D297353CC}">
              <c16:uniqueId val="{00000001-E030-4829-B18F-0A6357CBBE5F}"/>
            </c:ext>
          </c:extLst>
        </c:ser>
        <c:dLbls>
          <c:showLegendKey val="0"/>
          <c:showVal val="0"/>
          <c:showCatName val="0"/>
          <c:showSerName val="0"/>
          <c:showPercent val="0"/>
          <c:showBubbleSize val="0"/>
        </c:dLbls>
        <c:gapWidth val="150"/>
        <c:overlap val="100"/>
        <c:axId val="546834864"/>
        <c:axId val="546835696"/>
      </c:barChart>
      <c:catAx>
        <c:axId val="546834864"/>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46835696"/>
        <c:crosses val="autoZero"/>
        <c:auto val="1"/>
        <c:lblAlgn val="ctr"/>
        <c:lblOffset val="100"/>
        <c:noMultiLvlLbl val="0"/>
      </c:catAx>
      <c:valAx>
        <c:axId val="546835696"/>
        <c:scaling>
          <c:orientation val="minMax"/>
          <c:max val="1"/>
        </c:scaling>
        <c:delete val="0"/>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546834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3!$G$2</c:f>
              <c:strCache>
                <c:ptCount val="1"/>
                <c:pt idx="0">
                  <c:v>Retail - Transactional </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3!$F$3:$F$8</c:f>
              <c:strCache>
                <c:ptCount val="6"/>
                <c:pt idx="0">
                  <c:v>1-3 Months</c:v>
                </c:pt>
                <c:pt idx="1">
                  <c:v>3-6 Months</c:v>
                </c:pt>
                <c:pt idx="2">
                  <c:v>6 Months - 1 Year</c:v>
                </c:pt>
                <c:pt idx="3">
                  <c:v>1-3 Year</c:v>
                </c:pt>
                <c:pt idx="4">
                  <c:v>3-5 Year</c:v>
                </c:pt>
                <c:pt idx="5">
                  <c:v>&gt;5 Year</c:v>
                </c:pt>
              </c:strCache>
            </c:strRef>
          </c:cat>
          <c:val>
            <c:numRef>
              <c:f>Sheet3!$G$3:$G$8</c:f>
              <c:numCache>
                <c:formatCode>0%</c:formatCode>
                <c:ptCount val="6"/>
                <c:pt idx="0">
                  <c:v>0.25</c:v>
                </c:pt>
                <c:pt idx="1">
                  <c:v>0.3</c:v>
                </c:pt>
                <c:pt idx="2">
                  <c:v>0.1</c:v>
                </c:pt>
                <c:pt idx="3">
                  <c:v>0.15</c:v>
                </c:pt>
                <c:pt idx="4">
                  <c:v>0.1</c:v>
                </c:pt>
                <c:pt idx="5">
                  <c:v>0.1</c:v>
                </c:pt>
              </c:numCache>
            </c:numRef>
          </c:val>
          <c:extLst>
            <c:ext xmlns:c16="http://schemas.microsoft.com/office/drawing/2014/chart" uri="{C3380CC4-5D6E-409C-BE32-E72D297353CC}">
              <c16:uniqueId val="{00000000-471B-4ABF-B01B-B72568709C67}"/>
            </c:ext>
          </c:extLst>
        </c:ser>
        <c:ser>
          <c:idx val="1"/>
          <c:order val="1"/>
          <c:tx>
            <c:strRef>
              <c:f>Sheet3!$H$2</c:f>
              <c:strCache>
                <c:ptCount val="1"/>
                <c:pt idx="0">
                  <c:v>Retail - Non Transactional </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3!$F$3:$F$8</c:f>
              <c:strCache>
                <c:ptCount val="6"/>
                <c:pt idx="0">
                  <c:v>1-3 Months</c:v>
                </c:pt>
                <c:pt idx="1">
                  <c:v>3-6 Months</c:v>
                </c:pt>
                <c:pt idx="2">
                  <c:v>6 Months - 1 Year</c:v>
                </c:pt>
                <c:pt idx="3">
                  <c:v>1-3 Year</c:v>
                </c:pt>
                <c:pt idx="4">
                  <c:v>3-5 Year</c:v>
                </c:pt>
                <c:pt idx="5">
                  <c:v>&gt;5 Year</c:v>
                </c:pt>
              </c:strCache>
            </c:strRef>
          </c:cat>
          <c:val>
            <c:numRef>
              <c:f>Sheet3!$H$3:$H$8</c:f>
              <c:numCache>
                <c:formatCode>0%</c:formatCode>
                <c:ptCount val="6"/>
                <c:pt idx="0">
                  <c:v>0.05</c:v>
                </c:pt>
                <c:pt idx="1">
                  <c:v>0.1</c:v>
                </c:pt>
                <c:pt idx="2">
                  <c:v>0.15</c:v>
                </c:pt>
                <c:pt idx="3">
                  <c:v>0.25</c:v>
                </c:pt>
                <c:pt idx="4">
                  <c:v>0.2</c:v>
                </c:pt>
                <c:pt idx="5">
                  <c:v>0.25</c:v>
                </c:pt>
              </c:numCache>
            </c:numRef>
          </c:val>
          <c:extLst>
            <c:ext xmlns:c16="http://schemas.microsoft.com/office/drawing/2014/chart" uri="{C3380CC4-5D6E-409C-BE32-E72D297353CC}">
              <c16:uniqueId val="{00000001-471B-4ABF-B01B-B72568709C67}"/>
            </c:ext>
          </c:extLst>
        </c:ser>
        <c:ser>
          <c:idx val="2"/>
          <c:order val="2"/>
          <c:tx>
            <c:strRef>
              <c:f>Sheet3!$I$2</c:f>
              <c:strCache>
                <c:ptCount val="1"/>
                <c:pt idx="0">
                  <c:v>Wholesale</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3!$F$3:$F$8</c:f>
              <c:strCache>
                <c:ptCount val="6"/>
                <c:pt idx="0">
                  <c:v>1-3 Months</c:v>
                </c:pt>
                <c:pt idx="1">
                  <c:v>3-6 Months</c:v>
                </c:pt>
                <c:pt idx="2">
                  <c:v>6 Months - 1 Year</c:v>
                </c:pt>
                <c:pt idx="3">
                  <c:v>1-3 Year</c:v>
                </c:pt>
                <c:pt idx="4">
                  <c:v>3-5 Year</c:v>
                </c:pt>
                <c:pt idx="5">
                  <c:v>&gt;5 Year</c:v>
                </c:pt>
              </c:strCache>
            </c:strRef>
          </c:cat>
          <c:val>
            <c:numRef>
              <c:f>Sheet3!$I$3:$I$8</c:f>
              <c:numCache>
                <c:formatCode>0%</c:formatCode>
                <c:ptCount val="6"/>
                <c:pt idx="0">
                  <c:v>0.2</c:v>
                </c:pt>
                <c:pt idx="1">
                  <c:v>0.3</c:v>
                </c:pt>
                <c:pt idx="2">
                  <c:v>0.3</c:v>
                </c:pt>
                <c:pt idx="3">
                  <c:v>0.05</c:v>
                </c:pt>
                <c:pt idx="4">
                  <c:v>0.05</c:v>
                </c:pt>
                <c:pt idx="5">
                  <c:v>0.1</c:v>
                </c:pt>
              </c:numCache>
            </c:numRef>
          </c:val>
          <c:extLst>
            <c:ext xmlns:c16="http://schemas.microsoft.com/office/drawing/2014/chart" uri="{C3380CC4-5D6E-409C-BE32-E72D297353CC}">
              <c16:uniqueId val="{00000002-471B-4ABF-B01B-B72568709C67}"/>
            </c:ext>
          </c:extLst>
        </c:ser>
        <c:dLbls>
          <c:showLegendKey val="0"/>
          <c:showVal val="0"/>
          <c:showCatName val="0"/>
          <c:showSerName val="0"/>
          <c:showPercent val="0"/>
          <c:showBubbleSize val="0"/>
        </c:dLbls>
        <c:gapWidth val="115"/>
        <c:overlap val="-20"/>
        <c:axId val="326672624"/>
        <c:axId val="326677200"/>
      </c:barChart>
      <c:catAx>
        <c:axId val="326672624"/>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6677200"/>
        <c:crosses val="autoZero"/>
        <c:auto val="1"/>
        <c:lblAlgn val="ctr"/>
        <c:lblOffset val="100"/>
        <c:noMultiLvlLbl val="0"/>
      </c:catAx>
      <c:valAx>
        <c:axId val="326677200"/>
        <c:scaling>
          <c:orientation val="minMax"/>
        </c:scaling>
        <c:delete val="0"/>
        <c:axPos val="b"/>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3266726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IN" dirty="0"/>
              <a:t>Prepayment</a:t>
            </a:r>
            <a:r>
              <a:rPr lang="en-IN" baseline="0" dirty="0"/>
              <a:t> adjusted principal run-off across IR scenarios</a:t>
            </a:r>
            <a:endParaRPr lang="en-IN" dirty="0"/>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lineChart>
        <c:grouping val="stacked"/>
        <c:varyColors val="0"/>
        <c:ser>
          <c:idx val="0"/>
          <c:order val="0"/>
          <c:tx>
            <c:strRef>
              <c:f>Visuals!$B$55</c:f>
              <c:strCache>
                <c:ptCount val="1"/>
                <c:pt idx="0">
                  <c:v>Baseline</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B$56:$B$66</c:f>
              <c:numCache>
                <c:formatCode>0.000</c:formatCode>
                <c:ptCount val="11"/>
                <c:pt idx="0">
                  <c:v>100</c:v>
                </c:pt>
                <c:pt idx="1">
                  <c:v>90</c:v>
                </c:pt>
                <c:pt idx="2">
                  <c:v>80</c:v>
                </c:pt>
                <c:pt idx="3">
                  <c:v>70</c:v>
                </c:pt>
                <c:pt idx="4">
                  <c:v>60</c:v>
                </c:pt>
                <c:pt idx="5">
                  <c:v>50</c:v>
                </c:pt>
                <c:pt idx="6">
                  <c:v>40</c:v>
                </c:pt>
                <c:pt idx="7">
                  <c:v>30</c:v>
                </c:pt>
                <c:pt idx="8">
                  <c:v>20</c:v>
                </c:pt>
                <c:pt idx="9">
                  <c:v>10</c:v>
                </c:pt>
                <c:pt idx="10">
                  <c:v>0</c:v>
                </c:pt>
              </c:numCache>
            </c:numRef>
          </c:val>
          <c:smooth val="0"/>
          <c:extLst>
            <c:ext xmlns:c16="http://schemas.microsoft.com/office/drawing/2014/chart" uri="{C3380CC4-5D6E-409C-BE32-E72D297353CC}">
              <c16:uniqueId val="{00000000-646E-4883-8731-C95777EF7080}"/>
            </c:ext>
          </c:extLst>
        </c:ser>
        <c:ser>
          <c:idx val="1"/>
          <c:order val="1"/>
          <c:tx>
            <c:strRef>
              <c:f>Visuals!$C$55</c:f>
              <c:strCache>
                <c:ptCount val="1"/>
                <c:pt idx="0">
                  <c:v>Parallel-Up</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C$56:$C$66</c:f>
              <c:numCache>
                <c:formatCode>0.000</c:formatCode>
                <c:ptCount val="11"/>
                <c:pt idx="0">
                  <c:v>100</c:v>
                </c:pt>
                <c:pt idx="1">
                  <c:v>89.942400000000006</c:v>
                </c:pt>
                <c:pt idx="2">
                  <c:v>79.897632768000008</c:v>
                </c:pt>
                <c:pt idx="3">
                  <c:v>69.865685997649919</c:v>
                </c:pt>
                <c:pt idx="4">
                  <c:v>59.846547393095513</c:v>
                </c:pt>
                <c:pt idx="5">
                  <c:v>49.840204668969946</c:v>
                </c:pt>
                <c:pt idx="6">
                  <c:v>39.846645550385446</c:v>
                </c:pt>
                <c:pt idx="7">
                  <c:v>29.865857772924901</c:v>
                </c:pt>
                <c:pt idx="8">
                  <c:v>19.897829082633486</c:v>
                </c:pt>
                <c:pt idx="9">
                  <c:v>9.9425472360103004</c:v>
                </c:pt>
                <c:pt idx="10">
                  <c:v>0</c:v>
                </c:pt>
              </c:numCache>
            </c:numRef>
          </c:val>
          <c:smooth val="0"/>
          <c:extLst>
            <c:ext xmlns:c16="http://schemas.microsoft.com/office/drawing/2014/chart" uri="{C3380CC4-5D6E-409C-BE32-E72D297353CC}">
              <c16:uniqueId val="{00000001-646E-4883-8731-C95777EF7080}"/>
            </c:ext>
          </c:extLst>
        </c:ser>
        <c:ser>
          <c:idx val="2"/>
          <c:order val="2"/>
          <c:tx>
            <c:strRef>
              <c:f>Visuals!$D$55</c:f>
              <c:strCache>
                <c:ptCount val="1"/>
                <c:pt idx="0">
                  <c:v>Parallel-Down</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D$56:$D$66</c:f>
              <c:numCache>
                <c:formatCode>0.000</c:formatCode>
                <c:ptCount val="11"/>
                <c:pt idx="0">
                  <c:v>100</c:v>
                </c:pt>
                <c:pt idx="1">
                  <c:v>89.913600000000002</c:v>
                </c:pt>
                <c:pt idx="2">
                  <c:v>79.846473728000007</c:v>
                </c:pt>
                <c:pt idx="3">
                  <c:v>69.798593474068483</c:v>
                </c:pt>
                <c:pt idx="4">
                  <c:v>59.76993156371433</c:v>
                </c:pt>
                <c:pt idx="5">
                  <c:v>49.760460357844302</c:v>
                </c:pt>
                <c:pt idx="6">
                  <c:v>39.770152252720621</c:v>
                </c:pt>
                <c:pt idx="7">
                  <c:v>29.798979679918506</c:v>
                </c:pt>
                <c:pt idx="8">
                  <c:v>19.846915106283856</c:v>
                </c:pt>
                <c:pt idx="9">
                  <c:v>9.9139310338909112</c:v>
                </c:pt>
                <c:pt idx="10">
                  <c:v>0</c:v>
                </c:pt>
              </c:numCache>
            </c:numRef>
          </c:val>
          <c:smooth val="0"/>
          <c:extLst>
            <c:ext xmlns:c16="http://schemas.microsoft.com/office/drawing/2014/chart" uri="{C3380CC4-5D6E-409C-BE32-E72D297353CC}">
              <c16:uniqueId val="{00000002-646E-4883-8731-C95777EF7080}"/>
            </c:ext>
          </c:extLst>
        </c:ser>
        <c:ser>
          <c:idx val="3"/>
          <c:order val="3"/>
          <c:tx>
            <c:strRef>
              <c:f>Visuals!$E$55</c:f>
              <c:strCache>
                <c:ptCount val="1"/>
                <c:pt idx="0">
                  <c:v>Steepner</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E$56:$E$66</c:f>
              <c:numCache>
                <c:formatCode>0.000</c:formatCode>
                <c:ptCount val="11"/>
                <c:pt idx="0">
                  <c:v>100</c:v>
                </c:pt>
                <c:pt idx="1">
                  <c:v>89.942400000000006</c:v>
                </c:pt>
                <c:pt idx="2">
                  <c:v>79.897632768000008</c:v>
                </c:pt>
                <c:pt idx="3">
                  <c:v>69.865685997649919</c:v>
                </c:pt>
                <c:pt idx="4">
                  <c:v>59.846547393095513</c:v>
                </c:pt>
                <c:pt idx="5">
                  <c:v>49.840204668969946</c:v>
                </c:pt>
                <c:pt idx="6">
                  <c:v>39.846645550385446</c:v>
                </c:pt>
                <c:pt idx="7">
                  <c:v>29.865857772924901</c:v>
                </c:pt>
                <c:pt idx="8">
                  <c:v>19.897829082633486</c:v>
                </c:pt>
                <c:pt idx="9">
                  <c:v>9.9425472360103004</c:v>
                </c:pt>
                <c:pt idx="10">
                  <c:v>0</c:v>
                </c:pt>
              </c:numCache>
            </c:numRef>
          </c:val>
          <c:smooth val="0"/>
          <c:extLst>
            <c:ext xmlns:c16="http://schemas.microsoft.com/office/drawing/2014/chart" uri="{C3380CC4-5D6E-409C-BE32-E72D297353CC}">
              <c16:uniqueId val="{00000003-646E-4883-8731-C95777EF7080}"/>
            </c:ext>
          </c:extLst>
        </c:ser>
        <c:ser>
          <c:idx val="4"/>
          <c:order val="4"/>
          <c:tx>
            <c:strRef>
              <c:f>Visuals!$F$55</c:f>
              <c:strCache>
                <c:ptCount val="1"/>
                <c:pt idx="0">
                  <c:v>Flattener</c:v>
                </c:pt>
              </c:strCache>
            </c:strRef>
          </c:tx>
          <c:spPr>
            <a:ln w="34925" cap="rnd">
              <a:solidFill>
                <a:schemeClr val="accent5"/>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F$56:$F$66</c:f>
              <c:numCache>
                <c:formatCode>0.000</c:formatCode>
                <c:ptCount val="11"/>
                <c:pt idx="0">
                  <c:v>100</c:v>
                </c:pt>
                <c:pt idx="1">
                  <c:v>89.913600000000002</c:v>
                </c:pt>
                <c:pt idx="2">
                  <c:v>79.846473728000007</c:v>
                </c:pt>
                <c:pt idx="3">
                  <c:v>69.798593474068483</c:v>
                </c:pt>
                <c:pt idx="4">
                  <c:v>59.76993156371433</c:v>
                </c:pt>
                <c:pt idx="5">
                  <c:v>49.760460357844302</c:v>
                </c:pt>
                <c:pt idx="6">
                  <c:v>39.770152252720621</c:v>
                </c:pt>
                <c:pt idx="7">
                  <c:v>29.798979679918506</c:v>
                </c:pt>
                <c:pt idx="8">
                  <c:v>19.846915106283856</c:v>
                </c:pt>
                <c:pt idx="9">
                  <c:v>9.9139310338909112</c:v>
                </c:pt>
                <c:pt idx="10">
                  <c:v>0</c:v>
                </c:pt>
              </c:numCache>
            </c:numRef>
          </c:val>
          <c:smooth val="0"/>
          <c:extLst>
            <c:ext xmlns:c16="http://schemas.microsoft.com/office/drawing/2014/chart" uri="{C3380CC4-5D6E-409C-BE32-E72D297353CC}">
              <c16:uniqueId val="{00000004-646E-4883-8731-C95777EF7080}"/>
            </c:ext>
          </c:extLst>
        </c:ser>
        <c:ser>
          <c:idx val="5"/>
          <c:order val="5"/>
          <c:tx>
            <c:strRef>
              <c:f>Visuals!$G$55</c:f>
              <c:strCache>
                <c:ptCount val="1"/>
                <c:pt idx="0">
                  <c:v>Short rate up</c:v>
                </c:pt>
              </c:strCache>
            </c:strRef>
          </c:tx>
          <c:spPr>
            <a:ln w="34925" cap="rnd">
              <a:solidFill>
                <a:schemeClr val="accent6"/>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G$56:$G$66</c:f>
              <c:numCache>
                <c:formatCode>0.000</c:formatCode>
                <c:ptCount val="11"/>
                <c:pt idx="0">
                  <c:v>100</c:v>
                </c:pt>
                <c:pt idx="1">
                  <c:v>89.942400000000006</c:v>
                </c:pt>
                <c:pt idx="2">
                  <c:v>79.897632768000008</c:v>
                </c:pt>
                <c:pt idx="3">
                  <c:v>69.865685997649919</c:v>
                </c:pt>
                <c:pt idx="4">
                  <c:v>59.846547393095513</c:v>
                </c:pt>
                <c:pt idx="5">
                  <c:v>49.840204668969946</c:v>
                </c:pt>
                <c:pt idx="6">
                  <c:v>39.846645550385446</c:v>
                </c:pt>
                <c:pt idx="7">
                  <c:v>29.865857772924901</c:v>
                </c:pt>
                <c:pt idx="8">
                  <c:v>19.897829082633486</c:v>
                </c:pt>
                <c:pt idx="9">
                  <c:v>9.9425472360103004</c:v>
                </c:pt>
                <c:pt idx="10">
                  <c:v>0</c:v>
                </c:pt>
              </c:numCache>
            </c:numRef>
          </c:val>
          <c:smooth val="0"/>
          <c:extLst>
            <c:ext xmlns:c16="http://schemas.microsoft.com/office/drawing/2014/chart" uri="{C3380CC4-5D6E-409C-BE32-E72D297353CC}">
              <c16:uniqueId val="{00000005-646E-4883-8731-C95777EF7080}"/>
            </c:ext>
          </c:extLst>
        </c:ser>
        <c:ser>
          <c:idx val="6"/>
          <c:order val="6"/>
          <c:tx>
            <c:strRef>
              <c:f>Visuals!$H$55</c:f>
              <c:strCache>
                <c:ptCount val="1"/>
                <c:pt idx="0">
                  <c:v>Short rate down</c:v>
                </c:pt>
              </c:strCache>
            </c:strRef>
          </c:tx>
          <c:spPr>
            <a:ln w="34925" cap="rnd">
              <a:solidFill>
                <a:schemeClr val="accent1">
                  <a:lumMod val="60000"/>
                </a:schemeClr>
              </a:solidFill>
              <a:round/>
            </a:ln>
            <a:effectLst>
              <a:outerShdw blurRad="57150" dist="19050" dir="5400000" algn="ctr" rotWithShape="0">
                <a:srgbClr val="000000">
                  <a:alpha val="63000"/>
                </a:srgbClr>
              </a:outerShdw>
            </a:effectLst>
          </c:spPr>
          <c:marker>
            <c:symbol val="none"/>
          </c:marker>
          <c:cat>
            <c:numRef>
              <c:f>Visuals!$A$56:$A$66</c:f>
              <c:numCache>
                <c:formatCode>d\-mmm\-yy</c:formatCode>
                <c:ptCount val="11"/>
                <c:pt idx="0">
                  <c:v>43861</c:v>
                </c:pt>
                <c:pt idx="1">
                  <c:v>43890</c:v>
                </c:pt>
                <c:pt idx="2">
                  <c:v>43921</c:v>
                </c:pt>
                <c:pt idx="3">
                  <c:v>43951</c:v>
                </c:pt>
                <c:pt idx="4">
                  <c:v>43982</c:v>
                </c:pt>
                <c:pt idx="5">
                  <c:v>44012</c:v>
                </c:pt>
                <c:pt idx="6">
                  <c:v>44043</c:v>
                </c:pt>
                <c:pt idx="7">
                  <c:v>44074</c:v>
                </c:pt>
                <c:pt idx="8">
                  <c:v>44104</c:v>
                </c:pt>
                <c:pt idx="9">
                  <c:v>44135</c:v>
                </c:pt>
                <c:pt idx="10">
                  <c:v>44165</c:v>
                </c:pt>
              </c:numCache>
            </c:numRef>
          </c:cat>
          <c:val>
            <c:numRef>
              <c:f>Visuals!$H$56:$H$66</c:f>
              <c:numCache>
                <c:formatCode>0.000</c:formatCode>
                <c:ptCount val="11"/>
                <c:pt idx="0">
                  <c:v>100</c:v>
                </c:pt>
                <c:pt idx="1">
                  <c:v>89.913600000000002</c:v>
                </c:pt>
                <c:pt idx="2">
                  <c:v>79.846473728000007</c:v>
                </c:pt>
                <c:pt idx="3">
                  <c:v>69.798593474068483</c:v>
                </c:pt>
                <c:pt idx="4">
                  <c:v>59.76993156371433</c:v>
                </c:pt>
                <c:pt idx="5">
                  <c:v>49.760460357844302</c:v>
                </c:pt>
                <c:pt idx="6">
                  <c:v>39.770152252720621</c:v>
                </c:pt>
                <c:pt idx="7">
                  <c:v>29.798979679918506</c:v>
                </c:pt>
                <c:pt idx="8">
                  <c:v>19.846915106283856</c:v>
                </c:pt>
                <c:pt idx="9">
                  <c:v>9.9139310338909112</c:v>
                </c:pt>
                <c:pt idx="10">
                  <c:v>0</c:v>
                </c:pt>
              </c:numCache>
            </c:numRef>
          </c:val>
          <c:smooth val="0"/>
          <c:extLst>
            <c:ext xmlns:c16="http://schemas.microsoft.com/office/drawing/2014/chart" uri="{C3380CC4-5D6E-409C-BE32-E72D297353CC}">
              <c16:uniqueId val="{00000006-646E-4883-8731-C95777EF7080}"/>
            </c:ext>
          </c:extLst>
        </c:ser>
        <c:dLbls>
          <c:showLegendKey val="0"/>
          <c:showVal val="0"/>
          <c:showCatName val="0"/>
          <c:showSerName val="0"/>
          <c:showPercent val="0"/>
          <c:showBubbleSize val="0"/>
        </c:dLbls>
        <c:smooth val="0"/>
        <c:axId val="574462192"/>
        <c:axId val="574466352"/>
      </c:lineChart>
      <c:dateAx>
        <c:axId val="574462192"/>
        <c:scaling>
          <c:orientation val="minMax"/>
        </c:scaling>
        <c:delete val="1"/>
        <c:axPos val="b"/>
        <c:numFmt formatCode="d\-mmm\-yy" sourceLinked="1"/>
        <c:majorTickMark val="out"/>
        <c:minorTickMark val="none"/>
        <c:tickLblPos val="nextTo"/>
        <c:crossAx val="574466352"/>
        <c:crosses val="autoZero"/>
        <c:auto val="1"/>
        <c:lblOffset val="100"/>
        <c:baseTimeUnit val="months"/>
      </c:dateAx>
      <c:valAx>
        <c:axId val="574466352"/>
        <c:scaling>
          <c:orientation val="minMax"/>
        </c:scaling>
        <c:delete val="1"/>
        <c:axPos val="l"/>
        <c:majorGridlines>
          <c:spPr>
            <a:ln w="9525" cap="flat" cmpd="sng" algn="ctr">
              <a:solidFill>
                <a:schemeClr val="lt1">
                  <a:lumMod val="95000"/>
                  <a:alpha val="10000"/>
                </a:schemeClr>
              </a:solidFill>
              <a:round/>
            </a:ln>
            <a:effectLst/>
          </c:spPr>
        </c:majorGridlines>
        <c:numFmt formatCode="0.000" sourceLinked="1"/>
        <c:majorTickMark val="out"/>
        <c:minorTickMark val="none"/>
        <c:tickLblPos val="nextTo"/>
        <c:crossAx val="574462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1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33">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9525" cap="flat" cmpd="sng" algn="ctr">
        <a:solidFill>
          <a:schemeClr val="lt1">
            <a:lumMod val="95000"/>
            <a:alpha val="10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B2EFBB-0BCC-4A1D-9ED8-84B8867ABABE}" type="datetimeFigureOut">
              <a:rPr lang="en-IN" smtClean="0"/>
              <a:t>12-08-2021</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IN"/>
              <a:t>1</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203F371-8F35-4F90-9E77-40C93ED6257F}" type="slidenum">
              <a:rPr lang="en-IN" smtClean="0"/>
              <a:t>‹#›</a:t>
            </a:fld>
            <a:endParaRPr lang="en-IN"/>
          </a:p>
        </p:txBody>
      </p:sp>
    </p:spTree>
    <p:extLst>
      <p:ext uri="{BB962C8B-B14F-4D97-AF65-F5344CB8AC3E}">
        <p14:creationId xmlns:p14="http://schemas.microsoft.com/office/powerpoint/2010/main" val="344621781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D32B5A-112C-4AE6-875C-0ED6994DC26A}" type="datetimeFigureOut">
              <a:rPr lang="en-US" smtClean="0"/>
              <a:pPr/>
              <a:t>8/12/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US"/>
              <a:t>1</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63E7AC-6455-4A0F-B654-220C7D7B7B8D}" type="slidenum">
              <a:rPr lang="en-US" smtClean="0"/>
              <a:pPr/>
              <a:t>‹#›</a:t>
            </a:fld>
            <a:endParaRPr lang="en-US"/>
          </a:p>
        </p:txBody>
      </p:sp>
    </p:spTree>
    <p:extLst>
      <p:ext uri="{BB962C8B-B14F-4D97-AF65-F5344CB8AC3E}">
        <p14:creationId xmlns:p14="http://schemas.microsoft.com/office/powerpoint/2010/main" val="173576444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4188650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11</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14526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12</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1994689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13</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815671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14</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536873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15</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147234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16</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968171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17</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468685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18</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4076824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633749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0</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4206104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525315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1</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039753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2</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7032912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3</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411292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4</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5256195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5</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232687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6</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4450347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7</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4796658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8</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451856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29</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9137980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0</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83039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4</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942144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1</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844476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2</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3613147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3</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3681433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4</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40737938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5</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4240493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6</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2588773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7</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3731136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8</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5785454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39</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4030854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40</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009168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5</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5096775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41</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30333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42</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081436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6</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2129565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7</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501196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963E7AC-6455-4A0F-B654-220C7D7B7B8D}" type="slidenum">
              <a:rPr lang="en-US" smtClean="0"/>
              <a:pPr/>
              <a:t>8</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6079986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9</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3088518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963E7AC-6455-4A0F-B654-220C7D7B7B8D}" type="slidenum">
              <a:rPr lang="en-US" smtClean="0"/>
              <a:pPr/>
              <a:t>10</a:t>
            </a:fld>
            <a:endParaRPr lang="en-US"/>
          </a:p>
        </p:txBody>
      </p:sp>
      <p:sp>
        <p:nvSpPr>
          <p:cNvPr id="5" name="Footer Placeholder 4"/>
          <p:cNvSpPr>
            <a:spLocks noGrp="1"/>
          </p:cNvSpPr>
          <p:nvPr>
            <p:ph type="ftr" sz="quarter" idx="11"/>
          </p:nvPr>
        </p:nvSpPr>
        <p:spPr/>
        <p:txBody>
          <a:bodyPr/>
          <a:lstStyle/>
          <a:p>
            <a:r>
              <a:rPr lang="en-US"/>
              <a:t>1</a:t>
            </a:r>
          </a:p>
        </p:txBody>
      </p:sp>
    </p:spTree>
    <p:extLst>
      <p:ext uri="{BB962C8B-B14F-4D97-AF65-F5344CB8AC3E}">
        <p14:creationId xmlns:p14="http://schemas.microsoft.com/office/powerpoint/2010/main" val="1585317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279DE1F-5E27-4B45-9D15-005F28CE4332}" type="slidenum">
              <a:rPr lang="en-GB"/>
              <a:pPr>
                <a:defRPr/>
              </a:pPr>
              <a:t>‹#›</a:t>
            </a:fld>
            <a:endParaRPr lang="en-GB"/>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6321966-726A-4E9E-9E02-D49DCD2200A8}" type="slidenum">
              <a:rPr lang="en-GB"/>
              <a:pPr>
                <a:defRPr/>
              </a:pPr>
              <a:t>‹#›</a:t>
            </a:fld>
            <a:endParaRPr lang="en-GB"/>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FA6E245-2043-4183-82FC-0A7BD6A0EBFD}" type="slidenum">
              <a:rPr lang="en-GB"/>
              <a:pPr>
                <a:defRPr/>
              </a:pPr>
              <a:t>‹#›</a:t>
            </a:fld>
            <a:endParaRPr lang="en-GB"/>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en-GB"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GB" dirty="0"/>
          </a:p>
        </p:txBody>
      </p:sp>
      <p:sp>
        <p:nvSpPr>
          <p:cNvPr id="7" name="Rectangle 6"/>
          <p:cNvSpPr>
            <a:spLocks noGrp="1" noChangeArrowheads="1"/>
          </p:cNvSpPr>
          <p:nvPr>
            <p:ph type="sldNum" sz="quarter" idx="12"/>
          </p:nvPr>
        </p:nvSpPr>
        <p:spPr>
          <a:ln/>
        </p:spPr>
        <p:txBody>
          <a:bodyPr/>
          <a:lstStyle>
            <a:lvl1pPr>
              <a:defRPr/>
            </a:lvl1pPr>
          </a:lstStyle>
          <a:p>
            <a:pPr>
              <a:defRPr/>
            </a:pPr>
            <a:fld id="{93A73AEE-D506-4373-89E6-5210E2A754A0}" type="slidenum">
              <a:rPr lang="en-GB"/>
              <a:pPr>
                <a:defRPr/>
              </a:pPr>
              <a:t>‹#›</a:t>
            </a:fld>
            <a:endParaRPr lang="en-GB" dirty="0"/>
          </a:p>
        </p:txBody>
      </p:sp>
      <p:grpSp>
        <p:nvGrpSpPr>
          <p:cNvPr id="8" name="Group 10"/>
          <p:cNvGrpSpPr/>
          <p:nvPr userDrawn="1"/>
        </p:nvGrpSpPr>
        <p:grpSpPr>
          <a:xfrm>
            <a:off x="359371" y="228600"/>
            <a:ext cx="11832629" cy="1284827"/>
            <a:chOff x="269528" y="5496973"/>
            <a:chExt cx="8874472" cy="1284827"/>
          </a:xfrm>
        </p:grpSpPr>
        <p:pic>
          <p:nvPicPr>
            <p:cNvPr id="9" name="Picture 2"/>
            <p:cNvPicPr>
              <a:picLocks noChangeAspect="1" noChangeArrowheads="1"/>
            </p:cNvPicPr>
            <p:nvPr/>
          </p:nvPicPr>
          <p:blipFill>
            <a:blip r:embed="rId2" cstate="print"/>
            <a:srcRect/>
            <a:stretch>
              <a:fillRect/>
            </a:stretch>
          </p:blipFill>
          <p:spPr bwMode="auto">
            <a:xfrm>
              <a:off x="269528" y="5496973"/>
              <a:ext cx="1483072" cy="1284827"/>
            </a:xfrm>
            <a:prstGeom prst="rect">
              <a:avLst/>
            </a:prstGeom>
            <a:noFill/>
            <a:ln w="9525">
              <a:noFill/>
              <a:miter lim="800000"/>
              <a:headEnd/>
              <a:tailEnd/>
            </a:ln>
          </p:spPr>
        </p:pic>
        <p:sp>
          <p:nvSpPr>
            <p:cNvPr id="10" name="Rectangle 5"/>
            <p:cNvSpPr>
              <a:spLocks noChangeArrowheads="1"/>
            </p:cNvSpPr>
            <p:nvPr/>
          </p:nvSpPr>
          <p:spPr bwMode="auto">
            <a:xfrm rot="10800000" flipV="1">
              <a:off x="1752600" y="5820488"/>
              <a:ext cx="73914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4000" b="1" i="0" u="none" strike="noStrike" cap="none" normalizeH="0" baseline="0" dirty="0">
                  <a:ln>
                    <a:noFill/>
                  </a:ln>
                  <a:solidFill>
                    <a:srgbClr val="1F497D"/>
                  </a:solidFill>
                  <a:effectLst/>
                  <a:latin typeface="Bahamas" pitchFamily="34" charset="0"/>
                  <a:cs typeface="Times New Roman" pitchFamily="18" charset="0"/>
                </a:rPr>
                <a:t>Institute of Actuaries of India</a:t>
              </a:r>
              <a:endParaRPr kumimoji="0" lang="en-US" sz="4000" b="1" i="0" u="none" strike="noStrike" cap="none" normalizeH="0" baseline="0" dirty="0">
                <a:ln>
                  <a:noFill/>
                </a:ln>
                <a:solidFill>
                  <a:schemeClr val="tx1"/>
                </a:solidFill>
                <a:effectLst/>
                <a:latin typeface="Bahamas" pitchFamily="34" charset="0"/>
                <a:cs typeface="Times New Roman" pitchFamily="18" charset="0"/>
              </a:endParaRPr>
            </a:p>
          </p:txBody>
        </p:sp>
      </p:grpSp>
      <p:sp>
        <p:nvSpPr>
          <p:cNvPr id="11" name="Rectangle 10"/>
          <p:cNvSpPr/>
          <p:nvPr userDrawn="1"/>
        </p:nvSpPr>
        <p:spPr>
          <a:xfrm>
            <a:off x="0" y="2743201"/>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Title</a:t>
            </a:r>
          </a:p>
        </p:txBody>
      </p:sp>
      <p:sp>
        <p:nvSpPr>
          <p:cNvPr id="12" name="Rectangle 11"/>
          <p:cNvSpPr/>
          <p:nvPr userDrawn="1"/>
        </p:nvSpPr>
        <p:spPr>
          <a:xfrm>
            <a:off x="0" y="3733800"/>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By</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2EF8FD5A-4369-451A-AE4B-9EB0FD82F618}" type="slidenum">
              <a:rPr lang="en-GB"/>
              <a:pPr>
                <a:defRPr/>
              </a:pPr>
              <a:t>‹#›</a:t>
            </a:fld>
            <a:endParaRPr lang="en-GB"/>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D629C963-6CA3-4910-ACAB-89103C5891B0}" type="slidenum">
              <a:rPr lang="en-GB"/>
              <a:pPr>
                <a:defRPr/>
              </a:pPr>
              <a:t>‹#›</a:t>
            </a:fld>
            <a:endParaRPr lang="en-GB"/>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1027"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GB"/>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B118C919-524D-4AE6-802D-F6FBC61D86F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72" r:id="rId7"/>
  </p:sldLayoutIdLst>
  <p:transition/>
  <p:hf hd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23.wmf"/><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package" Target="../embeddings/Microsoft_Excel_Worksheet.xlsx"/><Relationship Id="rId5" Type="http://schemas.openxmlformats.org/officeDocument/2006/relationships/image" Target="../media/image7.png"/><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jpg"/><Relationship Id="rId7"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7.png"/><Relationship Id="rId10" Type="http://schemas.openxmlformats.org/officeDocument/2006/relationships/image" Target="../media/image28.png"/><Relationship Id="rId4" Type="http://schemas.openxmlformats.org/officeDocument/2006/relationships/image" Target="../media/image6.png"/><Relationship Id="rId9" Type="http://schemas.openxmlformats.org/officeDocument/2006/relationships/image" Target="../media/image27.png"/></Relationships>
</file>

<file path=ppt/slides/_rels/slide1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chart" Target="../charts/chart2.xml"/><Relationship Id="rId4" Type="http://schemas.openxmlformats.org/officeDocument/2006/relationships/chart" Target="../charts/chart1.xml"/></Relationships>
</file>

<file path=ppt/slides/_rels/slide1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chart" Target="../charts/chart4.xml"/><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4.jpg"/><Relationship Id="rId7" Type="http://schemas.openxmlformats.org/officeDocument/2006/relationships/image" Target="../media/image30.jpeg"/><Relationship Id="rId12"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9.jpeg"/><Relationship Id="rId11" Type="http://schemas.openxmlformats.org/officeDocument/2006/relationships/image" Target="../media/image34.jpeg"/><Relationship Id="rId5" Type="http://schemas.openxmlformats.org/officeDocument/2006/relationships/image" Target="../media/image7.png"/><Relationship Id="rId10" Type="http://schemas.openxmlformats.org/officeDocument/2006/relationships/image" Target="../media/image33.png"/><Relationship Id="rId4" Type="http://schemas.openxmlformats.org/officeDocument/2006/relationships/image" Target="../media/image6.pn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0.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4.jpg"/><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38.tmp"/><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37.tmp"/><Relationship Id="rId5" Type="http://schemas.openxmlformats.org/officeDocument/2006/relationships/image" Target="../media/image7.png"/><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4.jpg"/><Relationship Id="rId7"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chart" Target="../charts/chart6.xml"/><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chart" Target="../charts/chart5.xml"/><Relationship Id="rId5" Type="http://schemas.openxmlformats.org/officeDocument/2006/relationships/image" Target="../media/image7.png"/><Relationship Id="rId4"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chart" Target="../charts/chart7.xml"/><Relationship Id="rId5" Type="http://schemas.openxmlformats.org/officeDocument/2006/relationships/image" Target="../media/image7.png"/><Relationship Id="rId4" Type="http://schemas.openxmlformats.org/officeDocument/2006/relationships/image" Target="../media/image6.png"/></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jpg"/><Relationship Id="rId7"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7.png"/><Relationship Id="rId10" Type="http://schemas.openxmlformats.org/officeDocument/2006/relationships/image" Target="../media/image47.png"/><Relationship Id="rId4" Type="http://schemas.openxmlformats.org/officeDocument/2006/relationships/image" Target="../media/image6.png"/><Relationship Id="rId9"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1.xml"/><Relationship Id="rId1" Type="http://schemas.openxmlformats.org/officeDocument/2006/relationships/slideLayout" Target="../slideLayouts/slideLayout7.xml"/><Relationship Id="rId6" Type="http://schemas.openxmlformats.org/officeDocument/2006/relationships/chart" Target="../charts/chart9.xml"/><Relationship Id="rId5" Type="http://schemas.openxmlformats.org/officeDocument/2006/relationships/image" Target="../media/image7.png"/><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chart" Target="../charts/chart10.xml"/><Relationship Id="rId5" Type="http://schemas.openxmlformats.org/officeDocument/2006/relationships/image" Target="../media/image7.png"/><Relationship Id="rId4" Type="http://schemas.openxmlformats.org/officeDocument/2006/relationships/image" Target="../media/image6.png"/></Relationships>
</file>

<file path=ppt/slides/_rels/slide3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3.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5.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image" Target="../media/image4.jpg"/><Relationship Id="rId7" Type="http://schemas.openxmlformats.org/officeDocument/2006/relationships/chart" Target="../charts/chart12.xml"/><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chart" Target="../charts/chart11.xml"/><Relationship Id="rId5" Type="http://schemas.openxmlformats.org/officeDocument/2006/relationships/image" Target="../media/image7.png"/><Relationship Id="rId4" Type="http://schemas.openxmlformats.org/officeDocument/2006/relationships/image" Target="../media/image6.png"/></Relationships>
</file>

<file path=ppt/slides/_rels/slide36.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chart" Target="../charts/chart15.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chart" Target="../charts/chart14.xml"/><Relationship Id="rId5" Type="http://schemas.openxmlformats.org/officeDocument/2006/relationships/image" Target="../media/image7.pn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6.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41.png"/><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chart" Target="../charts/chart16.xml"/><Relationship Id="rId5" Type="http://schemas.openxmlformats.org/officeDocument/2006/relationships/image" Target="../media/image7.png"/><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39.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7.png"/><Relationship Id="rId4" Type="http://schemas.openxmlformats.org/officeDocument/2006/relationships/image" Target="../media/image6.png"/></Relationships>
</file>

<file path=ppt/slides/_rels/slide4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10.sv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4.jp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notesSlide" Target="../notesSlides/notesSlide5.xml"/><Relationship Id="rId16"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7.pn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6.png"/><Relationship Id="rId9" Type="http://schemas.openxmlformats.org/officeDocument/2006/relationships/image" Target="../media/image14.svg"/><Relationship Id="rId1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63001" y="3505343"/>
            <a:ext cx="1588491" cy="1600200"/>
          </a:xfrm>
          <a:prstGeom prst="rect">
            <a:avLst/>
          </a:prstGeom>
        </p:spPr>
      </p:pic>
      <p:sp>
        <p:nvSpPr>
          <p:cNvPr id="4" name="Rectangle 150"/>
          <p:cNvSpPr txBox="1">
            <a:spLocks noChangeArrowheads="1"/>
          </p:cNvSpPr>
          <p:nvPr/>
        </p:nvSpPr>
        <p:spPr>
          <a:xfrm>
            <a:off x="76272" y="3692001"/>
            <a:ext cx="8839128"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1800" b="1" i="1" kern="0" dirty="0">
                <a:solidFill>
                  <a:srgbClr val="000000"/>
                </a:solidFill>
                <a:latin typeface="Arial"/>
              </a:rPr>
              <a:t>Measurement and modelling of interest rate risk in the banking book (IRRBB)</a:t>
            </a:r>
            <a:br>
              <a:rPr lang="en-US" altLang="en-US" sz="1800" b="1" i="1" kern="0" dirty="0">
                <a:solidFill>
                  <a:srgbClr val="000000"/>
                </a:solidFill>
                <a:latin typeface="Arial"/>
              </a:rPr>
            </a:br>
            <a:endParaRPr lang="es-ES" altLang="en-US" sz="1800" b="1" i="1" kern="0" dirty="0">
              <a:solidFill>
                <a:srgbClr val="000000"/>
              </a:solidFill>
              <a:latin typeface="Arial"/>
            </a:endParaRPr>
          </a:p>
        </p:txBody>
      </p:sp>
      <p:sp>
        <p:nvSpPr>
          <p:cNvPr id="5" name="Rectangle 168"/>
          <p:cNvSpPr>
            <a:spLocks noChangeArrowheads="1"/>
          </p:cNvSpPr>
          <p:nvPr/>
        </p:nvSpPr>
        <p:spPr bwMode="auto">
          <a:xfrm>
            <a:off x="93994" y="4419601"/>
            <a:ext cx="576897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algn="l"/>
            <a:endParaRPr lang="en-US" altLang="en-US" sz="1800" b="1" dirty="0">
              <a:solidFill>
                <a:srgbClr val="000000"/>
              </a:solidFill>
            </a:endParaRPr>
          </a:p>
          <a:p>
            <a:pPr algn="l"/>
            <a:r>
              <a:rPr lang="en-US" altLang="en-US" sz="1600" dirty="0">
                <a:solidFill>
                  <a:srgbClr val="000000"/>
                </a:solidFill>
              </a:rPr>
              <a:t>Yash Ratanpal, AIAI, CERA </a:t>
            </a:r>
            <a:br>
              <a:rPr lang="en-US" altLang="en-US" sz="1600" dirty="0">
                <a:solidFill>
                  <a:srgbClr val="000000"/>
                </a:solidFill>
              </a:rPr>
            </a:br>
            <a:r>
              <a:rPr lang="en-US" altLang="en-US" sz="1600" dirty="0">
                <a:solidFill>
                  <a:srgbClr val="000000"/>
                </a:solidFill>
              </a:rPr>
              <a:t>Director – Acies </a:t>
            </a:r>
          </a:p>
          <a:p>
            <a:pPr algn="l"/>
            <a:r>
              <a:rPr lang="en-US" altLang="en-US" sz="1600" dirty="0">
                <a:solidFill>
                  <a:srgbClr val="000000"/>
                </a:solidFill>
              </a:rPr>
              <a:t>Member – AGBFI </a:t>
            </a:r>
          </a:p>
          <a:p>
            <a:pPr algn="l"/>
            <a:br>
              <a:rPr lang="en-US" altLang="en-US" sz="1800" b="1" dirty="0">
                <a:solidFill>
                  <a:srgbClr val="000000"/>
                </a:solidFill>
              </a:rPr>
            </a:br>
            <a:endParaRPr lang="es-ES" altLang="en-US" sz="1800" b="1" dirty="0">
              <a:solidFill>
                <a:srgbClr val="000000"/>
              </a:solidFill>
            </a:endParaRPr>
          </a:p>
        </p:txBody>
      </p:sp>
      <p:sp>
        <p:nvSpPr>
          <p:cNvPr id="6" name="Rectangle 150"/>
          <p:cNvSpPr txBox="1">
            <a:spLocks noChangeArrowheads="1"/>
          </p:cNvSpPr>
          <p:nvPr/>
        </p:nvSpPr>
        <p:spPr>
          <a:xfrm>
            <a:off x="60324" y="1143000"/>
            <a:ext cx="8435975"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spcAft>
                <a:spcPts val="600"/>
              </a:spcAft>
            </a:pPr>
            <a:r>
              <a:rPr lang="en-US" altLang="en-US" sz="2800" b="1" kern="0" dirty="0">
                <a:solidFill>
                  <a:srgbClr val="FFFFFF"/>
                </a:solidFill>
                <a:latin typeface="Arial"/>
              </a:rPr>
              <a:t>4</a:t>
            </a:r>
            <a:r>
              <a:rPr lang="en-US" altLang="en-US" sz="2800" b="1" kern="0" baseline="30000" dirty="0">
                <a:solidFill>
                  <a:srgbClr val="FFFFFF"/>
                </a:solidFill>
                <a:latin typeface="Arial"/>
              </a:rPr>
              <a:t>th</a:t>
            </a:r>
            <a:r>
              <a:rPr lang="en-US" altLang="en-US" sz="2800" b="1" kern="0" dirty="0">
                <a:solidFill>
                  <a:srgbClr val="FFFFFF"/>
                </a:solidFill>
                <a:latin typeface="Arial"/>
              </a:rPr>
              <a:t> webinar on Banking Finance &amp; Investments</a:t>
            </a:r>
          </a:p>
        </p:txBody>
      </p:sp>
      <p:sp>
        <p:nvSpPr>
          <p:cNvPr id="7" name="object 7">
            <a:extLst>
              <a:ext uri="{FF2B5EF4-FFF2-40B4-BE49-F238E27FC236}">
                <a16:creationId xmlns:a16="http://schemas.microsoft.com/office/drawing/2014/main" id="{298E5229-BC68-427A-9FC7-DAECE7307C13}"/>
              </a:ext>
            </a:extLst>
          </p:cNvPr>
          <p:cNvSpPr txBox="1"/>
          <p:nvPr/>
        </p:nvSpPr>
        <p:spPr>
          <a:xfrm>
            <a:off x="-152400" y="1676400"/>
            <a:ext cx="6616065" cy="892552"/>
          </a:xfrm>
          <a:prstGeom prst="rect">
            <a:avLst/>
          </a:prstGeom>
        </p:spPr>
        <p:txBody>
          <a:bodyPr vert="horz" wrap="square" lIns="0" tIns="0" rIns="0" bIns="0" rtlCol="0">
            <a:spAutoFit/>
          </a:bodyPr>
          <a:lstStyle/>
          <a:p>
            <a:pPr marL="302895">
              <a:spcBef>
                <a:spcPts val="30"/>
              </a:spcBef>
            </a:pPr>
            <a:endParaRPr b="1" spc="-5" dirty="0">
              <a:solidFill>
                <a:schemeClr val="bg1"/>
              </a:solidFill>
              <a:latin typeface="Arial"/>
              <a:cs typeface="Arial"/>
            </a:endParaRPr>
          </a:p>
          <a:p>
            <a:pPr marL="302895">
              <a:spcBef>
                <a:spcPts val="30"/>
              </a:spcBef>
            </a:pPr>
            <a:r>
              <a:rPr lang="en-IN" sz="2000" b="1" spc="-5" dirty="0">
                <a:solidFill>
                  <a:schemeClr val="bg1"/>
                </a:solidFill>
                <a:latin typeface="Arial"/>
                <a:cs typeface="Arial"/>
              </a:rPr>
              <a:t>14th</a:t>
            </a:r>
            <a:r>
              <a:rPr sz="2000" b="1" spc="-5" dirty="0">
                <a:solidFill>
                  <a:schemeClr val="bg1"/>
                </a:solidFill>
                <a:latin typeface="Arial"/>
                <a:cs typeface="Arial"/>
              </a:rPr>
              <a:t> </a:t>
            </a:r>
            <a:r>
              <a:rPr lang="en-IN" sz="2000" b="1" spc="-5" dirty="0">
                <a:solidFill>
                  <a:schemeClr val="bg1"/>
                </a:solidFill>
                <a:latin typeface="Arial"/>
                <a:cs typeface="Arial"/>
              </a:rPr>
              <a:t>August</a:t>
            </a:r>
            <a:r>
              <a:rPr sz="2000" b="1" spc="-5" dirty="0">
                <a:solidFill>
                  <a:schemeClr val="bg1"/>
                </a:solidFill>
                <a:latin typeface="Arial"/>
                <a:cs typeface="Arial"/>
              </a:rPr>
              <a:t> 202</a:t>
            </a:r>
            <a:r>
              <a:rPr lang="en-IN" sz="2000" b="1" spc="-5" dirty="0">
                <a:solidFill>
                  <a:schemeClr val="bg1"/>
                </a:solidFill>
                <a:latin typeface="Arial"/>
                <a:cs typeface="Arial"/>
              </a:rPr>
              <a:t>1</a:t>
            </a:r>
            <a:r>
              <a:rPr sz="2000" b="1" spc="-5" dirty="0">
                <a:solidFill>
                  <a:schemeClr val="bg1"/>
                </a:solidFill>
                <a:latin typeface="Arial"/>
                <a:cs typeface="Arial"/>
              </a:rPr>
              <a:t>, Saturday</a:t>
            </a:r>
          </a:p>
          <a:p>
            <a:pPr marL="302895">
              <a:spcBef>
                <a:spcPts val="30"/>
              </a:spcBef>
            </a:pPr>
            <a:r>
              <a:rPr sz="2000" b="1" spc="-5" dirty="0">
                <a:solidFill>
                  <a:schemeClr val="bg1"/>
                </a:solidFill>
                <a:latin typeface="Arial"/>
                <a:cs typeface="Arial"/>
              </a:rPr>
              <a:t>03-</a:t>
            </a:r>
            <a:r>
              <a:rPr lang="en-IN" sz="2000" b="1" spc="-5" dirty="0">
                <a:solidFill>
                  <a:schemeClr val="bg1"/>
                </a:solidFill>
                <a:latin typeface="Arial"/>
                <a:cs typeface="Arial"/>
              </a:rPr>
              <a:t>3</a:t>
            </a:r>
            <a:r>
              <a:rPr sz="2000" b="1" spc="-5" dirty="0">
                <a:solidFill>
                  <a:schemeClr val="bg1"/>
                </a:solidFill>
                <a:latin typeface="Arial"/>
                <a:cs typeface="Arial"/>
              </a:rPr>
              <a:t>0 </a:t>
            </a:r>
            <a:r>
              <a:rPr sz="2000" b="1" dirty="0">
                <a:solidFill>
                  <a:schemeClr val="bg1"/>
                </a:solidFill>
                <a:latin typeface="Arial"/>
                <a:cs typeface="Arial"/>
              </a:rPr>
              <a:t>PM to </a:t>
            </a:r>
            <a:r>
              <a:rPr sz="2000" b="1" spc="-5" dirty="0">
                <a:solidFill>
                  <a:schemeClr val="bg1"/>
                </a:solidFill>
                <a:latin typeface="Arial"/>
                <a:cs typeface="Arial"/>
              </a:rPr>
              <a:t>0</a:t>
            </a:r>
            <a:r>
              <a:rPr lang="en-IN" sz="2000" b="1" spc="-5" dirty="0">
                <a:solidFill>
                  <a:schemeClr val="bg1"/>
                </a:solidFill>
                <a:latin typeface="Arial"/>
                <a:cs typeface="Arial"/>
              </a:rPr>
              <a:t>5</a:t>
            </a:r>
            <a:r>
              <a:rPr sz="2000" b="1" spc="-5" dirty="0">
                <a:solidFill>
                  <a:schemeClr val="bg1"/>
                </a:solidFill>
                <a:latin typeface="Arial"/>
                <a:cs typeface="Arial"/>
              </a:rPr>
              <a:t>-</a:t>
            </a:r>
            <a:r>
              <a:rPr lang="en-IN" sz="2000" b="1" spc="-5" dirty="0">
                <a:solidFill>
                  <a:schemeClr val="bg1"/>
                </a:solidFill>
                <a:latin typeface="Arial"/>
                <a:cs typeface="Arial"/>
              </a:rPr>
              <a:t>0</a:t>
            </a:r>
            <a:r>
              <a:rPr sz="2000" b="1" spc="-5" dirty="0">
                <a:solidFill>
                  <a:schemeClr val="bg1"/>
                </a:solidFill>
                <a:latin typeface="Arial"/>
                <a:cs typeface="Arial"/>
              </a:rPr>
              <a:t>0 </a:t>
            </a:r>
            <a:r>
              <a:rPr sz="2000" b="1" dirty="0">
                <a:solidFill>
                  <a:schemeClr val="bg1"/>
                </a:solidFill>
                <a:latin typeface="Arial"/>
                <a:cs typeface="Arial"/>
              </a:rPr>
              <a:t>PM (India </a:t>
            </a:r>
            <a:r>
              <a:rPr sz="2000" b="1" spc="-5" dirty="0">
                <a:solidFill>
                  <a:schemeClr val="bg1"/>
                </a:solidFill>
                <a:latin typeface="Arial"/>
                <a:cs typeface="Arial"/>
              </a:rPr>
              <a:t>Standard</a:t>
            </a:r>
            <a:r>
              <a:rPr sz="2000" b="1" spc="-45" dirty="0">
                <a:solidFill>
                  <a:schemeClr val="bg1"/>
                </a:solidFill>
                <a:latin typeface="Arial"/>
                <a:cs typeface="Arial"/>
              </a:rPr>
              <a:t> </a:t>
            </a:r>
            <a:r>
              <a:rPr sz="2000" b="1" dirty="0">
                <a:solidFill>
                  <a:schemeClr val="bg1"/>
                </a:solidFill>
                <a:latin typeface="Arial"/>
                <a:cs typeface="Arial"/>
              </a:rPr>
              <a:t>Time)</a:t>
            </a:r>
            <a:endParaRPr sz="2000" dirty="0">
              <a:solidFill>
                <a:schemeClr val="bg1"/>
              </a:solidFill>
              <a:latin typeface="Arial"/>
              <a:cs typeface="Arial"/>
            </a:endParaRPr>
          </a:p>
        </p:txBody>
      </p:sp>
    </p:spTree>
    <p:extLst>
      <p:ext uri="{BB962C8B-B14F-4D97-AF65-F5344CB8AC3E}">
        <p14:creationId xmlns:p14="http://schemas.microsoft.com/office/powerpoint/2010/main" val="2430438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206884"/>
            <a:ext cx="9179943" cy="54637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le 1: Risk, Governance and Oversight</a:t>
            </a:r>
          </a:p>
        </p:txBody>
      </p:sp>
      <p:grpSp>
        <p:nvGrpSpPr>
          <p:cNvPr id="5" name="Group 4">
            <a:extLst>
              <a:ext uri="{FF2B5EF4-FFF2-40B4-BE49-F238E27FC236}">
                <a16:creationId xmlns:a16="http://schemas.microsoft.com/office/drawing/2014/main" id="{D95C308D-6FC5-4076-823E-45A1B3CD2EEC}"/>
              </a:ext>
            </a:extLst>
          </p:cNvPr>
          <p:cNvGrpSpPr/>
          <p:nvPr/>
        </p:nvGrpSpPr>
        <p:grpSpPr>
          <a:xfrm>
            <a:off x="1219200" y="1213887"/>
            <a:ext cx="10820400" cy="5428490"/>
            <a:chOff x="1466110" y="1399519"/>
            <a:chExt cx="10268689" cy="4945453"/>
          </a:xfrm>
        </p:grpSpPr>
        <p:sp>
          <p:nvSpPr>
            <p:cNvPr id="144" name="Rectangle 143">
              <a:extLst>
                <a:ext uri="{FF2B5EF4-FFF2-40B4-BE49-F238E27FC236}">
                  <a16:creationId xmlns:a16="http://schemas.microsoft.com/office/drawing/2014/main" id="{4F88608A-C458-4D79-A468-9B74953A8C65}"/>
                </a:ext>
              </a:extLst>
            </p:cNvPr>
            <p:cNvSpPr/>
            <p:nvPr/>
          </p:nvSpPr>
          <p:spPr>
            <a:xfrm rot="16200000">
              <a:off x="24347" y="3709455"/>
              <a:ext cx="4579121" cy="360612"/>
            </a:xfrm>
            <a:prstGeom prst="rect">
              <a:avLst/>
            </a:prstGeom>
          </p:spPr>
          <p:txBody>
            <a:bodyPr>
              <a:spAutoFit/>
            </a:bodyPr>
            <a:lstStyle/>
            <a:p>
              <a:pPr algn="ctr" defTabSz="1042988" eaLnBrk="0" hangingPunct="0">
                <a:lnSpc>
                  <a:spcPct val="120000"/>
                </a:lnSpc>
              </a:pPr>
              <a:r>
                <a:rPr lang="en-US" sz="1600" b="1" dirty="0">
                  <a:solidFill>
                    <a:prstClr val="white"/>
                  </a:solidFill>
                  <a:latin typeface="Arial" panose="020B0604020202020204" pitchFamily="34" charset="0"/>
                  <a:cs typeface="Arial" panose="020B0604020202020204" pitchFamily="34" charset="0"/>
                </a:rPr>
                <a:t>Deployment tenants</a:t>
              </a:r>
            </a:p>
          </p:txBody>
        </p:sp>
        <p:sp>
          <p:nvSpPr>
            <p:cNvPr id="146" name="Rectangle 145">
              <a:extLst>
                <a:ext uri="{FF2B5EF4-FFF2-40B4-BE49-F238E27FC236}">
                  <a16:creationId xmlns:a16="http://schemas.microsoft.com/office/drawing/2014/main" id="{13969BBD-D4ED-4D3A-BC06-7AAAE4D1C26D}"/>
                </a:ext>
              </a:extLst>
            </p:cNvPr>
            <p:cNvSpPr/>
            <p:nvPr/>
          </p:nvSpPr>
          <p:spPr bwMode="auto">
            <a:xfrm>
              <a:off x="2139724" y="4455730"/>
              <a:ext cx="9588951" cy="86556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90000" rIns="0" bIns="90000" anchor="ctr" anchorCtr="0">
              <a:noAutofit/>
            </a:bodyPr>
            <a:lstStyle/>
            <a:p>
              <a:pPr marL="0" marR="0" lvl="0" indent="0" algn="ctr" defTabSz="1042988" eaLnBrk="0" fontAlgn="auto" latinLnBrk="0" hangingPunct="0">
                <a:lnSpc>
                  <a:spcPct val="12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7" name="Rectangle 146">
              <a:extLst>
                <a:ext uri="{FF2B5EF4-FFF2-40B4-BE49-F238E27FC236}">
                  <a16:creationId xmlns:a16="http://schemas.microsoft.com/office/drawing/2014/main" id="{6C7858E4-45D2-4A14-92E0-8BAC87EC5DDA}"/>
                </a:ext>
              </a:extLst>
            </p:cNvPr>
            <p:cNvSpPr/>
            <p:nvPr/>
          </p:nvSpPr>
          <p:spPr bwMode="auto">
            <a:xfrm>
              <a:off x="2133600" y="3434211"/>
              <a:ext cx="9595075" cy="86556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90000" rIns="0" bIns="90000" anchor="ctr" anchorCtr="0">
              <a:noAutofit/>
            </a:bodyPr>
            <a:lstStyle/>
            <a:p>
              <a:pPr marL="0" marR="0" lvl="0" indent="0" algn="ctr" defTabSz="1042988" eaLnBrk="0" fontAlgn="auto" latinLnBrk="0" hangingPunct="0">
                <a:lnSpc>
                  <a:spcPct val="12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8" name="Rectangle 147">
              <a:extLst>
                <a:ext uri="{FF2B5EF4-FFF2-40B4-BE49-F238E27FC236}">
                  <a16:creationId xmlns:a16="http://schemas.microsoft.com/office/drawing/2014/main" id="{E8BA97BB-4813-4377-B54E-C595487858FC}"/>
                </a:ext>
              </a:extLst>
            </p:cNvPr>
            <p:cNvSpPr/>
            <p:nvPr/>
          </p:nvSpPr>
          <p:spPr bwMode="auto">
            <a:xfrm>
              <a:off x="2139723" y="1399519"/>
              <a:ext cx="9595076" cy="86556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90000" rIns="0" bIns="90000" anchor="ctr" anchorCtr="0">
              <a:noAutofit/>
            </a:bodyPr>
            <a:lstStyle/>
            <a:p>
              <a:pPr marL="0" marR="0" lvl="0" indent="0" algn="ctr" defTabSz="1042988" eaLnBrk="0" fontAlgn="auto" latinLnBrk="0" hangingPunct="0">
                <a:lnSpc>
                  <a:spcPct val="12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9" name="Rectangle 148">
              <a:extLst>
                <a:ext uri="{FF2B5EF4-FFF2-40B4-BE49-F238E27FC236}">
                  <a16:creationId xmlns:a16="http://schemas.microsoft.com/office/drawing/2014/main" id="{315E95FD-2B37-4BCD-B595-5B847C85AB4E}"/>
                </a:ext>
              </a:extLst>
            </p:cNvPr>
            <p:cNvSpPr/>
            <p:nvPr/>
          </p:nvSpPr>
          <p:spPr bwMode="auto">
            <a:xfrm>
              <a:off x="4189028" y="1399519"/>
              <a:ext cx="7396539"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ptly identify, measure, monitor and control nature and level of IRRBB exposures (including CSRBB)</a:t>
              </a:r>
            </a:p>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dentify potential linkages of IRRBB with existing risk exposures in the banking book</a:t>
              </a:r>
            </a:p>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ocument positions related to risk transfers between the banking book and the trading book</a:t>
              </a:r>
              <a:endParaRPr kumimoji="0" lang="en-US" sz="1200" b="0" i="0" u="none" strike="noStrike" kern="0" cap="none" spc="-2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50" name="Rectangle 149">
              <a:extLst>
                <a:ext uri="{FF2B5EF4-FFF2-40B4-BE49-F238E27FC236}">
                  <a16:creationId xmlns:a16="http://schemas.microsoft.com/office/drawing/2014/main" id="{C503B24A-05BC-4ED5-B4D9-B9EC2A2C7E78}"/>
                </a:ext>
              </a:extLst>
            </p:cNvPr>
            <p:cNvSpPr/>
            <p:nvPr/>
          </p:nvSpPr>
          <p:spPr bwMode="auto">
            <a:xfrm>
              <a:off x="2139724" y="2415538"/>
              <a:ext cx="9595075" cy="86556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90000" rIns="0" bIns="90000" anchor="ctr" anchorCtr="0">
              <a:noAutofit/>
            </a:bodyPr>
            <a:lstStyle/>
            <a:p>
              <a:pPr marL="0" marR="0" lvl="0" indent="0" algn="ctr" defTabSz="1042988" eaLnBrk="0" fontAlgn="auto" latinLnBrk="0" hangingPunct="0">
                <a:lnSpc>
                  <a:spcPct val="12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B8778CC7-180B-491A-9444-421E68185079}"/>
                </a:ext>
              </a:extLst>
            </p:cNvPr>
            <p:cNvSpPr/>
            <p:nvPr/>
          </p:nvSpPr>
          <p:spPr>
            <a:xfrm>
              <a:off x="2826427" y="2610542"/>
              <a:ext cx="1396910" cy="515206"/>
            </a:xfrm>
            <a:prstGeom prst="rect">
              <a:avLst/>
            </a:prstGeom>
          </p:spPr>
          <p:txBody>
            <a:bodyPr wrap="square">
              <a:spAutoFit/>
            </a:bodyPr>
            <a:lstStyle/>
            <a:p>
              <a:pPr algn="ctr" defTabSz="1042988" eaLnBrk="0" hangingPunct="0">
                <a:lnSpc>
                  <a:spcPct val="120000"/>
                </a:lnSpc>
                <a:defRPr/>
              </a:pPr>
              <a:r>
                <a:rPr lang="en-GB" sz="1200" b="1" kern="0" dirty="0">
                  <a:solidFill>
                    <a:srgbClr val="494947"/>
                  </a:solidFill>
                  <a:latin typeface="Arial" panose="020B0604020202020204" pitchFamily="34" charset="0"/>
                  <a:cs typeface="Arial" panose="020B0604020202020204" pitchFamily="34" charset="0"/>
                </a:rPr>
                <a:t>Delegation and Resourcing</a:t>
              </a:r>
            </a:p>
          </p:txBody>
        </p:sp>
        <p:sp>
          <p:nvSpPr>
            <p:cNvPr id="152" name="Rectangle 151">
              <a:extLst>
                <a:ext uri="{FF2B5EF4-FFF2-40B4-BE49-F238E27FC236}">
                  <a16:creationId xmlns:a16="http://schemas.microsoft.com/office/drawing/2014/main" id="{5153EBDF-663E-4546-B29E-9587C7223D3D}"/>
                </a:ext>
              </a:extLst>
            </p:cNvPr>
            <p:cNvSpPr/>
            <p:nvPr/>
          </p:nvSpPr>
          <p:spPr bwMode="auto">
            <a:xfrm>
              <a:off x="4189028" y="2418081"/>
              <a:ext cx="7319577"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ployment of adequate resources with suitable skillsets for effective IRRBB management</a:t>
              </a:r>
            </a:p>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marcated functions for IRRBB identification, measurement, monitoring and control</a:t>
              </a:r>
            </a:p>
            <a:p>
              <a:pPr marL="87313" marR="0" lvl="0" indent="-87313" algn="just" defTabSz="91440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RRBB functions to be sufficiently independent from risk-taking functions of the bank</a:t>
              </a:r>
            </a:p>
          </p:txBody>
        </p:sp>
        <p:sp>
          <p:nvSpPr>
            <p:cNvPr id="153" name="Rectangle 152">
              <a:extLst>
                <a:ext uri="{FF2B5EF4-FFF2-40B4-BE49-F238E27FC236}">
                  <a16:creationId xmlns:a16="http://schemas.microsoft.com/office/drawing/2014/main" id="{20F21290-7CBA-42A5-BDA6-4B5AEEC0A074}"/>
                </a:ext>
              </a:extLst>
            </p:cNvPr>
            <p:cNvSpPr/>
            <p:nvPr/>
          </p:nvSpPr>
          <p:spPr bwMode="auto">
            <a:xfrm>
              <a:off x="4212572" y="3443632"/>
              <a:ext cx="7296033"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117475" marR="0" lvl="0" indent="0" algn="just" defTabSz="914400" eaLnBrk="1" fontAlgn="auto" latinLnBrk="0" hangingPunct="1">
                <a:lnSpc>
                  <a:spcPct val="15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e model has multiple payment options including a subscription model with a user-based as you use fee service. This significantly reduces the ongoing overhead costs as users only pay for the services they use </a:t>
              </a:r>
            </a:p>
          </p:txBody>
        </p:sp>
        <p:sp>
          <p:nvSpPr>
            <p:cNvPr id="154" name="Rectangle 153">
              <a:extLst>
                <a:ext uri="{FF2B5EF4-FFF2-40B4-BE49-F238E27FC236}">
                  <a16:creationId xmlns:a16="http://schemas.microsoft.com/office/drawing/2014/main" id="{549EAC1E-FE17-4EE9-9D85-B2248CEB139C}"/>
                </a:ext>
              </a:extLst>
            </p:cNvPr>
            <p:cNvSpPr/>
            <p:nvPr/>
          </p:nvSpPr>
          <p:spPr>
            <a:xfrm>
              <a:off x="2767058" y="4630911"/>
              <a:ext cx="1515647" cy="515206"/>
            </a:xfrm>
            <a:prstGeom prst="rect">
              <a:avLst/>
            </a:prstGeom>
          </p:spPr>
          <p:txBody>
            <a:bodyPr wrap="square">
              <a:spAutoFit/>
            </a:bodyPr>
            <a:lstStyle/>
            <a:p>
              <a:pPr algn="ctr" defTabSz="1042988" eaLnBrk="0" hangingPunct="0">
                <a:lnSpc>
                  <a:spcPct val="120000"/>
                </a:lnSpc>
                <a:defRPr/>
              </a:pPr>
              <a:r>
                <a:rPr lang="en-US" sz="1200" b="1" kern="0" dirty="0">
                  <a:solidFill>
                    <a:srgbClr val="494947"/>
                  </a:solidFill>
                  <a:latin typeface="Arial" panose="020B0604020202020204" pitchFamily="34" charset="0"/>
                  <a:cs typeface="Arial" panose="020B0604020202020204" pitchFamily="34" charset="0"/>
                </a:rPr>
                <a:t>Risk Appetite and Policy Limits </a:t>
              </a:r>
            </a:p>
          </p:txBody>
        </p:sp>
        <p:sp>
          <p:nvSpPr>
            <p:cNvPr id="155" name="Rectangle 154">
              <a:extLst>
                <a:ext uri="{FF2B5EF4-FFF2-40B4-BE49-F238E27FC236}">
                  <a16:creationId xmlns:a16="http://schemas.microsoft.com/office/drawing/2014/main" id="{E92EB2FD-5356-49EE-AC7E-9C41F457F452}"/>
                </a:ext>
              </a:extLst>
            </p:cNvPr>
            <p:cNvSpPr/>
            <p:nvPr/>
          </p:nvSpPr>
          <p:spPr bwMode="auto">
            <a:xfrm>
              <a:off x="4189027" y="4455730"/>
              <a:ext cx="7396292"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Clearly defined risk appetite statement</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Risk limits should be identified for aggregate firm, individual business units, portfolios, instrument types &amp; sub risk categories with systems in place to escalate breach of thresholds without delay </a:t>
              </a:r>
            </a:p>
          </p:txBody>
        </p:sp>
        <p:sp>
          <p:nvSpPr>
            <p:cNvPr id="156" name="Rectangle 155">
              <a:extLst>
                <a:ext uri="{FF2B5EF4-FFF2-40B4-BE49-F238E27FC236}">
                  <a16:creationId xmlns:a16="http://schemas.microsoft.com/office/drawing/2014/main" id="{AD6FD6A0-FC86-454C-8287-2A0F22CFB165}"/>
                </a:ext>
              </a:extLst>
            </p:cNvPr>
            <p:cNvSpPr/>
            <p:nvPr/>
          </p:nvSpPr>
          <p:spPr>
            <a:xfrm>
              <a:off x="2803890" y="1574700"/>
              <a:ext cx="1396910" cy="515206"/>
            </a:xfrm>
            <a:prstGeom prst="rect">
              <a:avLst/>
            </a:prstGeom>
          </p:spPr>
          <p:txBody>
            <a:bodyPr wrap="square">
              <a:spAutoFit/>
            </a:bodyPr>
            <a:lstStyle/>
            <a:p>
              <a:pPr marL="0" marR="0" lvl="0" indent="0" algn="ctr" defTabSz="1042988" eaLnBrk="0" fontAlgn="auto" latinLnBrk="0" hangingPunct="0">
                <a:lnSpc>
                  <a:spcPct val="12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Identification </a:t>
              </a:r>
              <a:r>
                <a:rPr lang="en-US" sz="1200" b="1" kern="0" dirty="0">
                  <a:solidFill>
                    <a:srgbClr val="494947"/>
                  </a:solidFill>
                  <a:latin typeface="Arial" panose="020B0604020202020204" pitchFamily="34" charset="0"/>
                  <a:cs typeface="Arial" panose="020B0604020202020204" pitchFamily="34" charset="0"/>
                </a:rPr>
                <a:t>and monitoring</a:t>
              </a:r>
              <a:endParaRPr kumimoji="0" lang="en-US" sz="12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p:txBody>
        </p:sp>
        <p:sp>
          <p:nvSpPr>
            <p:cNvPr id="157" name="Rectangle 156">
              <a:extLst>
                <a:ext uri="{FF2B5EF4-FFF2-40B4-BE49-F238E27FC236}">
                  <a16:creationId xmlns:a16="http://schemas.microsoft.com/office/drawing/2014/main" id="{2EDB25AE-C652-4D3C-9452-7EF7F3A0F86C}"/>
                </a:ext>
              </a:extLst>
            </p:cNvPr>
            <p:cNvSpPr/>
            <p:nvPr/>
          </p:nvSpPr>
          <p:spPr>
            <a:xfrm>
              <a:off x="2826427" y="3644658"/>
              <a:ext cx="1396910" cy="515206"/>
            </a:xfrm>
            <a:prstGeom prst="rect">
              <a:avLst/>
            </a:prstGeom>
          </p:spPr>
          <p:txBody>
            <a:bodyPr wrap="square">
              <a:spAutoFit/>
            </a:bodyPr>
            <a:lstStyle/>
            <a:p>
              <a:pPr algn="ctr" defTabSz="1042988" eaLnBrk="0" hangingPunct="0">
                <a:lnSpc>
                  <a:spcPct val="120000"/>
                </a:lnSpc>
                <a:defRPr/>
              </a:pPr>
              <a:r>
                <a:rPr lang="en-US" sz="1200" b="1" kern="0" dirty="0">
                  <a:solidFill>
                    <a:srgbClr val="494947"/>
                  </a:solidFill>
                  <a:latin typeface="Arial" panose="020B0604020202020204" pitchFamily="34" charset="0"/>
                  <a:cs typeface="Arial" panose="020B0604020202020204" pitchFamily="34" charset="0"/>
                </a:rPr>
                <a:t>Policies and Procedures</a:t>
              </a:r>
            </a:p>
          </p:txBody>
        </p:sp>
        <p:sp>
          <p:nvSpPr>
            <p:cNvPr id="158" name="Rectangle 157">
              <a:extLst>
                <a:ext uri="{FF2B5EF4-FFF2-40B4-BE49-F238E27FC236}">
                  <a16:creationId xmlns:a16="http://schemas.microsoft.com/office/drawing/2014/main" id="{3D10F117-8391-400C-A50D-55A26A78A725}"/>
                </a:ext>
              </a:extLst>
            </p:cNvPr>
            <p:cNvSpPr/>
            <p:nvPr/>
          </p:nvSpPr>
          <p:spPr bwMode="auto">
            <a:xfrm>
              <a:off x="2139724" y="5470273"/>
              <a:ext cx="9588951" cy="865569"/>
            </a:xfrm>
            <a:prstGeom prst="rect">
              <a:avLst/>
            </a:prstGeom>
            <a:solidFill>
              <a:schemeClr val="bg1">
                <a:lumMod val="95000"/>
              </a:schemeClr>
            </a:solidFill>
            <a:ln w="9525" cap="flat" cmpd="sng" algn="ctr">
              <a:noFill/>
              <a:prstDash val="solid"/>
              <a:round/>
              <a:headEnd type="none" w="med" len="med"/>
              <a:tailEnd type="none" w="med" len="med"/>
            </a:ln>
            <a:effectLst/>
          </p:spPr>
          <p:txBody>
            <a:bodyPr lIns="0" tIns="90000" rIns="0" bIns="90000" anchor="ctr" anchorCtr="0">
              <a:noAutofit/>
            </a:bodyPr>
            <a:lstStyle/>
            <a:p>
              <a:pPr marL="0" marR="0" lvl="0" indent="0" algn="ctr" defTabSz="1042988" eaLnBrk="0" fontAlgn="auto" latinLnBrk="0" hangingPunct="0">
                <a:lnSpc>
                  <a:spcPct val="120000"/>
                </a:lnSpc>
                <a:spcBef>
                  <a:spcPts val="0"/>
                </a:spcBef>
                <a:spcAft>
                  <a:spcPts val="0"/>
                </a:spcAft>
                <a:buClrTx/>
                <a:buSzTx/>
                <a:buFontTx/>
                <a:buNone/>
                <a:tabLst/>
                <a:defRPr/>
              </a:pPr>
              <a:endParaRPr kumimoji="0" lang="en-US" sz="13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 name="Rectangle 158">
              <a:extLst>
                <a:ext uri="{FF2B5EF4-FFF2-40B4-BE49-F238E27FC236}">
                  <a16:creationId xmlns:a16="http://schemas.microsoft.com/office/drawing/2014/main" id="{7866C994-67A8-4C93-A73F-193F160C2E45}"/>
                </a:ext>
              </a:extLst>
            </p:cNvPr>
            <p:cNvSpPr/>
            <p:nvPr/>
          </p:nvSpPr>
          <p:spPr>
            <a:xfrm>
              <a:off x="2717468" y="5675570"/>
              <a:ext cx="1515647" cy="515206"/>
            </a:xfrm>
            <a:prstGeom prst="rect">
              <a:avLst/>
            </a:prstGeom>
          </p:spPr>
          <p:txBody>
            <a:bodyPr wrap="square">
              <a:spAutoFit/>
            </a:bodyPr>
            <a:lstStyle/>
            <a:p>
              <a:pPr algn="ctr" defTabSz="1042988" eaLnBrk="0" hangingPunct="0">
                <a:lnSpc>
                  <a:spcPct val="120000"/>
                </a:lnSpc>
                <a:defRPr/>
              </a:pPr>
              <a:r>
                <a:rPr lang="en-US" sz="1200" b="1" kern="0" dirty="0">
                  <a:solidFill>
                    <a:srgbClr val="494947"/>
                  </a:solidFill>
                  <a:latin typeface="Arial" panose="020B0604020202020204" pitchFamily="34" charset="0"/>
                  <a:cs typeface="Arial" panose="020B0604020202020204" pitchFamily="34" charset="0"/>
                </a:rPr>
                <a:t>Internal Control</a:t>
              </a:r>
            </a:p>
            <a:p>
              <a:pPr algn="ctr" defTabSz="1042988" eaLnBrk="0" hangingPunct="0">
                <a:lnSpc>
                  <a:spcPct val="120000"/>
                </a:lnSpc>
                <a:defRPr/>
              </a:pPr>
              <a:r>
                <a:rPr lang="en-US" sz="1200" b="1" kern="0" dirty="0">
                  <a:solidFill>
                    <a:srgbClr val="494947"/>
                  </a:solidFill>
                  <a:latin typeface="Arial" panose="020B0604020202020204" pitchFamily="34" charset="0"/>
                  <a:cs typeface="Arial" panose="020B0604020202020204" pitchFamily="34" charset="0"/>
                </a:rPr>
                <a:t> and Audit</a:t>
              </a:r>
            </a:p>
          </p:txBody>
        </p:sp>
        <p:sp>
          <p:nvSpPr>
            <p:cNvPr id="160" name="Rectangle 159">
              <a:extLst>
                <a:ext uri="{FF2B5EF4-FFF2-40B4-BE49-F238E27FC236}">
                  <a16:creationId xmlns:a16="http://schemas.microsoft.com/office/drawing/2014/main" id="{6D2A8BBF-0CD4-4D28-9AFB-3E38D22C02CC}"/>
                </a:ext>
              </a:extLst>
            </p:cNvPr>
            <p:cNvSpPr/>
            <p:nvPr/>
          </p:nvSpPr>
          <p:spPr bwMode="auto">
            <a:xfrm>
              <a:off x="4189027" y="5470273"/>
              <a:ext cx="7396292"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IRRBB identification, measurement, monitoring and control processes to be reviewed by an internal or external auditor on a regular basis. </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Reports written by internal/external auditors should be made available during supervisory review.</a:t>
              </a:r>
            </a:p>
          </p:txBody>
        </p:sp>
        <p:sp>
          <p:nvSpPr>
            <p:cNvPr id="161" name="Rectangle 160">
              <a:extLst>
                <a:ext uri="{FF2B5EF4-FFF2-40B4-BE49-F238E27FC236}">
                  <a16:creationId xmlns:a16="http://schemas.microsoft.com/office/drawing/2014/main" id="{A98B1800-AEC0-472C-8393-7F3EC919A12F}"/>
                </a:ext>
              </a:extLst>
            </p:cNvPr>
            <p:cNvSpPr/>
            <p:nvPr/>
          </p:nvSpPr>
          <p:spPr bwMode="auto">
            <a:xfrm>
              <a:off x="4212572" y="1399519"/>
              <a:ext cx="7396539"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marR="0" lvl="0" indent="-87313"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lineation of banking book &amp; trading book exposures </a:t>
              </a:r>
            </a:p>
            <a:p>
              <a:pPr marL="87313" marR="0" lvl="0" indent="-87313"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view and testing of new products to ensure that the IRRBB risks are well understood before roll-out</a:t>
              </a:r>
            </a:p>
            <a:p>
              <a:pPr marL="87313" marR="0" lvl="0" indent="-87313" algn="just"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200" kern="0" dirty="0">
                  <a:solidFill>
                    <a:prstClr val="black"/>
                  </a:solidFill>
                  <a:latin typeface="Arial" panose="020B0604020202020204" pitchFamily="34" charset="0"/>
                  <a:cs typeface="Arial" panose="020B0604020202020204" pitchFamily="34" charset="0"/>
                </a:rPr>
                <a:t>Specific identification for CSRBB </a:t>
              </a:r>
              <a:endPar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 name="Rectangle 161">
              <a:extLst>
                <a:ext uri="{FF2B5EF4-FFF2-40B4-BE49-F238E27FC236}">
                  <a16:creationId xmlns:a16="http://schemas.microsoft.com/office/drawing/2014/main" id="{0A381D9A-2F08-4E8B-BA72-B8A5B509305E}"/>
                </a:ext>
              </a:extLst>
            </p:cNvPr>
            <p:cNvSpPr/>
            <p:nvPr/>
          </p:nvSpPr>
          <p:spPr bwMode="auto">
            <a:xfrm>
              <a:off x="4212572" y="2415538"/>
              <a:ext cx="7396292"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Dedicated governing body for IRRBB management </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Separate and well-defined independent departments for identification, measurement, monitoring and control </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IRRBB functions to be independent from risk-taking functions of the bank </a:t>
              </a:r>
            </a:p>
          </p:txBody>
        </p:sp>
        <p:sp>
          <p:nvSpPr>
            <p:cNvPr id="163" name="Rectangle 162">
              <a:extLst>
                <a:ext uri="{FF2B5EF4-FFF2-40B4-BE49-F238E27FC236}">
                  <a16:creationId xmlns:a16="http://schemas.microsoft.com/office/drawing/2014/main" id="{0945EE5D-1884-49F5-A5B1-8B8F8D36ED3A}"/>
                </a:ext>
              </a:extLst>
            </p:cNvPr>
            <p:cNvSpPr/>
            <p:nvPr/>
          </p:nvSpPr>
          <p:spPr bwMode="auto">
            <a:xfrm>
              <a:off x="4189027" y="3434211"/>
              <a:ext cx="7396292" cy="865569"/>
            </a:xfrm>
            <a:prstGeom prst="rect">
              <a:avLst/>
            </a:prstGeom>
            <a:solidFill>
              <a:sysClr val="window" lastClr="FFFFFF"/>
            </a:solidFill>
            <a:ln w="9525" cap="flat" cmpd="sng" algn="ctr">
              <a:noFill/>
              <a:prstDash val="solid"/>
              <a:round/>
              <a:headEnd type="none" w="sm" len="sm"/>
              <a:tailEnd type="none" w="sm" len="sm"/>
            </a:ln>
            <a:effectLst>
              <a:softEdge rad="63500"/>
            </a:effectLst>
          </p:spPr>
          <p:txBody>
            <a:bodyPr lIns="108000" tIns="45718" rIns="182880" bIns="45718" anchor="ctr"/>
            <a:lstStyle/>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Regular review (at least semiannually) of the level and trend of the bank’s IRRBB exposures</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Understand potential linkages with and impact on market, liquidity, credit and operational risk.</a:t>
              </a:r>
            </a:p>
            <a:p>
              <a:pPr marL="87313" indent="-87313" algn="just">
                <a:spcAft>
                  <a:spcPts val="300"/>
                </a:spcAft>
                <a:buFont typeface="Arial" panose="020B0604020202020204" pitchFamily="34" charset="0"/>
                <a:buChar char="•"/>
                <a:defRPr/>
              </a:pPr>
              <a:r>
                <a:rPr lang="en-US" sz="1200" kern="0" dirty="0">
                  <a:solidFill>
                    <a:prstClr val="black"/>
                  </a:solidFill>
                  <a:latin typeface="Arial" panose="020B0604020202020204" pitchFamily="34" charset="0"/>
                  <a:cs typeface="Arial" panose="020B0604020202020204" pitchFamily="34" charset="0"/>
                </a:rPr>
                <a:t>All IRRBB policies should be reviewed periodically (at least annually) and revised as needed</a:t>
              </a:r>
            </a:p>
          </p:txBody>
        </p:sp>
        <p:sp>
          <p:nvSpPr>
            <p:cNvPr id="164" name="Pie 4">
              <a:extLst>
                <a:ext uri="{FF2B5EF4-FFF2-40B4-BE49-F238E27FC236}">
                  <a16:creationId xmlns:a16="http://schemas.microsoft.com/office/drawing/2014/main" id="{7F9C84A1-B52A-4264-8EB5-7ACBA4988BC3}"/>
                </a:ext>
              </a:extLst>
            </p:cNvPr>
            <p:cNvSpPr/>
            <p:nvPr/>
          </p:nvSpPr>
          <p:spPr>
            <a:xfrm rot="16200000">
              <a:off x="-335771" y="3201402"/>
              <a:ext cx="4945451" cy="1341689"/>
            </a:xfrm>
            <a:prstGeom prst="pie">
              <a:avLst>
                <a:gd name="adj1" fmla="val 0"/>
                <a:gd name="adj2" fmla="val 10788236"/>
              </a:avLst>
            </a:prstGeom>
            <a:solidFill>
              <a:srgbClr val="002060"/>
            </a:solidFill>
            <a:ln w="12700" algn="ctr">
              <a:noFill/>
              <a:miter lim="800000"/>
              <a:headEnd type="none" w="sm" len="sm"/>
              <a:tailEnd type="none" w="med" len="lg"/>
            </a:ln>
          </p:spPr>
          <p:txBody>
            <a:bodyPr lIns="78425" tIns="78425" rIns="78425" bIns="78425" anchor="ctr"/>
            <a:lstStyle/>
            <a:p>
              <a:pPr algn="just">
                <a:spcBef>
                  <a:spcPts val="200"/>
                </a:spcBef>
                <a:spcAft>
                  <a:spcPts val="200"/>
                </a:spcAft>
              </a:pPr>
              <a:endParaRPr lang="en-US" sz="1200" b="1" dirty="0">
                <a:solidFill>
                  <a:prstClr val="white"/>
                </a:solidFill>
                <a:latin typeface="Verdana"/>
                <a:ea typeface="Verdana" panose="020B0604030504040204" pitchFamily="34" charset="0"/>
                <a:cs typeface="Verdana" panose="020B0604030504040204" pitchFamily="34" charset="0"/>
              </a:endParaRPr>
            </a:p>
          </p:txBody>
        </p:sp>
        <p:sp>
          <p:nvSpPr>
            <p:cNvPr id="165" name="Rectangle 164">
              <a:extLst>
                <a:ext uri="{FF2B5EF4-FFF2-40B4-BE49-F238E27FC236}">
                  <a16:creationId xmlns:a16="http://schemas.microsoft.com/office/drawing/2014/main" id="{39E4CAAD-C74C-44A7-A52B-786F2E6BE058}"/>
                </a:ext>
              </a:extLst>
            </p:cNvPr>
            <p:cNvSpPr/>
            <p:nvPr/>
          </p:nvSpPr>
          <p:spPr>
            <a:xfrm rot="16200000">
              <a:off x="97827" y="3729332"/>
              <a:ext cx="4579121" cy="360612"/>
            </a:xfrm>
            <a:prstGeom prst="rect">
              <a:avLst/>
            </a:prstGeom>
          </p:spPr>
          <p:txBody>
            <a:bodyPr>
              <a:spAutoFit/>
            </a:bodyPr>
            <a:lstStyle/>
            <a:p>
              <a:pPr algn="ctr" defTabSz="1042988" eaLnBrk="0" hangingPunct="0">
                <a:lnSpc>
                  <a:spcPct val="120000"/>
                </a:lnSpc>
              </a:pPr>
              <a:r>
                <a:rPr lang="en-US" sz="1600" b="1" dirty="0">
                  <a:solidFill>
                    <a:prstClr val="white"/>
                  </a:solidFill>
                  <a:latin typeface="Arial" panose="020B0604020202020204" pitchFamily="34" charset="0"/>
                  <a:cs typeface="Arial" panose="020B0604020202020204" pitchFamily="34" charset="0"/>
                </a:rPr>
                <a:t>Key Points </a:t>
              </a:r>
            </a:p>
          </p:txBody>
        </p:sp>
      </p:grpSp>
    </p:spTree>
    <p:extLst>
      <p:ext uri="{BB962C8B-B14F-4D97-AF65-F5344CB8AC3E}">
        <p14:creationId xmlns:p14="http://schemas.microsoft.com/office/powerpoint/2010/main" val="17311969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D4D0DD-3AD1-4BB4-9FAA-449DDA84DB3F}"/>
              </a:ext>
            </a:extLst>
          </p:cNvPr>
          <p:cNvSpPr/>
          <p:nvPr/>
        </p:nvSpPr>
        <p:spPr bwMode="auto">
          <a:xfrm>
            <a:off x="8081453" y="1621893"/>
            <a:ext cx="3791728" cy="1108052"/>
          </a:xfrm>
          <a:prstGeom prst="rect">
            <a:avLst/>
          </a:prstGeom>
          <a:solidFill>
            <a:schemeClr val="bg1"/>
          </a:solidFill>
          <a:ln w="19050" cap="flat" cmpd="sng" algn="ctr">
            <a:solidFill>
              <a:srgbClr val="FF0000"/>
            </a:solidFill>
            <a:prstDash val="lg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a:ln>
                <a:noFill/>
              </a:ln>
              <a:solidFill>
                <a:schemeClr val="tx1"/>
              </a:solidFill>
              <a:effectLst/>
              <a:latin typeface="Arial"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31095" y="161956"/>
            <a:ext cx="99107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le 2: IRRBB measurement: Evolution of Approaches</a:t>
            </a:r>
            <a:endParaRPr lang="en-US" altLang="en-US" sz="2000" b="1" dirty="0">
              <a:solidFill>
                <a:srgbClr val="C00000"/>
              </a:solidFill>
              <a:latin typeface="Arial"/>
              <a:cs typeface="Arial"/>
            </a:endParaRPr>
          </a:p>
        </p:txBody>
      </p:sp>
      <p:sp>
        <p:nvSpPr>
          <p:cNvPr id="67" name="Arrow: Down 66">
            <a:extLst>
              <a:ext uri="{FF2B5EF4-FFF2-40B4-BE49-F238E27FC236}">
                <a16:creationId xmlns:a16="http://schemas.microsoft.com/office/drawing/2014/main" id="{25370BD6-8939-4C02-B583-D3036DC6852E}"/>
              </a:ext>
            </a:extLst>
          </p:cNvPr>
          <p:cNvSpPr/>
          <p:nvPr/>
        </p:nvSpPr>
        <p:spPr>
          <a:xfrm rot="16200000">
            <a:off x="6686931" y="-3659219"/>
            <a:ext cx="513085" cy="10076947"/>
          </a:xfrm>
          <a:prstGeom prst="downArrow">
            <a:avLst/>
          </a:prstGeom>
          <a:solidFill>
            <a:srgbClr val="002060"/>
          </a:solidFill>
          <a:ln w="12700" cap="flat" cmpd="sng" algn="ctr">
            <a:noFill/>
            <a:prstDash val="solid"/>
            <a:miter lim="800000"/>
          </a:ln>
          <a:effectLst/>
        </p:spPr>
        <p:txBody>
          <a:bodyPr vert="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chemeClr val="bg1"/>
                </a:solidFill>
                <a:effectLst/>
                <a:uLnTx/>
                <a:uFillTx/>
                <a:latin typeface="Arial" panose="020B0604020202020204"/>
                <a:ea typeface="+mn-ea"/>
                <a:cs typeface="+mn-cs"/>
              </a:rPr>
              <a:t>Evolution of </a:t>
            </a:r>
            <a:r>
              <a:rPr lang="en-IN" sz="1100" b="1" kern="0" dirty="0">
                <a:solidFill>
                  <a:schemeClr val="bg1"/>
                </a:solidFill>
                <a:latin typeface="Arial" panose="020B0604020202020204"/>
              </a:rPr>
              <a:t>IRRBB measurement approaches </a:t>
            </a:r>
            <a:endParaRPr kumimoji="0" lang="en-IN" sz="1100" b="1" i="0" u="none" strike="noStrike" kern="0" cap="none" spc="0" normalizeH="0" baseline="0" noProof="0" dirty="0">
              <a:ln>
                <a:noFill/>
              </a:ln>
              <a:solidFill>
                <a:schemeClr val="bg1"/>
              </a:solidFill>
              <a:effectLst/>
              <a:uLnTx/>
              <a:uFillTx/>
              <a:latin typeface="Arial" panose="020B0604020202020204"/>
              <a:ea typeface="+mn-ea"/>
              <a:cs typeface="+mn-cs"/>
            </a:endParaRPr>
          </a:p>
        </p:txBody>
      </p:sp>
      <p:grpSp>
        <p:nvGrpSpPr>
          <p:cNvPr id="149" name="Group 148">
            <a:extLst>
              <a:ext uri="{FF2B5EF4-FFF2-40B4-BE49-F238E27FC236}">
                <a16:creationId xmlns:a16="http://schemas.microsoft.com/office/drawing/2014/main" id="{B4B16D95-AA2B-4C16-9EC8-EE2FEF87D292}"/>
              </a:ext>
            </a:extLst>
          </p:cNvPr>
          <p:cNvGrpSpPr/>
          <p:nvPr/>
        </p:nvGrpSpPr>
        <p:grpSpPr>
          <a:xfrm>
            <a:off x="2136422" y="4712195"/>
            <a:ext cx="9713723" cy="1416129"/>
            <a:chOff x="2742985" y="4947844"/>
            <a:chExt cx="5247633" cy="1416129"/>
          </a:xfrm>
        </p:grpSpPr>
        <p:cxnSp>
          <p:nvCxnSpPr>
            <p:cNvPr id="150" name="Straight Connector 149">
              <a:extLst>
                <a:ext uri="{FF2B5EF4-FFF2-40B4-BE49-F238E27FC236}">
                  <a16:creationId xmlns:a16="http://schemas.microsoft.com/office/drawing/2014/main" id="{2D38F854-0DFC-4486-BA52-2A3DC95438AD}"/>
                </a:ext>
              </a:extLst>
            </p:cNvPr>
            <p:cNvCxnSpPr>
              <a:cxnSpLocks/>
              <a:endCxn id="156" idx="3"/>
            </p:cNvCxnSpPr>
            <p:nvPr/>
          </p:nvCxnSpPr>
          <p:spPr>
            <a:xfrm>
              <a:off x="3494764" y="5800727"/>
              <a:ext cx="4495854" cy="45438"/>
            </a:xfrm>
            <a:prstGeom prst="line">
              <a:avLst/>
            </a:prstGeom>
            <a:ln w="63500" cmpd="dbl">
              <a:solidFill>
                <a:schemeClr val="tx1"/>
              </a:solidFill>
            </a:ln>
          </p:spPr>
          <p:style>
            <a:lnRef idx="1">
              <a:schemeClr val="accent1"/>
            </a:lnRef>
            <a:fillRef idx="0">
              <a:schemeClr val="accent1"/>
            </a:fillRef>
            <a:effectRef idx="0">
              <a:schemeClr val="accent1"/>
            </a:effectRef>
            <a:fontRef idx="minor">
              <a:schemeClr val="tx1"/>
            </a:fontRef>
          </p:style>
        </p:cxnSp>
        <p:sp>
          <p:nvSpPr>
            <p:cNvPr id="151" name="Rectangle 36">
              <a:extLst>
                <a:ext uri="{FF2B5EF4-FFF2-40B4-BE49-F238E27FC236}">
                  <a16:creationId xmlns:a16="http://schemas.microsoft.com/office/drawing/2014/main" id="{22F66C92-1C80-4060-9B01-411D2C599F05}"/>
                </a:ext>
              </a:extLst>
            </p:cNvPr>
            <p:cNvSpPr>
              <a:spLocks noChangeArrowheads="1"/>
            </p:cNvSpPr>
            <p:nvPr/>
          </p:nvSpPr>
          <p:spPr bwMode="auto">
            <a:xfrm>
              <a:off x="2742985" y="4947844"/>
              <a:ext cx="1490545" cy="360000"/>
            </a:xfrm>
            <a:prstGeom prst="roundRect">
              <a:avLst>
                <a:gd name="adj" fmla="val 7342"/>
              </a:avLst>
            </a:prstGeom>
            <a:solidFill>
              <a:srgbClr val="F2F2F2"/>
            </a:solidFill>
            <a:ln w="3175" algn="ctr">
              <a:solidFill>
                <a:schemeClr val="tx1"/>
              </a:solidFill>
              <a:miter lim="800000"/>
              <a:headEnd/>
              <a:tailEnd/>
            </a:ln>
          </p:spPr>
          <p:txBody>
            <a:bodyPr wrap="square" lIns="0" tIns="0" rIns="0" bIns="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050" b="1" i="1" dirty="0">
                  <a:latin typeface="Arial" panose="020B0604020202020204" pitchFamily="34" charset="0"/>
                  <a:cs typeface="Arial" panose="020B0604020202020204" pitchFamily="34" charset="0"/>
                </a:rPr>
                <a:t>Run-off balance sheet</a:t>
              </a:r>
              <a:endParaRPr kumimoji="0" lang="en-US" sz="105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52" name="Rounded Rectangle 43">
              <a:extLst>
                <a:ext uri="{FF2B5EF4-FFF2-40B4-BE49-F238E27FC236}">
                  <a16:creationId xmlns:a16="http://schemas.microsoft.com/office/drawing/2014/main" id="{EDDB7901-6F86-421E-98E7-8705D7E52DF7}"/>
                </a:ext>
              </a:extLst>
            </p:cNvPr>
            <p:cNvSpPr/>
            <p:nvPr/>
          </p:nvSpPr>
          <p:spPr bwMode="gray">
            <a:xfrm>
              <a:off x="2742985" y="5311645"/>
              <a:ext cx="1490545" cy="1019651"/>
            </a:xfrm>
            <a:prstGeom prst="roundRect">
              <a:avLst>
                <a:gd name="adj" fmla="val 0"/>
              </a:avLst>
            </a:prstGeom>
            <a:solidFill>
              <a:schemeClr val="bg1"/>
            </a:solidFill>
            <a:ln w="9525" algn="ctr">
              <a:solidFill>
                <a:srgbClr val="B58D2B"/>
              </a:solidFill>
              <a:miter lim="800000"/>
              <a:headEnd/>
              <a:tailEnd/>
            </a:ln>
          </p:spPr>
          <p:txBody>
            <a:bodyPr rot="0" spcFirstLastPara="0" vertOverflow="overflow" horzOverflow="overflow" vert="horz" wrap="square" lIns="137160" tIns="0" rIns="36000" bIns="0" numCol="1" spcCol="0" rtlCol="0" fromWordArt="0" anchor="ctr" anchorCtr="0" forceAA="0" compatLnSpc="1">
              <a:prstTxWarp prst="textNoShape">
                <a:avLst/>
              </a:prstTxWarp>
              <a:noAutofit/>
            </a:bodyPr>
            <a:lstStyle/>
            <a:p>
              <a:pPr algn="ctr">
                <a:lnSpc>
                  <a:spcPct val="120000"/>
                </a:lnSpc>
                <a:spcAft>
                  <a:spcPts val="300"/>
                </a:spcAft>
              </a:pPr>
              <a:r>
                <a:rPr lang="en-US" sz="1100" kern="0" dirty="0">
                  <a:solidFill>
                    <a:prstClr val="black"/>
                  </a:solidFill>
                  <a:latin typeface="Arial" panose="020B0604020202020204" pitchFamily="34" charset="0"/>
                  <a:cs typeface="Arial" panose="020B0604020202020204" pitchFamily="34" charset="0"/>
                </a:rPr>
                <a:t>Existing assets and liabilities run-off over time and not replaced on maturity</a:t>
              </a:r>
              <a:endParaRPr lang="en-IN" sz="1100" kern="0" dirty="0">
                <a:solidFill>
                  <a:prstClr val="black"/>
                </a:solidFill>
                <a:latin typeface="Arial" panose="020B0604020202020204" pitchFamily="34" charset="0"/>
                <a:cs typeface="Arial" panose="020B0604020202020204" pitchFamily="34" charset="0"/>
              </a:endParaRPr>
            </a:p>
          </p:txBody>
        </p:sp>
        <p:sp>
          <p:nvSpPr>
            <p:cNvPr id="153" name="Rectangle 36">
              <a:extLst>
                <a:ext uri="{FF2B5EF4-FFF2-40B4-BE49-F238E27FC236}">
                  <a16:creationId xmlns:a16="http://schemas.microsoft.com/office/drawing/2014/main" id="{F5C76F72-B34D-4B8D-A6C2-F7F24FFE23A1}"/>
                </a:ext>
              </a:extLst>
            </p:cNvPr>
            <p:cNvSpPr>
              <a:spLocks noChangeArrowheads="1"/>
            </p:cNvSpPr>
            <p:nvPr/>
          </p:nvSpPr>
          <p:spPr bwMode="auto">
            <a:xfrm>
              <a:off x="4713964" y="4970735"/>
              <a:ext cx="1490545" cy="360000"/>
            </a:xfrm>
            <a:prstGeom prst="roundRect">
              <a:avLst>
                <a:gd name="adj" fmla="val 7342"/>
              </a:avLst>
            </a:prstGeom>
            <a:solidFill>
              <a:srgbClr val="F2F2F2"/>
            </a:solidFill>
            <a:ln w="3175" algn="ctr">
              <a:solidFill>
                <a:schemeClr val="tx1"/>
              </a:solidFill>
              <a:miter lim="800000"/>
              <a:headEnd/>
              <a:tailEnd/>
            </a:ln>
          </p:spPr>
          <p:txBody>
            <a:bodyPr wrap="square" lIns="0" tIns="0" rIns="0" bIns="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050" b="1" i="1" dirty="0">
                  <a:latin typeface="Arial" panose="020B0604020202020204" pitchFamily="34" charset="0"/>
                  <a:cs typeface="Arial" panose="020B0604020202020204" pitchFamily="34" charset="0"/>
                </a:rPr>
                <a:t>Constant balance sheet</a:t>
              </a:r>
              <a:endParaRPr kumimoji="0" lang="en-US" sz="105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54" name="Rounded Rectangle 43">
              <a:extLst>
                <a:ext uri="{FF2B5EF4-FFF2-40B4-BE49-F238E27FC236}">
                  <a16:creationId xmlns:a16="http://schemas.microsoft.com/office/drawing/2014/main" id="{FBD3C52B-B576-46A8-AB98-7E65FE0E365F}"/>
                </a:ext>
              </a:extLst>
            </p:cNvPr>
            <p:cNvSpPr/>
            <p:nvPr/>
          </p:nvSpPr>
          <p:spPr bwMode="gray">
            <a:xfrm>
              <a:off x="4713964" y="5328357"/>
              <a:ext cx="1490545" cy="1025829"/>
            </a:xfrm>
            <a:prstGeom prst="roundRect">
              <a:avLst>
                <a:gd name="adj" fmla="val 0"/>
              </a:avLst>
            </a:prstGeom>
            <a:solidFill>
              <a:schemeClr val="bg1"/>
            </a:solidFill>
            <a:ln w="9525" algn="ctr">
              <a:solidFill>
                <a:srgbClr val="B58D2B"/>
              </a:solidFill>
              <a:miter lim="800000"/>
              <a:headEnd/>
              <a:tailEnd/>
            </a:ln>
          </p:spPr>
          <p:txBody>
            <a:bodyPr rot="0" spcFirstLastPara="0" vertOverflow="overflow" horzOverflow="overflow" vert="horz" wrap="square" lIns="137160" tIns="0" rIns="36000" bIns="0" numCol="1" spcCol="0" rtlCol="0" fromWordArt="0" anchor="ctr" anchorCtr="0" forceAA="0" compatLnSpc="1">
              <a:prstTxWarp prst="textNoShape">
                <a:avLst/>
              </a:prstTxWarp>
              <a:noAutofit/>
            </a:bodyPr>
            <a:lstStyle/>
            <a:p>
              <a:pPr algn="ctr">
                <a:lnSpc>
                  <a:spcPct val="120000"/>
                </a:lnSpc>
                <a:spcAft>
                  <a:spcPts val="300"/>
                </a:spcAft>
              </a:pPr>
              <a:r>
                <a:rPr lang="en-US" sz="1100" kern="0" dirty="0">
                  <a:solidFill>
                    <a:prstClr val="black"/>
                  </a:solidFill>
                  <a:latin typeface="Arial" panose="020B0604020202020204" pitchFamily="34" charset="0"/>
                  <a:cs typeface="Arial" panose="020B0604020202020204" pitchFamily="34" charset="0"/>
                </a:rPr>
                <a:t>Instantaneous and identical replacement of assets and liabilities as they mature</a:t>
              </a:r>
              <a:endParaRPr lang="en-IN" sz="1100" kern="0" dirty="0">
                <a:solidFill>
                  <a:prstClr val="black"/>
                </a:solidFill>
                <a:latin typeface="Arial" panose="020B0604020202020204" pitchFamily="34" charset="0"/>
                <a:cs typeface="Arial" panose="020B0604020202020204" pitchFamily="34" charset="0"/>
              </a:endParaRPr>
            </a:p>
          </p:txBody>
        </p:sp>
        <p:sp>
          <p:nvSpPr>
            <p:cNvPr id="155" name="Rectangle 36">
              <a:extLst>
                <a:ext uri="{FF2B5EF4-FFF2-40B4-BE49-F238E27FC236}">
                  <a16:creationId xmlns:a16="http://schemas.microsoft.com/office/drawing/2014/main" id="{3EA04C0E-F043-45E5-9843-966761C6F1D3}"/>
                </a:ext>
              </a:extLst>
            </p:cNvPr>
            <p:cNvSpPr>
              <a:spLocks noChangeArrowheads="1"/>
            </p:cNvSpPr>
            <p:nvPr/>
          </p:nvSpPr>
          <p:spPr bwMode="auto">
            <a:xfrm>
              <a:off x="6500073" y="4980522"/>
              <a:ext cx="1490545" cy="360000"/>
            </a:xfrm>
            <a:prstGeom prst="roundRect">
              <a:avLst>
                <a:gd name="adj" fmla="val 7342"/>
              </a:avLst>
            </a:prstGeom>
            <a:solidFill>
              <a:srgbClr val="F2F2F2"/>
            </a:solidFill>
            <a:ln w="3175" algn="ctr">
              <a:solidFill>
                <a:schemeClr val="tx1"/>
              </a:solidFill>
              <a:miter lim="800000"/>
              <a:headEnd/>
              <a:tailEnd/>
            </a:ln>
          </p:spPr>
          <p:txBody>
            <a:bodyPr wrap="square" lIns="0" tIns="0" rIns="0" bIns="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050" b="1" i="1" dirty="0">
                  <a:latin typeface="Arial" panose="020B0604020202020204" pitchFamily="34" charset="0"/>
                  <a:cs typeface="Arial" panose="020B0604020202020204" pitchFamily="34" charset="0"/>
                </a:rPr>
                <a:t>Dynamic balance sheet</a:t>
              </a:r>
              <a:endParaRPr kumimoji="0" lang="en-US" sz="1050" b="1" i="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56" name="Rounded Rectangle 43">
              <a:extLst>
                <a:ext uri="{FF2B5EF4-FFF2-40B4-BE49-F238E27FC236}">
                  <a16:creationId xmlns:a16="http://schemas.microsoft.com/office/drawing/2014/main" id="{E1BCD96F-5A87-4A46-92FD-4D7B977E1797}"/>
                </a:ext>
              </a:extLst>
            </p:cNvPr>
            <p:cNvSpPr/>
            <p:nvPr/>
          </p:nvSpPr>
          <p:spPr bwMode="gray">
            <a:xfrm>
              <a:off x="6500073" y="5328357"/>
              <a:ext cx="1490545" cy="1035616"/>
            </a:xfrm>
            <a:prstGeom prst="roundRect">
              <a:avLst>
                <a:gd name="adj" fmla="val 0"/>
              </a:avLst>
            </a:prstGeom>
            <a:solidFill>
              <a:schemeClr val="bg1"/>
            </a:solidFill>
            <a:ln w="9525" algn="ctr">
              <a:solidFill>
                <a:srgbClr val="B58D2B"/>
              </a:solidFill>
              <a:miter lim="800000"/>
              <a:headEnd/>
              <a:tailEnd/>
            </a:ln>
          </p:spPr>
          <p:txBody>
            <a:bodyPr rot="0" spcFirstLastPara="0" vertOverflow="overflow" horzOverflow="overflow" vert="horz" wrap="square" lIns="137160" tIns="0" rIns="36000" bIns="0" numCol="1" spcCol="0" rtlCol="0" fromWordArt="0" anchor="ctr" anchorCtr="0" forceAA="0" compatLnSpc="1">
              <a:prstTxWarp prst="textNoShape">
                <a:avLst/>
              </a:prstTxWarp>
              <a:noAutofit/>
            </a:bodyPr>
            <a:lstStyle/>
            <a:p>
              <a:pPr algn="ctr">
                <a:lnSpc>
                  <a:spcPct val="120000"/>
                </a:lnSpc>
                <a:spcAft>
                  <a:spcPts val="300"/>
                </a:spcAft>
              </a:pPr>
              <a:r>
                <a:rPr lang="en-IN" sz="1100" kern="0" dirty="0">
                  <a:solidFill>
                    <a:prstClr val="black"/>
                  </a:solidFill>
                  <a:latin typeface="Arial" panose="020B0604020202020204" pitchFamily="34" charset="0"/>
                  <a:cs typeface="Arial" panose="020B0604020202020204" pitchFamily="34" charset="0"/>
                </a:rPr>
                <a:t>Balance sheet evolves over time as per future business strategy and expectations</a:t>
              </a:r>
            </a:p>
          </p:txBody>
        </p:sp>
      </p:grpSp>
      <p:sp>
        <p:nvSpPr>
          <p:cNvPr id="157" name="Arrow: Down 156">
            <a:extLst>
              <a:ext uri="{FF2B5EF4-FFF2-40B4-BE49-F238E27FC236}">
                <a16:creationId xmlns:a16="http://schemas.microsoft.com/office/drawing/2014/main" id="{B9B65B1D-D934-4FBE-9601-6B1EA2FDB9EE}"/>
              </a:ext>
            </a:extLst>
          </p:cNvPr>
          <p:cNvSpPr/>
          <p:nvPr/>
        </p:nvSpPr>
        <p:spPr>
          <a:xfrm rot="16200000">
            <a:off x="6745465" y="-769840"/>
            <a:ext cx="528423" cy="10209355"/>
          </a:xfrm>
          <a:prstGeom prst="downArrow">
            <a:avLst/>
          </a:prstGeom>
          <a:solidFill>
            <a:srgbClr val="002060"/>
          </a:solidFill>
          <a:ln w="12700" cap="flat" cmpd="sng" algn="ctr">
            <a:noFill/>
            <a:prstDash val="solid"/>
            <a:miter lim="800000"/>
          </a:ln>
          <a:effectLst/>
        </p:spPr>
        <p:txBody>
          <a:bodyPr vert="vert" rtlCol="0" anchor="ctr"/>
          <a:lstStyle/>
          <a:p>
            <a:pPr algn="ctr"/>
            <a:r>
              <a:rPr lang="en-IN" sz="1100" b="1" kern="0" dirty="0">
                <a:solidFill>
                  <a:schemeClr val="bg1"/>
                </a:solidFill>
                <a:latin typeface="Arial" panose="020B0604020202020204"/>
              </a:rPr>
              <a:t>Evolution of balance sheet projection assumptions</a:t>
            </a:r>
          </a:p>
        </p:txBody>
      </p:sp>
      <p:sp>
        <p:nvSpPr>
          <p:cNvPr id="69" name="TextBox 68">
            <a:extLst>
              <a:ext uri="{FF2B5EF4-FFF2-40B4-BE49-F238E27FC236}">
                <a16:creationId xmlns:a16="http://schemas.microsoft.com/office/drawing/2014/main" id="{E9B90832-5753-4BC4-94AE-8D62BF034EF7}"/>
              </a:ext>
            </a:extLst>
          </p:cNvPr>
          <p:cNvSpPr txBox="1"/>
          <p:nvPr/>
        </p:nvSpPr>
        <p:spPr>
          <a:xfrm>
            <a:off x="1915158" y="1755797"/>
            <a:ext cx="1772308" cy="772006"/>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algn="ctr" defTabSz="825500" hangingPunct="0">
              <a:spcAft>
                <a:spcPts val="300"/>
              </a:spcAft>
              <a:defRPr/>
            </a:pPr>
            <a:r>
              <a:rPr lang="en-US" sz="1100" b="1" kern="0" dirty="0">
                <a:solidFill>
                  <a:prstClr val="black"/>
                </a:solidFill>
                <a:latin typeface="Arial" panose="020B0604020202020204" pitchFamily="34" charset="0"/>
                <a:cs typeface="Arial" panose="020B0604020202020204" pitchFamily="34" charset="0"/>
                <a:sym typeface="Helvetica Neue"/>
              </a:rPr>
              <a:t>Repricing gap analysis*</a:t>
            </a:r>
          </a:p>
          <a:p>
            <a:pPr algn="ctr" defTabSz="825500" hangingPunct="0">
              <a:defRPr/>
            </a:pPr>
            <a:r>
              <a:rPr lang="en-US" sz="1000" kern="0" dirty="0">
                <a:solidFill>
                  <a:prstClr val="black"/>
                </a:solidFill>
                <a:latin typeface="Arial" panose="020B0604020202020204" pitchFamily="34" charset="0"/>
                <a:cs typeface="Arial" panose="020B0604020202020204" pitchFamily="34" charset="0"/>
                <a:sym typeface="Helvetica Neue"/>
              </a:rPr>
              <a:t>Gap between interest rate sensitive assets and liabilities across time buckets </a:t>
            </a:r>
          </a:p>
        </p:txBody>
      </p:sp>
      <p:sp>
        <p:nvSpPr>
          <p:cNvPr id="115" name="TextBox 114">
            <a:extLst>
              <a:ext uri="{FF2B5EF4-FFF2-40B4-BE49-F238E27FC236}">
                <a16:creationId xmlns:a16="http://schemas.microsoft.com/office/drawing/2014/main" id="{4F26BE46-7C80-41EA-ADB4-4A23B6AE6F45}"/>
              </a:ext>
            </a:extLst>
          </p:cNvPr>
          <p:cNvSpPr txBox="1"/>
          <p:nvPr/>
        </p:nvSpPr>
        <p:spPr>
          <a:xfrm>
            <a:off x="3957963" y="1770976"/>
            <a:ext cx="1772308" cy="772006"/>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algn="ctr" defTabSz="825500" hangingPunct="0">
              <a:spcAft>
                <a:spcPts val="300"/>
              </a:spcAft>
              <a:defRPr/>
            </a:pPr>
            <a:r>
              <a:rPr lang="en-US" sz="1100" b="1" kern="0" dirty="0">
                <a:solidFill>
                  <a:prstClr val="black"/>
                </a:solidFill>
                <a:latin typeface="Arial" panose="020B0604020202020204" pitchFamily="34" charset="0"/>
                <a:cs typeface="Arial" panose="020B0604020202020204" pitchFamily="34" charset="0"/>
                <a:sym typeface="Helvetica Neue"/>
              </a:rPr>
              <a:t>Duration gap analysis*</a:t>
            </a:r>
          </a:p>
          <a:p>
            <a:pPr algn="ctr" defTabSz="825500" hangingPunct="0">
              <a:defRPr/>
            </a:pPr>
            <a:r>
              <a:rPr lang="en-US" sz="1000" kern="0" dirty="0">
                <a:solidFill>
                  <a:prstClr val="black"/>
                </a:solidFill>
                <a:latin typeface="Arial" panose="020B0604020202020204" pitchFamily="34" charset="0"/>
                <a:cs typeface="Arial" panose="020B0604020202020204" pitchFamily="34" charset="0"/>
                <a:sym typeface="Helvetica Neue"/>
              </a:rPr>
              <a:t>Modified duration gap between rate sensitive assets and liabilities </a:t>
            </a:r>
          </a:p>
        </p:txBody>
      </p:sp>
      <p:sp>
        <p:nvSpPr>
          <p:cNvPr id="116" name="TextBox 115">
            <a:extLst>
              <a:ext uri="{FF2B5EF4-FFF2-40B4-BE49-F238E27FC236}">
                <a16:creationId xmlns:a16="http://schemas.microsoft.com/office/drawing/2014/main" id="{1F023FFC-1411-4EED-B7AC-5B2E1AD3FB00}"/>
              </a:ext>
            </a:extLst>
          </p:cNvPr>
          <p:cNvSpPr txBox="1"/>
          <p:nvPr/>
        </p:nvSpPr>
        <p:spPr>
          <a:xfrm>
            <a:off x="5853169" y="1771037"/>
            <a:ext cx="2060996" cy="772006"/>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algn="ctr" defTabSz="825500" hangingPunct="0">
              <a:spcAft>
                <a:spcPts val="300"/>
              </a:spcAft>
              <a:defRPr/>
            </a:pPr>
            <a:r>
              <a:rPr lang="en-US" sz="1100" b="1" kern="0" dirty="0">
                <a:solidFill>
                  <a:prstClr val="black"/>
                </a:solidFill>
                <a:latin typeface="Arial" panose="020B0604020202020204" pitchFamily="34" charset="0"/>
                <a:cs typeface="Arial" panose="020B0604020202020204" pitchFamily="34" charset="0"/>
                <a:sym typeface="Helvetica Neue"/>
              </a:rPr>
              <a:t>PV01 </a:t>
            </a:r>
          </a:p>
          <a:p>
            <a:pPr algn="ctr" defTabSz="825500" hangingPunct="0">
              <a:defRPr/>
            </a:pPr>
            <a:r>
              <a:rPr lang="en-US" sz="1000" kern="0" dirty="0">
                <a:solidFill>
                  <a:prstClr val="black"/>
                </a:solidFill>
                <a:latin typeface="Arial" panose="020B0604020202020204" pitchFamily="34" charset="0"/>
                <a:cs typeface="Arial" panose="020B0604020202020204" pitchFamily="34" charset="0"/>
                <a:sym typeface="Helvetica Neue"/>
              </a:rPr>
              <a:t>Impact on economic value due to  single basis point change across all tenors  </a:t>
            </a:r>
          </a:p>
        </p:txBody>
      </p:sp>
      <p:sp>
        <p:nvSpPr>
          <p:cNvPr id="184" name="TextBox 183">
            <a:extLst>
              <a:ext uri="{FF2B5EF4-FFF2-40B4-BE49-F238E27FC236}">
                <a16:creationId xmlns:a16="http://schemas.microsoft.com/office/drawing/2014/main" id="{788A32B9-3519-4F27-B87A-10D6BA1D8794}"/>
              </a:ext>
            </a:extLst>
          </p:cNvPr>
          <p:cNvSpPr txBox="1"/>
          <p:nvPr/>
        </p:nvSpPr>
        <p:spPr>
          <a:xfrm>
            <a:off x="8037064" y="1770976"/>
            <a:ext cx="1772308" cy="772006"/>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algn="ctr" defTabSz="825500" hangingPunct="0">
              <a:spcAft>
                <a:spcPts val="300"/>
              </a:spcAft>
              <a:defRPr/>
            </a:pPr>
            <a:r>
              <a:rPr lang="en-US" sz="1100" b="1" kern="0" dirty="0">
                <a:solidFill>
                  <a:prstClr val="black"/>
                </a:solidFill>
                <a:latin typeface="Arial" panose="020B0604020202020204" pitchFamily="34" charset="0"/>
                <a:cs typeface="Arial" panose="020B0604020202020204" pitchFamily="34" charset="0"/>
                <a:sym typeface="Helvetica Neue"/>
              </a:rPr>
              <a:t>EVE simulations</a:t>
            </a:r>
          </a:p>
          <a:p>
            <a:pPr algn="ctr" defTabSz="825500" hangingPunct="0">
              <a:defRPr/>
            </a:pPr>
            <a:r>
              <a:rPr lang="en-US" sz="1000" kern="0" dirty="0">
                <a:solidFill>
                  <a:prstClr val="black"/>
                </a:solidFill>
                <a:latin typeface="Arial" panose="020B0604020202020204" pitchFamily="34" charset="0"/>
                <a:cs typeface="Arial" panose="020B0604020202020204" pitchFamily="34" charset="0"/>
                <a:sym typeface="Helvetica Neue"/>
              </a:rPr>
              <a:t>Full-revaluation of EVE across parallel and non-parallel IR scenarios</a:t>
            </a:r>
          </a:p>
        </p:txBody>
      </p:sp>
      <p:sp>
        <p:nvSpPr>
          <p:cNvPr id="185" name="TextBox 184">
            <a:extLst>
              <a:ext uri="{FF2B5EF4-FFF2-40B4-BE49-F238E27FC236}">
                <a16:creationId xmlns:a16="http://schemas.microsoft.com/office/drawing/2014/main" id="{1ED2DFF6-D395-437D-BC40-B99A8344DF31}"/>
              </a:ext>
            </a:extLst>
          </p:cNvPr>
          <p:cNvSpPr txBox="1"/>
          <p:nvPr/>
        </p:nvSpPr>
        <p:spPr>
          <a:xfrm>
            <a:off x="9812185" y="1765801"/>
            <a:ext cx="2060996" cy="772006"/>
          </a:xfrm>
          <a:prstGeom prst="rect">
            <a:avLst/>
          </a:prstGeom>
          <a:no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algn="ctr" defTabSz="825500" hangingPunct="0">
              <a:spcAft>
                <a:spcPts val="300"/>
              </a:spcAft>
              <a:defRPr/>
            </a:pPr>
            <a:r>
              <a:rPr lang="en-US" sz="1100" b="1" kern="0" dirty="0">
                <a:solidFill>
                  <a:prstClr val="black"/>
                </a:solidFill>
                <a:latin typeface="Arial" panose="020B0604020202020204" pitchFamily="34" charset="0"/>
                <a:cs typeface="Arial" panose="020B0604020202020204" pitchFamily="34" charset="0"/>
                <a:sym typeface="Helvetica Neue"/>
              </a:rPr>
              <a:t>NII simulations</a:t>
            </a:r>
          </a:p>
          <a:p>
            <a:pPr algn="ctr" defTabSz="825500" hangingPunct="0">
              <a:defRPr/>
            </a:pPr>
            <a:r>
              <a:rPr lang="en-US" sz="1000" kern="0" dirty="0">
                <a:solidFill>
                  <a:prstClr val="black"/>
                </a:solidFill>
                <a:latin typeface="Arial" panose="020B0604020202020204" pitchFamily="34" charset="0"/>
                <a:cs typeface="Arial" panose="020B0604020202020204" pitchFamily="34" charset="0"/>
                <a:sym typeface="Helvetica Neue"/>
              </a:rPr>
              <a:t>Granular NII simulations across parallel and non-parallel IR scenarios  </a:t>
            </a:r>
          </a:p>
        </p:txBody>
      </p:sp>
      <p:grpSp>
        <p:nvGrpSpPr>
          <p:cNvPr id="11" name="Group 10">
            <a:extLst>
              <a:ext uri="{FF2B5EF4-FFF2-40B4-BE49-F238E27FC236}">
                <a16:creationId xmlns:a16="http://schemas.microsoft.com/office/drawing/2014/main" id="{738B0C55-F8FA-44CA-A50F-A379876CF3FB}"/>
              </a:ext>
            </a:extLst>
          </p:cNvPr>
          <p:cNvGrpSpPr/>
          <p:nvPr/>
        </p:nvGrpSpPr>
        <p:grpSpPr>
          <a:xfrm>
            <a:off x="2141312" y="2792976"/>
            <a:ext cx="9453017" cy="1373578"/>
            <a:chOff x="2100537" y="2823714"/>
            <a:chExt cx="9453017" cy="1364917"/>
          </a:xfrm>
        </p:grpSpPr>
        <p:grpSp>
          <p:nvGrpSpPr>
            <p:cNvPr id="72" name="Group 71">
              <a:extLst>
                <a:ext uri="{FF2B5EF4-FFF2-40B4-BE49-F238E27FC236}">
                  <a16:creationId xmlns:a16="http://schemas.microsoft.com/office/drawing/2014/main" id="{ADECC662-492C-46C4-8C80-1B491EDBAADE}"/>
                </a:ext>
              </a:extLst>
            </p:cNvPr>
            <p:cNvGrpSpPr/>
            <p:nvPr/>
          </p:nvGrpSpPr>
          <p:grpSpPr>
            <a:xfrm>
              <a:off x="2100537" y="2826936"/>
              <a:ext cx="1374458" cy="1361257"/>
              <a:chOff x="707204" y="2047694"/>
              <a:chExt cx="1743470" cy="1905720"/>
            </a:xfrm>
          </p:grpSpPr>
          <p:sp>
            <p:nvSpPr>
              <p:cNvPr id="73" name="Freeform: Shape 72">
                <a:extLst>
                  <a:ext uri="{FF2B5EF4-FFF2-40B4-BE49-F238E27FC236}">
                    <a16:creationId xmlns:a16="http://schemas.microsoft.com/office/drawing/2014/main" id="{8FC56866-1A75-4DAC-88AD-F15CB15CFF28}"/>
                  </a:ext>
                </a:extLst>
              </p:cNvPr>
              <p:cNvSpPr>
                <a:spLocks/>
              </p:cNvSpPr>
              <p:nvPr/>
            </p:nvSpPr>
            <p:spPr bwMode="auto">
              <a:xfrm>
                <a:off x="1580005" y="2430457"/>
                <a:ext cx="870669" cy="1032689"/>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74" name="Freeform: Shape 73">
                <a:extLst>
                  <a:ext uri="{FF2B5EF4-FFF2-40B4-BE49-F238E27FC236}">
                    <a16:creationId xmlns:a16="http://schemas.microsoft.com/office/drawing/2014/main" id="{CB78F1BC-AE78-467D-9824-DDCC423B680C}"/>
                  </a:ext>
                </a:extLst>
              </p:cNvPr>
              <p:cNvSpPr>
                <a:spLocks/>
              </p:cNvSpPr>
              <p:nvPr/>
            </p:nvSpPr>
            <p:spPr bwMode="auto">
              <a:xfrm>
                <a:off x="707204" y="2430389"/>
                <a:ext cx="872803" cy="1032758"/>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84" name="Freeform 16">
                <a:extLst>
                  <a:ext uri="{FF2B5EF4-FFF2-40B4-BE49-F238E27FC236}">
                    <a16:creationId xmlns:a16="http://schemas.microsoft.com/office/drawing/2014/main" id="{8B759968-B908-4AD9-A2E4-684D49EA16E7}"/>
                  </a:ext>
                </a:extLst>
              </p:cNvPr>
              <p:cNvSpPr>
                <a:spLocks/>
              </p:cNvSpPr>
              <p:nvPr/>
            </p:nvSpPr>
            <p:spPr bwMode="auto">
              <a:xfrm>
                <a:off x="707206" y="2047694"/>
                <a:ext cx="1743468" cy="766723"/>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070C0"/>
              </a:solidFill>
              <a:ln>
                <a:noFill/>
              </a:ln>
            </p:spPr>
            <p:txBody>
              <a:bodyPr vert="horz" wrap="square" lIns="91440" tIns="45720" rIns="91440" bIns="45720" numCol="1" anchor="t" anchorCtr="0" compatLnSpc="1">
                <a:prstTxWarp prst="textNoShape">
                  <a:avLst/>
                </a:prstTxWarp>
                <a:noAutofit/>
              </a:bodyPr>
              <a:lstStyle/>
              <a:p>
                <a:endParaRPr lang="en-US" kern="0">
                  <a:solidFill>
                    <a:prstClr val="black"/>
                  </a:solidFill>
                  <a:latin typeface="Calibri" panose="020F0502020204030204"/>
                  <a:cs typeface="Arial" panose="020B0604020202020204" pitchFamily="34" charset="0"/>
                </a:endParaRPr>
              </a:p>
            </p:txBody>
          </p:sp>
          <p:sp>
            <p:nvSpPr>
              <p:cNvPr id="94" name="Freeform: Shape 93">
                <a:extLst>
                  <a:ext uri="{FF2B5EF4-FFF2-40B4-BE49-F238E27FC236}">
                    <a16:creationId xmlns:a16="http://schemas.microsoft.com/office/drawing/2014/main" id="{990D6565-C0D5-4E86-A619-C51923E83D78}"/>
                  </a:ext>
                </a:extLst>
              </p:cNvPr>
              <p:cNvSpPr>
                <a:spLocks/>
              </p:cNvSpPr>
              <p:nvPr/>
            </p:nvSpPr>
            <p:spPr bwMode="auto">
              <a:xfrm>
                <a:off x="1580005" y="3073641"/>
                <a:ext cx="870669" cy="87977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99" name="Freeform: Shape 98">
                <a:extLst>
                  <a:ext uri="{FF2B5EF4-FFF2-40B4-BE49-F238E27FC236}">
                    <a16:creationId xmlns:a16="http://schemas.microsoft.com/office/drawing/2014/main" id="{64E3F529-20BD-47CF-8F68-320D479B9F89}"/>
                  </a:ext>
                </a:extLst>
              </p:cNvPr>
              <p:cNvSpPr>
                <a:spLocks/>
              </p:cNvSpPr>
              <p:nvPr/>
            </p:nvSpPr>
            <p:spPr bwMode="auto">
              <a:xfrm>
                <a:off x="707204" y="3073573"/>
                <a:ext cx="872803" cy="859915"/>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grpSp>
        <p:grpSp>
          <p:nvGrpSpPr>
            <p:cNvPr id="186" name="Group 185">
              <a:extLst>
                <a:ext uri="{FF2B5EF4-FFF2-40B4-BE49-F238E27FC236}">
                  <a16:creationId xmlns:a16="http://schemas.microsoft.com/office/drawing/2014/main" id="{D8DF96ED-171A-4D40-8AA3-606D71D6D8A2}"/>
                </a:ext>
              </a:extLst>
            </p:cNvPr>
            <p:cNvGrpSpPr/>
            <p:nvPr/>
          </p:nvGrpSpPr>
          <p:grpSpPr>
            <a:xfrm>
              <a:off x="4182907" y="2827374"/>
              <a:ext cx="1374458" cy="1361257"/>
              <a:chOff x="707204" y="2047694"/>
              <a:chExt cx="1743470" cy="1905720"/>
            </a:xfrm>
          </p:grpSpPr>
          <p:sp>
            <p:nvSpPr>
              <p:cNvPr id="187" name="Freeform: Shape 186">
                <a:extLst>
                  <a:ext uri="{FF2B5EF4-FFF2-40B4-BE49-F238E27FC236}">
                    <a16:creationId xmlns:a16="http://schemas.microsoft.com/office/drawing/2014/main" id="{97C2F9E0-C1A1-4120-BBDE-308DE7D5C7FF}"/>
                  </a:ext>
                </a:extLst>
              </p:cNvPr>
              <p:cNvSpPr>
                <a:spLocks/>
              </p:cNvSpPr>
              <p:nvPr/>
            </p:nvSpPr>
            <p:spPr bwMode="auto">
              <a:xfrm>
                <a:off x="1580005" y="2430457"/>
                <a:ext cx="870669" cy="1032689"/>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188" name="Freeform: Shape 187">
                <a:extLst>
                  <a:ext uri="{FF2B5EF4-FFF2-40B4-BE49-F238E27FC236}">
                    <a16:creationId xmlns:a16="http://schemas.microsoft.com/office/drawing/2014/main" id="{1C981199-F99D-4C78-9FA3-D92217A6C3C6}"/>
                  </a:ext>
                </a:extLst>
              </p:cNvPr>
              <p:cNvSpPr>
                <a:spLocks/>
              </p:cNvSpPr>
              <p:nvPr/>
            </p:nvSpPr>
            <p:spPr bwMode="auto">
              <a:xfrm>
                <a:off x="707204" y="2430389"/>
                <a:ext cx="872803" cy="1032758"/>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189" name="Freeform 16">
                <a:extLst>
                  <a:ext uri="{FF2B5EF4-FFF2-40B4-BE49-F238E27FC236}">
                    <a16:creationId xmlns:a16="http://schemas.microsoft.com/office/drawing/2014/main" id="{F8E72F92-7424-45E7-BED5-CB46E5AD3644}"/>
                  </a:ext>
                </a:extLst>
              </p:cNvPr>
              <p:cNvSpPr>
                <a:spLocks/>
              </p:cNvSpPr>
              <p:nvPr/>
            </p:nvSpPr>
            <p:spPr bwMode="auto">
              <a:xfrm>
                <a:off x="707206" y="2047694"/>
                <a:ext cx="1743468" cy="766723"/>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070C0"/>
              </a:solidFill>
              <a:ln>
                <a:noFill/>
              </a:ln>
            </p:spPr>
            <p:txBody>
              <a:bodyPr vert="horz" wrap="square" lIns="91440" tIns="45720" rIns="91440" bIns="45720" numCol="1" anchor="t" anchorCtr="0" compatLnSpc="1">
                <a:prstTxWarp prst="textNoShape">
                  <a:avLst/>
                </a:prstTxWarp>
                <a:noAutofit/>
              </a:bodyPr>
              <a:lstStyle/>
              <a:p>
                <a:endParaRPr lang="en-US" kern="0">
                  <a:solidFill>
                    <a:prstClr val="black"/>
                  </a:solidFill>
                  <a:latin typeface="Calibri" panose="020F0502020204030204"/>
                  <a:cs typeface="Arial" panose="020B0604020202020204" pitchFamily="34" charset="0"/>
                </a:endParaRPr>
              </a:p>
            </p:txBody>
          </p:sp>
          <p:sp>
            <p:nvSpPr>
              <p:cNvPr id="190" name="Freeform: Shape 189">
                <a:extLst>
                  <a:ext uri="{FF2B5EF4-FFF2-40B4-BE49-F238E27FC236}">
                    <a16:creationId xmlns:a16="http://schemas.microsoft.com/office/drawing/2014/main" id="{33518AF2-A6CD-40B1-B047-D59F4BCA314E}"/>
                  </a:ext>
                </a:extLst>
              </p:cNvPr>
              <p:cNvSpPr>
                <a:spLocks/>
              </p:cNvSpPr>
              <p:nvPr/>
            </p:nvSpPr>
            <p:spPr bwMode="auto">
              <a:xfrm>
                <a:off x="1580005" y="3073641"/>
                <a:ext cx="870669" cy="87977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191" name="Freeform: Shape 190">
                <a:extLst>
                  <a:ext uri="{FF2B5EF4-FFF2-40B4-BE49-F238E27FC236}">
                    <a16:creationId xmlns:a16="http://schemas.microsoft.com/office/drawing/2014/main" id="{F4647A24-F5C9-451A-83A5-18B69C603761}"/>
                  </a:ext>
                </a:extLst>
              </p:cNvPr>
              <p:cNvSpPr>
                <a:spLocks/>
              </p:cNvSpPr>
              <p:nvPr/>
            </p:nvSpPr>
            <p:spPr bwMode="auto">
              <a:xfrm>
                <a:off x="707204" y="3073573"/>
                <a:ext cx="872803" cy="859915"/>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grpSp>
        <p:grpSp>
          <p:nvGrpSpPr>
            <p:cNvPr id="198" name="Group 197">
              <a:extLst>
                <a:ext uri="{FF2B5EF4-FFF2-40B4-BE49-F238E27FC236}">
                  <a16:creationId xmlns:a16="http://schemas.microsoft.com/office/drawing/2014/main" id="{1B8A64D9-2A98-4F62-BEC9-EE0063BECB6F}"/>
                </a:ext>
              </a:extLst>
            </p:cNvPr>
            <p:cNvGrpSpPr/>
            <p:nvPr/>
          </p:nvGrpSpPr>
          <p:grpSpPr>
            <a:xfrm>
              <a:off x="6265279" y="2826936"/>
              <a:ext cx="1374458" cy="1361257"/>
              <a:chOff x="707204" y="2047694"/>
              <a:chExt cx="1743470" cy="1905720"/>
            </a:xfrm>
          </p:grpSpPr>
          <p:sp>
            <p:nvSpPr>
              <p:cNvPr id="199" name="Freeform: Shape 198">
                <a:extLst>
                  <a:ext uri="{FF2B5EF4-FFF2-40B4-BE49-F238E27FC236}">
                    <a16:creationId xmlns:a16="http://schemas.microsoft.com/office/drawing/2014/main" id="{494F8C07-4771-49D9-ACB9-5FD6F35CE5FF}"/>
                  </a:ext>
                </a:extLst>
              </p:cNvPr>
              <p:cNvSpPr>
                <a:spLocks/>
              </p:cNvSpPr>
              <p:nvPr/>
            </p:nvSpPr>
            <p:spPr bwMode="auto">
              <a:xfrm>
                <a:off x="1580005" y="2430457"/>
                <a:ext cx="870669" cy="1032689"/>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0" name="Freeform: Shape 199">
                <a:extLst>
                  <a:ext uri="{FF2B5EF4-FFF2-40B4-BE49-F238E27FC236}">
                    <a16:creationId xmlns:a16="http://schemas.microsoft.com/office/drawing/2014/main" id="{8801D0BF-001A-4ECF-9FA4-5DBB365FB87D}"/>
                  </a:ext>
                </a:extLst>
              </p:cNvPr>
              <p:cNvSpPr>
                <a:spLocks/>
              </p:cNvSpPr>
              <p:nvPr/>
            </p:nvSpPr>
            <p:spPr bwMode="auto">
              <a:xfrm>
                <a:off x="707204" y="2430389"/>
                <a:ext cx="872803" cy="1032758"/>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1" name="Freeform 16">
                <a:extLst>
                  <a:ext uri="{FF2B5EF4-FFF2-40B4-BE49-F238E27FC236}">
                    <a16:creationId xmlns:a16="http://schemas.microsoft.com/office/drawing/2014/main" id="{A4253F59-B921-4083-BF23-0BA929FEFA48}"/>
                  </a:ext>
                </a:extLst>
              </p:cNvPr>
              <p:cNvSpPr>
                <a:spLocks/>
              </p:cNvSpPr>
              <p:nvPr/>
            </p:nvSpPr>
            <p:spPr bwMode="auto">
              <a:xfrm>
                <a:off x="707206" y="2047694"/>
                <a:ext cx="1743468" cy="766723"/>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070C0"/>
              </a:solidFill>
              <a:ln>
                <a:noFill/>
              </a:ln>
            </p:spPr>
            <p:txBody>
              <a:bodyPr vert="horz" wrap="square" lIns="91440" tIns="45720" rIns="91440" bIns="45720" numCol="1" anchor="t" anchorCtr="0" compatLnSpc="1">
                <a:prstTxWarp prst="textNoShape">
                  <a:avLst/>
                </a:prstTxWarp>
                <a:noAutofit/>
              </a:bodyPr>
              <a:lstStyle/>
              <a:p>
                <a:endParaRPr lang="en-US" kern="0">
                  <a:solidFill>
                    <a:prstClr val="black"/>
                  </a:solidFill>
                  <a:latin typeface="Calibri" panose="020F0502020204030204"/>
                  <a:cs typeface="Arial" panose="020B0604020202020204" pitchFamily="34" charset="0"/>
                </a:endParaRPr>
              </a:p>
            </p:txBody>
          </p:sp>
          <p:sp>
            <p:nvSpPr>
              <p:cNvPr id="202" name="Freeform: Shape 201">
                <a:extLst>
                  <a:ext uri="{FF2B5EF4-FFF2-40B4-BE49-F238E27FC236}">
                    <a16:creationId xmlns:a16="http://schemas.microsoft.com/office/drawing/2014/main" id="{8D9946EF-76AF-4988-918B-AC3902EEAE2D}"/>
                  </a:ext>
                </a:extLst>
              </p:cNvPr>
              <p:cNvSpPr>
                <a:spLocks/>
              </p:cNvSpPr>
              <p:nvPr/>
            </p:nvSpPr>
            <p:spPr bwMode="auto">
              <a:xfrm>
                <a:off x="1580005" y="3073641"/>
                <a:ext cx="870669" cy="87977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3" name="Freeform: Shape 202">
                <a:extLst>
                  <a:ext uri="{FF2B5EF4-FFF2-40B4-BE49-F238E27FC236}">
                    <a16:creationId xmlns:a16="http://schemas.microsoft.com/office/drawing/2014/main" id="{0F16BCA2-3741-49EE-93A9-FBAD25B4EA14}"/>
                  </a:ext>
                </a:extLst>
              </p:cNvPr>
              <p:cNvSpPr>
                <a:spLocks/>
              </p:cNvSpPr>
              <p:nvPr/>
            </p:nvSpPr>
            <p:spPr bwMode="auto">
              <a:xfrm>
                <a:off x="707204" y="3073573"/>
                <a:ext cx="872803" cy="859915"/>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grpSp>
        <p:grpSp>
          <p:nvGrpSpPr>
            <p:cNvPr id="204" name="Group 203">
              <a:extLst>
                <a:ext uri="{FF2B5EF4-FFF2-40B4-BE49-F238E27FC236}">
                  <a16:creationId xmlns:a16="http://schemas.microsoft.com/office/drawing/2014/main" id="{C761BB91-C275-4D33-B727-1D1E0C499E44}"/>
                </a:ext>
              </a:extLst>
            </p:cNvPr>
            <p:cNvGrpSpPr/>
            <p:nvPr/>
          </p:nvGrpSpPr>
          <p:grpSpPr>
            <a:xfrm>
              <a:off x="8275525" y="2823714"/>
              <a:ext cx="1374458" cy="1361257"/>
              <a:chOff x="707204" y="2047694"/>
              <a:chExt cx="1743470" cy="1905720"/>
            </a:xfrm>
          </p:grpSpPr>
          <p:sp>
            <p:nvSpPr>
              <p:cNvPr id="205" name="Freeform: Shape 204">
                <a:extLst>
                  <a:ext uri="{FF2B5EF4-FFF2-40B4-BE49-F238E27FC236}">
                    <a16:creationId xmlns:a16="http://schemas.microsoft.com/office/drawing/2014/main" id="{384259D0-B664-424F-9C24-D1D62CBDA7A6}"/>
                  </a:ext>
                </a:extLst>
              </p:cNvPr>
              <p:cNvSpPr>
                <a:spLocks/>
              </p:cNvSpPr>
              <p:nvPr/>
            </p:nvSpPr>
            <p:spPr bwMode="auto">
              <a:xfrm>
                <a:off x="1580005" y="2430457"/>
                <a:ext cx="870669" cy="1032689"/>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6" name="Freeform: Shape 205">
                <a:extLst>
                  <a:ext uri="{FF2B5EF4-FFF2-40B4-BE49-F238E27FC236}">
                    <a16:creationId xmlns:a16="http://schemas.microsoft.com/office/drawing/2014/main" id="{76A838F8-2F92-4260-B74B-22336A602B71}"/>
                  </a:ext>
                </a:extLst>
              </p:cNvPr>
              <p:cNvSpPr>
                <a:spLocks/>
              </p:cNvSpPr>
              <p:nvPr/>
            </p:nvSpPr>
            <p:spPr bwMode="auto">
              <a:xfrm>
                <a:off x="707204" y="2430389"/>
                <a:ext cx="872803" cy="1032758"/>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7" name="Freeform 16">
                <a:extLst>
                  <a:ext uri="{FF2B5EF4-FFF2-40B4-BE49-F238E27FC236}">
                    <a16:creationId xmlns:a16="http://schemas.microsoft.com/office/drawing/2014/main" id="{99371875-B3DB-4A8B-A136-F6EBD00A1064}"/>
                  </a:ext>
                </a:extLst>
              </p:cNvPr>
              <p:cNvSpPr>
                <a:spLocks/>
              </p:cNvSpPr>
              <p:nvPr/>
            </p:nvSpPr>
            <p:spPr bwMode="auto">
              <a:xfrm>
                <a:off x="707206" y="2047694"/>
                <a:ext cx="1743468" cy="766723"/>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070C0"/>
              </a:solidFill>
              <a:ln>
                <a:noFill/>
              </a:ln>
            </p:spPr>
            <p:txBody>
              <a:bodyPr vert="horz" wrap="square" lIns="91440" tIns="45720" rIns="91440" bIns="45720" numCol="1" anchor="t" anchorCtr="0" compatLnSpc="1">
                <a:prstTxWarp prst="textNoShape">
                  <a:avLst/>
                </a:prstTxWarp>
                <a:noAutofit/>
              </a:bodyPr>
              <a:lstStyle/>
              <a:p>
                <a:endParaRPr lang="en-US" kern="0">
                  <a:solidFill>
                    <a:prstClr val="black"/>
                  </a:solidFill>
                  <a:latin typeface="Calibri" panose="020F0502020204030204"/>
                  <a:cs typeface="Arial" panose="020B0604020202020204" pitchFamily="34" charset="0"/>
                </a:endParaRPr>
              </a:p>
            </p:txBody>
          </p:sp>
          <p:sp>
            <p:nvSpPr>
              <p:cNvPr id="208" name="Freeform: Shape 207">
                <a:extLst>
                  <a:ext uri="{FF2B5EF4-FFF2-40B4-BE49-F238E27FC236}">
                    <a16:creationId xmlns:a16="http://schemas.microsoft.com/office/drawing/2014/main" id="{23E4243A-E927-47C1-A381-815B4FF45DB5}"/>
                  </a:ext>
                </a:extLst>
              </p:cNvPr>
              <p:cNvSpPr>
                <a:spLocks/>
              </p:cNvSpPr>
              <p:nvPr/>
            </p:nvSpPr>
            <p:spPr bwMode="auto">
              <a:xfrm>
                <a:off x="1580005" y="3073641"/>
                <a:ext cx="870669" cy="87977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09" name="Freeform: Shape 208">
                <a:extLst>
                  <a:ext uri="{FF2B5EF4-FFF2-40B4-BE49-F238E27FC236}">
                    <a16:creationId xmlns:a16="http://schemas.microsoft.com/office/drawing/2014/main" id="{8B73ACC3-B778-4E7E-B91E-6B5FAF9ACA0B}"/>
                  </a:ext>
                </a:extLst>
              </p:cNvPr>
              <p:cNvSpPr>
                <a:spLocks/>
              </p:cNvSpPr>
              <p:nvPr/>
            </p:nvSpPr>
            <p:spPr bwMode="auto">
              <a:xfrm>
                <a:off x="707204" y="3073573"/>
                <a:ext cx="872803" cy="859915"/>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grpSp>
        <p:grpSp>
          <p:nvGrpSpPr>
            <p:cNvPr id="210" name="Group 209">
              <a:extLst>
                <a:ext uri="{FF2B5EF4-FFF2-40B4-BE49-F238E27FC236}">
                  <a16:creationId xmlns:a16="http://schemas.microsoft.com/office/drawing/2014/main" id="{8804B780-05A8-4CF1-923A-75DEB1A30128}"/>
                </a:ext>
              </a:extLst>
            </p:cNvPr>
            <p:cNvGrpSpPr/>
            <p:nvPr/>
          </p:nvGrpSpPr>
          <p:grpSpPr>
            <a:xfrm>
              <a:off x="10179096" y="2823714"/>
              <a:ext cx="1374458" cy="1361257"/>
              <a:chOff x="707204" y="2047694"/>
              <a:chExt cx="1743470" cy="1905720"/>
            </a:xfrm>
          </p:grpSpPr>
          <p:sp>
            <p:nvSpPr>
              <p:cNvPr id="211" name="Freeform: Shape 210">
                <a:extLst>
                  <a:ext uri="{FF2B5EF4-FFF2-40B4-BE49-F238E27FC236}">
                    <a16:creationId xmlns:a16="http://schemas.microsoft.com/office/drawing/2014/main" id="{F55DA5B8-25E5-414C-ADB4-E187764126F8}"/>
                  </a:ext>
                </a:extLst>
              </p:cNvPr>
              <p:cNvSpPr>
                <a:spLocks/>
              </p:cNvSpPr>
              <p:nvPr/>
            </p:nvSpPr>
            <p:spPr bwMode="auto">
              <a:xfrm>
                <a:off x="1580005" y="2430457"/>
                <a:ext cx="870669" cy="1032689"/>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12" name="Freeform: Shape 211">
                <a:extLst>
                  <a:ext uri="{FF2B5EF4-FFF2-40B4-BE49-F238E27FC236}">
                    <a16:creationId xmlns:a16="http://schemas.microsoft.com/office/drawing/2014/main" id="{E6005A34-8056-410E-80D6-D723A0271FE6}"/>
                  </a:ext>
                </a:extLst>
              </p:cNvPr>
              <p:cNvSpPr>
                <a:spLocks/>
              </p:cNvSpPr>
              <p:nvPr/>
            </p:nvSpPr>
            <p:spPr bwMode="auto">
              <a:xfrm>
                <a:off x="707204" y="2430389"/>
                <a:ext cx="872803" cy="1032758"/>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solidFill>
                <a:schemeClr val="bg2">
                  <a:lumMod val="20000"/>
                  <a:lumOff val="80000"/>
                </a:schemeClr>
              </a:soli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13" name="Freeform 16">
                <a:extLst>
                  <a:ext uri="{FF2B5EF4-FFF2-40B4-BE49-F238E27FC236}">
                    <a16:creationId xmlns:a16="http://schemas.microsoft.com/office/drawing/2014/main" id="{E57ED8FE-B28A-464C-A856-4CC50B863B35}"/>
                  </a:ext>
                </a:extLst>
              </p:cNvPr>
              <p:cNvSpPr>
                <a:spLocks/>
              </p:cNvSpPr>
              <p:nvPr/>
            </p:nvSpPr>
            <p:spPr bwMode="auto">
              <a:xfrm>
                <a:off x="707206" y="2047694"/>
                <a:ext cx="1743468" cy="766723"/>
              </a:xfrm>
              <a:custGeom>
                <a:avLst/>
                <a:gdLst>
                  <a:gd name="T0" fmla="*/ 2585 w 5169"/>
                  <a:gd name="T1" fmla="*/ 2984 h 2984"/>
                  <a:gd name="T2" fmla="*/ 0 w 5169"/>
                  <a:gd name="T3" fmla="*/ 1491 h 2984"/>
                  <a:gd name="T4" fmla="*/ 2585 w 5169"/>
                  <a:gd name="T5" fmla="*/ 0 h 2984"/>
                  <a:gd name="T6" fmla="*/ 5169 w 5169"/>
                  <a:gd name="T7" fmla="*/ 1491 h 2984"/>
                  <a:gd name="T8" fmla="*/ 2585 w 5169"/>
                  <a:gd name="T9" fmla="*/ 2984 h 2984"/>
                </a:gdLst>
                <a:ahLst/>
                <a:cxnLst>
                  <a:cxn ang="0">
                    <a:pos x="T0" y="T1"/>
                  </a:cxn>
                  <a:cxn ang="0">
                    <a:pos x="T2" y="T3"/>
                  </a:cxn>
                  <a:cxn ang="0">
                    <a:pos x="T4" y="T5"/>
                  </a:cxn>
                  <a:cxn ang="0">
                    <a:pos x="T6" y="T7"/>
                  </a:cxn>
                  <a:cxn ang="0">
                    <a:pos x="T8" y="T9"/>
                  </a:cxn>
                </a:cxnLst>
                <a:rect l="0" t="0" r="r" b="b"/>
                <a:pathLst>
                  <a:path w="5169" h="2984">
                    <a:moveTo>
                      <a:pt x="2585" y="2984"/>
                    </a:moveTo>
                    <a:lnTo>
                      <a:pt x="0" y="1491"/>
                    </a:lnTo>
                    <a:lnTo>
                      <a:pt x="2585" y="0"/>
                    </a:lnTo>
                    <a:lnTo>
                      <a:pt x="5169" y="1491"/>
                    </a:lnTo>
                    <a:lnTo>
                      <a:pt x="2585" y="2984"/>
                    </a:lnTo>
                    <a:close/>
                  </a:path>
                </a:pathLst>
              </a:custGeom>
              <a:solidFill>
                <a:srgbClr val="0070C0"/>
              </a:solidFill>
              <a:ln>
                <a:noFill/>
              </a:ln>
            </p:spPr>
            <p:txBody>
              <a:bodyPr vert="horz" wrap="square" lIns="91440" tIns="45720" rIns="91440" bIns="45720" numCol="1" anchor="t" anchorCtr="0" compatLnSpc="1">
                <a:prstTxWarp prst="textNoShape">
                  <a:avLst/>
                </a:prstTxWarp>
                <a:noAutofit/>
              </a:bodyPr>
              <a:lstStyle/>
              <a:p>
                <a:endParaRPr lang="en-US" kern="0">
                  <a:solidFill>
                    <a:prstClr val="black"/>
                  </a:solidFill>
                  <a:latin typeface="Calibri" panose="020F0502020204030204"/>
                  <a:cs typeface="Arial" panose="020B0604020202020204" pitchFamily="34" charset="0"/>
                </a:endParaRPr>
              </a:p>
            </p:txBody>
          </p:sp>
          <p:sp>
            <p:nvSpPr>
              <p:cNvPr id="214" name="Freeform: Shape 213">
                <a:extLst>
                  <a:ext uri="{FF2B5EF4-FFF2-40B4-BE49-F238E27FC236}">
                    <a16:creationId xmlns:a16="http://schemas.microsoft.com/office/drawing/2014/main" id="{C5ED9D51-543B-4649-BF84-18FB986CEA8D}"/>
                  </a:ext>
                </a:extLst>
              </p:cNvPr>
              <p:cNvSpPr>
                <a:spLocks/>
              </p:cNvSpPr>
              <p:nvPr/>
            </p:nvSpPr>
            <p:spPr bwMode="auto">
              <a:xfrm>
                <a:off x="1580005" y="3073641"/>
                <a:ext cx="870669" cy="879773"/>
              </a:xfrm>
              <a:custGeom>
                <a:avLst/>
                <a:gdLst>
                  <a:gd name="connsiteX0" fmla="*/ 572118 w 572118"/>
                  <a:gd name="connsiteY0" fmla="*/ 0 h 890692"/>
                  <a:gd name="connsiteX1" fmla="*/ 572118 w 572118"/>
                  <a:gd name="connsiteY1" fmla="*/ 132952 h 890692"/>
                  <a:gd name="connsiteX2" fmla="*/ 572117 w 572118"/>
                  <a:gd name="connsiteY2" fmla="*/ 132953 h 890692"/>
                  <a:gd name="connsiteX3" fmla="*/ 572117 w 572118"/>
                  <a:gd name="connsiteY3" fmla="*/ 560176 h 890692"/>
                  <a:gd name="connsiteX4" fmla="*/ 0 w 572118"/>
                  <a:gd name="connsiteY4" fmla="*/ 890692 h 890692"/>
                  <a:gd name="connsiteX5" fmla="*/ 0 w 572118"/>
                  <a:gd name="connsiteY5" fmla="*/ 420532 h 890692"/>
                  <a:gd name="connsiteX6" fmla="*/ 1 w 572118"/>
                  <a:gd name="connsiteY6" fmla="*/ 420531 h 890692"/>
                  <a:gd name="connsiteX7" fmla="*/ 1 w 572118"/>
                  <a:gd name="connsiteY7" fmla="*/ 330279 h 89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118" h="890692">
                    <a:moveTo>
                      <a:pt x="572118" y="0"/>
                    </a:moveTo>
                    <a:lnTo>
                      <a:pt x="572118" y="132952"/>
                    </a:lnTo>
                    <a:lnTo>
                      <a:pt x="572117" y="132953"/>
                    </a:lnTo>
                    <a:lnTo>
                      <a:pt x="572117" y="560176"/>
                    </a:lnTo>
                    <a:lnTo>
                      <a:pt x="0" y="890692"/>
                    </a:lnTo>
                    <a:lnTo>
                      <a:pt x="0" y="420532"/>
                    </a:lnTo>
                    <a:lnTo>
                      <a:pt x="1" y="420531"/>
                    </a:lnTo>
                    <a:lnTo>
                      <a:pt x="1" y="330279"/>
                    </a:lnTo>
                    <a:close/>
                  </a:path>
                </a:pathLst>
              </a:custGeom>
              <a:gradFill>
                <a:gsLst>
                  <a:gs pos="34000">
                    <a:srgbClr val="465162">
                      <a:alpha val="0"/>
                    </a:srgbClr>
                  </a:gs>
                  <a:gs pos="100000">
                    <a:srgbClr val="465162">
                      <a:alpha val="70000"/>
                    </a:srgbClr>
                  </a:gs>
                </a:gsLst>
                <a:lin ang="144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sp>
            <p:nvSpPr>
              <p:cNvPr id="215" name="Freeform: Shape 214">
                <a:extLst>
                  <a:ext uri="{FF2B5EF4-FFF2-40B4-BE49-F238E27FC236}">
                    <a16:creationId xmlns:a16="http://schemas.microsoft.com/office/drawing/2014/main" id="{9C3337A4-70BF-44C6-9A54-7F2621B4E3EE}"/>
                  </a:ext>
                </a:extLst>
              </p:cNvPr>
              <p:cNvSpPr>
                <a:spLocks/>
              </p:cNvSpPr>
              <p:nvPr/>
            </p:nvSpPr>
            <p:spPr bwMode="auto">
              <a:xfrm>
                <a:off x="707204" y="3073573"/>
                <a:ext cx="872803" cy="859915"/>
              </a:xfrm>
              <a:custGeom>
                <a:avLst/>
                <a:gdLst>
                  <a:gd name="connsiteX0" fmla="*/ 0 w 573520"/>
                  <a:gd name="connsiteY0" fmla="*/ 0 h 890751"/>
                  <a:gd name="connsiteX1" fmla="*/ 573519 w 573520"/>
                  <a:gd name="connsiteY1" fmla="*/ 330321 h 890751"/>
                  <a:gd name="connsiteX2" fmla="*/ 573519 w 573520"/>
                  <a:gd name="connsiteY2" fmla="*/ 420590 h 890751"/>
                  <a:gd name="connsiteX3" fmla="*/ 573520 w 573520"/>
                  <a:gd name="connsiteY3" fmla="*/ 420591 h 890751"/>
                  <a:gd name="connsiteX4" fmla="*/ 573520 w 573520"/>
                  <a:gd name="connsiteY4" fmla="*/ 890751 h 890751"/>
                  <a:gd name="connsiteX5" fmla="*/ 1 w 573520"/>
                  <a:gd name="connsiteY5" fmla="*/ 560235 h 890751"/>
                  <a:gd name="connsiteX6" fmla="*/ 1 w 573520"/>
                  <a:gd name="connsiteY6" fmla="*/ 132970 h 890751"/>
                  <a:gd name="connsiteX7" fmla="*/ 0 w 573520"/>
                  <a:gd name="connsiteY7" fmla="*/ 132969 h 89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520" h="890751">
                    <a:moveTo>
                      <a:pt x="0" y="0"/>
                    </a:moveTo>
                    <a:lnTo>
                      <a:pt x="573519" y="330321"/>
                    </a:lnTo>
                    <a:lnTo>
                      <a:pt x="573519" y="420590"/>
                    </a:lnTo>
                    <a:lnTo>
                      <a:pt x="573520" y="420591"/>
                    </a:lnTo>
                    <a:lnTo>
                      <a:pt x="573520" y="890751"/>
                    </a:lnTo>
                    <a:lnTo>
                      <a:pt x="1" y="560235"/>
                    </a:lnTo>
                    <a:lnTo>
                      <a:pt x="1" y="132970"/>
                    </a:lnTo>
                    <a:lnTo>
                      <a:pt x="0" y="132969"/>
                    </a:lnTo>
                    <a:close/>
                  </a:path>
                </a:pathLst>
              </a:custGeom>
              <a:gradFill>
                <a:gsLst>
                  <a:gs pos="34000">
                    <a:srgbClr val="AFB8C6">
                      <a:alpha val="0"/>
                    </a:srgbClr>
                  </a:gs>
                  <a:gs pos="100000">
                    <a:srgbClr val="AFB8C6">
                      <a:alpha val="70000"/>
                    </a:srgbClr>
                  </a:gs>
                </a:gsLst>
                <a:lin ang="18600000" scaled="0"/>
              </a:gradFill>
              <a:ln>
                <a:noFill/>
              </a:ln>
            </p:spPr>
            <p:txBody>
              <a:bodyPr vert="horz" wrap="square" lIns="91440" tIns="45720" rIns="91440" bIns="45720" numCol="1" anchor="t" anchorCtr="0" compatLnSpc="1">
                <a:prstTxWarp prst="textNoShape">
                  <a:avLst/>
                </a:prstTxWarp>
                <a:noAutofit/>
              </a:bodyPr>
              <a:lstStyle/>
              <a:p>
                <a:pPr>
                  <a:defRPr/>
                </a:pPr>
                <a:endParaRPr lang="en-US" kern="0">
                  <a:solidFill>
                    <a:prstClr val="black"/>
                  </a:solidFill>
                  <a:latin typeface="Calibri" panose="020F0502020204030204"/>
                  <a:cs typeface="Arial" panose="020B0604020202020204" pitchFamily="34" charset="0"/>
                </a:endParaRPr>
              </a:p>
            </p:txBody>
          </p:sp>
        </p:grpSp>
      </p:grpSp>
      <p:sp>
        <p:nvSpPr>
          <p:cNvPr id="52" name="Rectangle 51">
            <a:extLst>
              <a:ext uri="{FF2B5EF4-FFF2-40B4-BE49-F238E27FC236}">
                <a16:creationId xmlns:a16="http://schemas.microsoft.com/office/drawing/2014/main" id="{D426CD51-8884-485C-B1D6-B49A3EBE2C96}"/>
              </a:ext>
            </a:extLst>
          </p:cNvPr>
          <p:cNvSpPr/>
          <p:nvPr/>
        </p:nvSpPr>
        <p:spPr bwMode="auto">
          <a:xfrm>
            <a:off x="9067800" y="6330226"/>
            <a:ext cx="2914147" cy="299174"/>
          </a:xfrm>
          <a:prstGeom prst="rect">
            <a:avLst/>
          </a:prstGeom>
          <a:solidFill>
            <a:schemeClr val="bg1"/>
          </a:solidFill>
          <a:ln w="19050"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rPr>
              <a:t>Specific focus of today’s session</a:t>
            </a:r>
            <a:endParaRPr kumimoji="0" lang="en-IN" sz="1400" b="0" i="0" u="none" strike="noStrike" cap="none" normalizeH="0" baseline="0" dirty="0">
              <a:ln>
                <a:noFill/>
              </a:ln>
              <a:solidFill>
                <a:schemeClr val="tx1"/>
              </a:solidFill>
              <a:effectLst/>
              <a:latin typeface="Arial" pitchFamily="34" charset="0"/>
            </a:endParaRPr>
          </a:p>
        </p:txBody>
      </p:sp>
      <p:sp>
        <p:nvSpPr>
          <p:cNvPr id="57" name="TextBox 56">
            <a:extLst>
              <a:ext uri="{FF2B5EF4-FFF2-40B4-BE49-F238E27FC236}">
                <a16:creationId xmlns:a16="http://schemas.microsoft.com/office/drawing/2014/main" id="{BE0562D5-E78F-462F-BF89-6505FC30DD39}"/>
              </a:ext>
            </a:extLst>
          </p:cNvPr>
          <p:cNvSpPr txBox="1"/>
          <p:nvPr/>
        </p:nvSpPr>
        <p:spPr>
          <a:xfrm>
            <a:off x="1709082" y="6323453"/>
            <a:ext cx="2514600" cy="415498"/>
          </a:xfrm>
          <a:prstGeom prst="rect">
            <a:avLst/>
          </a:prstGeom>
          <a:noFill/>
        </p:spPr>
        <p:txBody>
          <a:bodyPr wrap="square">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50" b="1" i="1" dirty="0">
                <a:solidFill>
                  <a:srgbClr val="002060"/>
                </a:solidFill>
                <a:latin typeface="Arial" pitchFamily="34" charset="0"/>
              </a:rPr>
              <a:t>*RBI Reporting formats for repricing gap and duration gap analysis</a:t>
            </a:r>
            <a:endParaRPr kumimoji="0" lang="en-IN" sz="1050" b="1" i="1" u="none" strike="noStrike" cap="none" normalizeH="0" baseline="0" dirty="0">
              <a:ln>
                <a:noFill/>
              </a:ln>
              <a:solidFill>
                <a:srgbClr val="002060"/>
              </a:solidFill>
              <a:effectLst/>
              <a:latin typeface="Arial" pitchFamily="34" charset="0"/>
            </a:endParaRPr>
          </a:p>
        </p:txBody>
      </p:sp>
      <p:graphicFrame>
        <p:nvGraphicFramePr>
          <p:cNvPr id="13" name="Object 12">
            <a:extLst>
              <a:ext uri="{FF2B5EF4-FFF2-40B4-BE49-F238E27FC236}">
                <a16:creationId xmlns:a16="http://schemas.microsoft.com/office/drawing/2014/main" id="{2D76259B-9354-499B-A4B7-89CA484F7613}"/>
              </a:ext>
            </a:extLst>
          </p:cNvPr>
          <p:cNvGraphicFramePr>
            <a:graphicFrameLocks noChangeAspect="1"/>
          </p:cNvGraphicFramePr>
          <p:nvPr>
            <p:extLst>
              <p:ext uri="{D42A27DB-BD31-4B8C-83A1-F6EECF244321}">
                <p14:modId xmlns:p14="http://schemas.microsoft.com/office/powerpoint/2010/main" val="207500743"/>
              </p:ext>
            </p:extLst>
          </p:nvPr>
        </p:nvGraphicFramePr>
        <p:xfrm>
          <a:off x="4189429" y="6267752"/>
          <a:ext cx="756576" cy="667258"/>
        </p:xfrm>
        <a:graphic>
          <a:graphicData uri="http://schemas.openxmlformats.org/presentationml/2006/ole">
            <mc:AlternateContent xmlns:mc="http://schemas.openxmlformats.org/markup-compatibility/2006">
              <mc:Choice xmlns:v="urn:schemas-microsoft-com:vml" Requires="v">
                <p:oleObj name="Worksheet" showAsIcon="1" r:id="rId6" imgW="914400" imgH="806400" progId="Excel.Sheet.12">
                  <p:embed/>
                </p:oleObj>
              </mc:Choice>
              <mc:Fallback>
                <p:oleObj name="Worksheet" showAsIcon="1" r:id="rId6" imgW="914400" imgH="806400" progId="Excel.Sheet.12">
                  <p:embed/>
                  <p:pic>
                    <p:nvPicPr>
                      <p:cNvPr id="13" name="Object 12">
                        <a:extLst>
                          <a:ext uri="{FF2B5EF4-FFF2-40B4-BE49-F238E27FC236}">
                            <a16:creationId xmlns:a16="http://schemas.microsoft.com/office/drawing/2014/main" id="{2D76259B-9354-499B-A4B7-89CA484F7613}"/>
                          </a:ext>
                        </a:extLst>
                      </p:cNvPr>
                      <p:cNvPicPr/>
                      <p:nvPr/>
                    </p:nvPicPr>
                    <p:blipFill>
                      <a:blip r:embed="rId7"/>
                      <a:stretch>
                        <a:fillRect/>
                      </a:stretch>
                    </p:blipFill>
                    <p:spPr>
                      <a:xfrm>
                        <a:off x="4189429" y="6267752"/>
                        <a:ext cx="756576" cy="667258"/>
                      </a:xfrm>
                      <a:prstGeom prst="rect">
                        <a:avLst/>
                      </a:prstGeom>
                    </p:spPr>
                  </p:pic>
                </p:oleObj>
              </mc:Fallback>
            </mc:AlternateContent>
          </a:graphicData>
        </a:graphic>
      </p:graphicFrame>
    </p:spTree>
    <p:extLst>
      <p:ext uri="{BB962C8B-B14F-4D97-AF65-F5344CB8AC3E}">
        <p14:creationId xmlns:p14="http://schemas.microsoft.com/office/powerpoint/2010/main" val="31760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3985" y="44195"/>
            <a:ext cx="86915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2: IRRBB Measurement: EVE vs NII </a:t>
            </a:r>
          </a:p>
        </p:txBody>
      </p:sp>
      <p:grpSp>
        <p:nvGrpSpPr>
          <p:cNvPr id="6" name="Group 5">
            <a:extLst>
              <a:ext uri="{FF2B5EF4-FFF2-40B4-BE49-F238E27FC236}">
                <a16:creationId xmlns:a16="http://schemas.microsoft.com/office/drawing/2014/main" id="{9EB8AF2A-34B4-47F0-8E00-C3F51D697D28}"/>
              </a:ext>
            </a:extLst>
          </p:cNvPr>
          <p:cNvGrpSpPr/>
          <p:nvPr/>
        </p:nvGrpSpPr>
        <p:grpSpPr>
          <a:xfrm>
            <a:off x="1927013" y="1794160"/>
            <a:ext cx="9966147" cy="3692240"/>
            <a:chOff x="1927013" y="1794160"/>
            <a:chExt cx="9966147" cy="3227623"/>
          </a:xfrm>
        </p:grpSpPr>
        <p:sp>
          <p:nvSpPr>
            <p:cNvPr id="50" name="Rectangle 49">
              <a:extLst>
                <a:ext uri="{FF2B5EF4-FFF2-40B4-BE49-F238E27FC236}">
                  <a16:creationId xmlns:a16="http://schemas.microsoft.com/office/drawing/2014/main" id="{BEDD390B-2983-4A4C-9979-047215730B1F}"/>
                </a:ext>
              </a:extLst>
            </p:cNvPr>
            <p:cNvSpPr/>
            <p:nvPr/>
          </p:nvSpPr>
          <p:spPr>
            <a:xfrm>
              <a:off x="1927013" y="1794160"/>
              <a:ext cx="1898969" cy="290250"/>
            </a:xfrm>
            <a:prstGeom prst="rect">
              <a:avLst/>
            </a:prstGeom>
            <a:solidFill>
              <a:srgbClr val="002060">
                <a:alpha val="86667"/>
              </a:srgbClr>
            </a:solidFill>
            <a:ln>
              <a:solidFill>
                <a:srgbClr val="C19859">
                  <a:lumMod val="75000"/>
                  <a:alpha val="54902"/>
                </a:srgbClr>
              </a:solidFill>
            </a:ln>
          </p:spPr>
          <p:txBody>
            <a:bodyPr lIns="0" tIns="0" rIns="0" bIns="0" anchor="ctr"/>
            <a:lstStyle/>
            <a:p>
              <a:pPr algn="ctr" defTabSz="820007" fontAlgn="base">
                <a:spcBef>
                  <a:spcPct val="0"/>
                </a:spcBef>
                <a:spcAft>
                  <a:spcPct val="0"/>
                </a:spcAft>
              </a:pPr>
              <a:r>
                <a:rPr lang="en-US" sz="1400" b="1" kern="0" dirty="0">
                  <a:solidFill>
                    <a:srgbClr val="FFFFFF"/>
                  </a:solidFill>
                  <a:latin typeface="Arial" panose="020B0604020202020204"/>
                  <a:cs typeface="Arial" panose="020B0604020202020204" pitchFamily="34" charset="0"/>
                </a:rPr>
                <a:t>Criteria </a:t>
              </a:r>
            </a:p>
          </p:txBody>
        </p:sp>
        <p:sp>
          <p:nvSpPr>
            <p:cNvPr id="51" name="Rectangle 50">
              <a:extLst>
                <a:ext uri="{FF2B5EF4-FFF2-40B4-BE49-F238E27FC236}">
                  <a16:creationId xmlns:a16="http://schemas.microsoft.com/office/drawing/2014/main" id="{0DCCCAC2-7A58-4525-B195-CF3BA5E6DD26}"/>
                </a:ext>
              </a:extLst>
            </p:cNvPr>
            <p:cNvSpPr/>
            <p:nvPr/>
          </p:nvSpPr>
          <p:spPr>
            <a:xfrm>
              <a:off x="4102794" y="1794160"/>
              <a:ext cx="3784315" cy="299190"/>
            </a:xfrm>
            <a:prstGeom prst="rect">
              <a:avLst/>
            </a:prstGeom>
            <a:solidFill>
              <a:srgbClr val="002060">
                <a:alpha val="86667"/>
              </a:srgbClr>
            </a:solidFill>
            <a:ln>
              <a:solidFill>
                <a:srgbClr val="C19859">
                  <a:lumMod val="75000"/>
                  <a:alpha val="54902"/>
                </a:srgbClr>
              </a:solidFill>
            </a:ln>
          </p:spPr>
          <p:txBody>
            <a:bodyPr lIns="0" tIns="0" rIns="0" bIns="0" anchor="ctr"/>
            <a:lstStyle/>
            <a:p>
              <a:pPr algn="ctr" defTabSz="820007" fontAlgn="base">
                <a:spcBef>
                  <a:spcPct val="0"/>
                </a:spcBef>
                <a:spcAft>
                  <a:spcPct val="0"/>
                </a:spcAft>
              </a:pPr>
              <a:r>
                <a:rPr lang="en-US" sz="1400" b="1" kern="0" dirty="0">
                  <a:solidFill>
                    <a:srgbClr val="FFFFFF"/>
                  </a:solidFill>
                  <a:latin typeface="Arial" panose="020B0604020202020204"/>
                  <a:cs typeface="Arial" panose="020B0604020202020204" pitchFamily="34" charset="0"/>
                </a:rPr>
                <a:t>Economic value of Equity (EVE)</a:t>
              </a:r>
            </a:p>
          </p:txBody>
        </p:sp>
        <p:sp>
          <p:nvSpPr>
            <p:cNvPr id="52" name="Rectangle 51">
              <a:extLst>
                <a:ext uri="{FF2B5EF4-FFF2-40B4-BE49-F238E27FC236}">
                  <a16:creationId xmlns:a16="http://schemas.microsoft.com/office/drawing/2014/main" id="{49BF2847-CD2D-465D-96C8-EAB9EABABCB7}"/>
                </a:ext>
              </a:extLst>
            </p:cNvPr>
            <p:cNvSpPr/>
            <p:nvPr/>
          </p:nvSpPr>
          <p:spPr>
            <a:xfrm>
              <a:off x="8099140" y="1794160"/>
              <a:ext cx="3784315" cy="299190"/>
            </a:xfrm>
            <a:prstGeom prst="rect">
              <a:avLst/>
            </a:prstGeom>
            <a:solidFill>
              <a:srgbClr val="002060">
                <a:alpha val="86667"/>
              </a:srgbClr>
            </a:solidFill>
            <a:ln>
              <a:solidFill>
                <a:srgbClr val="C19859">
                  <a:lumMod val="75000"/>
                  <a:alpha val="54902"/>
                </a:srgbClr>
              </a:solidFill>
            </a:ln>
          </p:spPr>
          <p:txBody>
            <a:bodyPr lIns="0" tIns="0" rIns="0" bIns="0" anchor="ctr"/>
            <a:lstStyle/>
            <a:p>
              <a:pPr algn="ctr" defTabSz="820007" fontAlgn="base">
                <a:spcBef>
                  <a:spcPct val="0"/>
                </a:spcBef>
                <a:spcAft>
                  <a:spcPct val="0"/>
                </a:spcAft>
              </a:pPr>
              <a:r>
                <a:rPr lang="en-US" sz="1400" b="1" kern="0" dirty="0">
                  <a:solidFill>
                    <a:srgbClr val="FFFFFF"/>
                  </a:solidFill>
                  <a:latin typeface="Arial" panose="020B0604020202020204"/>
                  <a:cs typeface="Arial" panose="020B0604020202020204" pitchFamily="34" charset="0"/>
                </a:rPr>
                <a:t>Net interest income (NII)</a:t>
              </a:r>
            </a:p>
          </p:txBody>
        </p:sp>
        <p:sp>
          <p:nvSpPr>
            <p:cNvPr id="55" name="Rounded Rectangle 43">
              <a:extLst>
                <a:ext uri="{FF2B5EF4-FFF2-40B4-BE49-F238E27FC236}">
                  <a16:creationId xmlns:a16="http://schemas.microsoft.com/office/drawing/2014/main" id="{69085FAC-F008-47F2-BDF2-5B29B939429B}"/>
                </a:ext>
              </a:extLst>
            </p:cNvPr>
            <p:cNvSpPr/>
            <p:nvPr/>
          </p:nvSpPr>
          <p:spPr bwMode="gray">
            <a:xfrm>
              <a:off x="1940430" y="2230309"/>
              <a:ext cx="1895580" cy="635013"/>
            </a:xfrm>
            <a:prstGeom prst="roundRect">
              <a:avLst>
                <a:gd name="adj" fmla="val 0"/>
              </a:avLst>
            </a:prstGeom>
            <a:solidFill>
              <a:srgbClr val="404040"/>
            </a:solidFill>
            <a:ln w="19050" algn="ctr">
              <a:noFill/>
              <a:miter lim="800000"/>
              <a:headEnd/>
              <a:tailEnd/>
            </a:ln>
            <a:effectLst/>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j-ea"/>
                  <a:cs typeface="Arial" panose="020B0604020202020204" pitchFamily="34" charset="0"/>
                </a:rPr>
                <a:t>Outcome</a:t>
              </a:r>
            </a:p>
          </p:txBody>
        </p:sp>
        <p:sp>
          <p:nvSpPr>
            <p:cNvPr id="56" name="Rounded Rectangle 43">
              <a:extLst>
                <a:ext uri="{FF2B5EF4-FFF2-40B4-BE49-F238E27FC236}">
                  <a16:creationId xmlns:a16="http://schemas.microsoft.com/office/drawing/2014/main" id="{B21CA961-B4C7-41CC-A122-B4CA6E11D370}"/>
                </a:ext>
              </a:extLst>
            </p:cNvPr>
            <p:cNvSpPr/>
            <p:nvPr/>
          </p:nvSpPr>
          <p:spPr bwMode="gray">
            <a:xfrm>
              <a:off x="1940430" y="3008404"/>
              <a:ext cx="1895580" cy="876416"/>
            </a:xfrm>
            <a:prstGeom prst="roundRect">
              <a:avLst>
                <a:gd name="adj" fmla="val 0"/>
              </a:avLst>
            </a:prstGeom>
            <a:solidFill>
              <a:srgbClr val="404040"/>
            </a:solidFill>
            <a:ln w="19050" algn="ctr">
              <a:noFill/>
              <a:miter lim="800000"/>
              <a:headEnd/>
              <a:tailEnd/>
            </a:ln>
            <a:effectLst/>
          </p:spPr>
          <p:txBody>
            <a:bodyPr wrap="square" lIns="88900" tIns="88900" rIns="88900" bIns="88900" rtlCol="0" anchor="ctr"/>
            <a:lstStyle/>
            <a:p>
              <a:pPr algn="ctr" defTabSz="457200">
                <a:lnSpc>
                  <a:spcPct val="106000"/>
                </a:lnSpc>
                <a:defRPr/>
              </a:pPr>
              <a:r>
                <a:rPr lang="en-US" sz="1400" b="1" kern="0" dirty="0">
                  <a:solidFill>
                    <a:prstClr val="white"/>
                  </a:solidFill>
                  <a:latin typeface="Arial" panose="020B0604020202020204"/>
                  <a:ea typeface="+mj-ea"/>
                  <a:cs typeface="Arial" panose="020B0604020202020204" pitchFamily="34" charset="0"/>
                </a:rPr>
                <a:t>Assessment Horizon</a:t>
              </a:r>
            </a:p>
          </p:txBody>
        </p:sp>
        <p:sp>
          <p:nvSpPr>
            <p:cNvPr id="57" name="Rounded Rectangle 43">
              <a:extLst>
                <a:ext uri="{FF2B5EF4-FFF2-40B4-BE49-F238E27FC236}">
                  <a16:creationId xmlns:a16="http://schemas.microsoft.com/office/drawing/2014/main" id="{100A5B21-AD6E-4E71-8C93-085ADB270BC3}"/>
                </a:ext>
              </a:extLst>
            </p:cNvPr>
            <p:cNvSpPr/>
            <p:nvPr/>
          </p:nvSpPr>
          <p:spPr bwMode="gray">
            <a:xfrm>
              <a:off x="1940430" y="4040619"/>
              <a:ext cx="1895580" cy="967130"/>
            </a:xfrm>
            <a:prstGeom prst="roundRect">
              <a:avLst>
                <a:gd name="adj" fmla="val 0"/>
              </a:avLst>
            </a:prstGeom>
            <a:solidFill>
              <a:srgbClr val="404040"/>
            </a:solidFill>
            <a:ln w="19050" algn="ctr">
              <a:noFill/>
              <a:miter lim="800000"/>
              <a:headEnd/>
              <a:tailEnd/>
            </a:ln>
            <a:effectLst/>
          </p:spPr>
          <p:txBody>
            <a:bodyPr wrap="square" lIns="88900" tIns="88900" rIns="88900" bIns="88900" rtlCol="0" anchor="ctr"/>
            <a:lstStyle/>
            <a:p>
              <a:pPr algn="ctr" defTabSz="457200">
                <a:lnSpc>
                  <a:spcPct val="106000"/>
                </a:lnSpc>
                <a:defRPr/>
              </a:pPr>
              <a:r>
                <a:rPr lang="en-US" sz="1400" b="1" kern="0" dirty="0">
                  <a:solidFill>
                    <a:prstClr val="white"/>
                  </a:solidFill>
                  <a:latin typeface="Arial" panose="020B0604020202020204"/>
                  <a:ea typeface="+mj-ea"/>
                  <a:cs typeface="Arial" panose="020B0604020202020204" pitchFamily="34" charset="0"/>
                </a:rPr>
                <a:t>New business assumption</a:t>
              </a:r>
            </a:p>
          </p:txBody>
        </p:sp>
        <p:sp>
          <p:nvSpPr>
            <p:cNvPr id="59" name="Rounded Rectangle 43">
              <a:extLst>
                <a:ext uri="{FF2B5EF4-FFF2-40B4-BE49-F238E27FC236}">
                  <a16:creationId xmlns:a16="http://schemas.microsoft.com/office/drawing/2014/main" id="{BC926858-2F4E-4146-A82C-778B9C2A879D}"/>
                </a:ext>
              </a:extLst>
            </p:cNvPr>
            <p:cNvSpPr/>
            <p:nvPr/>
          </p:nvSpPr>
          <p:spPr bwMode="gray">
            <a:xfrm>
              <a:off x="4119252" y="2239525"/>
              <a:ext cx="3777562" cy="635010"/>
            </a:xfrm>
            <a:prstGeom prst="roundRect">
              <a:avLst>
                <a:gd name="adj" fmla="val 0"/>
              </a:avLst>
            </a:prstGeom>
            <a:solidFill>
              <a:srgbClr val="F2F2F2"/>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marR="0" lvl="0" indent="-171450" defTabSz="91440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j-ea"/>
                  <a:cs typeface="+mj-cs"/>
                </a:rPr>
                <a:t>Measures change in the NPV of the bank’s assets, liabilities and off-balance sheet items subject to specific interest rate shock and stress scenarios</a:t>
              </a:r>
              <a:r>
                <a:rPr lang="en-US" sz="1200" kern="0" dirty="0">
                  <a:solidFill>
                    <a:srgbClr val="000000"/>
                  </a:solidFill>
                  <a:latin typeface="Arial" panose="020B0604020202020204"/>
                  <a:ea typeface="+mj-ea"/>
                  <a:cs typeface="+mj-cs"/>
                </a:rPr>
                <a:t> </a:t>
              </a:r>
              <a:endParaRPr kumimoji="0" lang="en-US" sz="1200" b="0" i="0" u="none" strike="noStrike" kern="0" cap="none" spc="0" normalizeH="0" baseline="0" noProof="0" dirty="0">
                <a:ln>
                  <a:noFill/>
                </a:ln>
                <a:solidFill>
                  <a:srgbClr val="000000"/>
                </a:solidFill>
                <a:effectLst/>
                <a:uLnTx/>
                <a:uFillTx/>
                <a:latin typeface="Arial" panose="020B0604020202020204"/>
                <a:ea typeface="+mj-ea"/>
                <a:cs typeface="+mj-cs"/>
              </a:endParaRPr>
            </a:p>
          </p:txBody>
        </p:sp>
        <p:sp>
          <p:nvSpPr>
            <p:cNvPr id="60" name="Rounded Rectangle 43">
              <a:extLst>
                <a:ext uri="{FF2B5EF4-FFF2-40B4-BE49-F238E27FC236}">
                  <a16:creationId xmlns:a16="http://schemas.microsoft.com/office/drawing/2014/main" id="{BE0B5880-634B-4BD0-8041-CD095B40BA41}"/>
                </a:ext>
              </a:extLst>
            </p:cNvPr>
            <p:cNvSpPr/>
            <p:nvPr/>
          </p:nvSpPr>
          <p:spPr bwMode="gray">
            <a:xfrm>
              <a:off x="8115598" y="2239526"/>
              <a:ext cx="3777562" cy="635010"/>
            </a:xfrm>
            <a:prstGeom prst="roundRect">
              <a:avLst>
                <a:gd name="adj" fmla="val 0"/>
              </a:avLst>
            </a:prstGeom>
            <a:solidFill>
              <a:schemeClr val="accent3">
                <a:lumMod val="95000"/>
              </a:schemeClr>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Measures changes to future profitability within a given time horizon eventually affecting future levels of a bank’s own equity capital </a:t>
              </a:r>
            </a:p>
          </p:txBody>
        </p:sp>
        <p:sp>
          <p:nvSpPr>
            <p:cNvPr id="61" name="Rounded Rectangle 43">
              <a:extLst>
                <a:ext uri="{FF2B5EF4-FFF2-40B4-BE49-F238E27FC236}">
                  <a16:creationId xmlns:a16="http://schemas.microsoft.com/office/drawing/2014/main" id="{08E4BCC1-3BF0-4B82-980D-76FD6E01A35A}"/>
                </a:ext>
              </a:extLst>
            </p:cNvPr>
            <p:cNvSpPr/>
            <p:nvPr/>
          </p:nvSpPr>
          <p:spPr bwMode="gray">
            <a:xfrm>
              <a:off x="4119252" y="3021122"/>
              <a:ext cx="3777562" cy="876414"/>
            </a:xfrm>
            <a:prstGeom prst="roundRect">
              <a:avLst>
                <a:gd name="adj" fmla="val 0"/>
              </a:avLst>
            </a:prstGeom>
            <a:solidFill>
              <a:srgbClr val="F2F2F2"/>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Long term measure of risk </a:t>
              </a:r>
            </a:p>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Reflects changes in value over the remaining life of the bank’s assets, liabilities and off-balance sheet items, i.e. until all positions have run off</a:t>
              </a:r>
            </a:p>
          </p:txBody>
        </p:sp>
        <p:sp>
          <p:nvSpPr>
            <p:cNvPr id="62" name="Rounded Rectangle 43">
              <a:extLst>
                <a:ext uri="{FF2B5EF4-FFF2-40B4-BE49-F238E27FC236}">
                  <a16:creationId xmlns:a16="http://schemas.microsoft.com/office/drawing/2014/main" id="{BAEFF113-58EE-4F6A-8ED9-7CDB3CB5EA68}"/>
                </a:ext>
              </a:extLst>
            </p:cNvPr>
            <p:cNvSpPr/>
            <p:nvPr/>
          </p:nvSpPr>
          <p:spPr bwMode="gray">
            <a:xfrm>
              <a:off x="8115598" y="3021122"/>
              <a:ext cx="3777562" cy="876414"/>
            </a:xfrm>
            <a:prstGeom prst="roundRect">
              <a:avLst>
                <a:gd name="adj" fmla="val 0"/>
              </a:avLst>
            </a:prstGeom>
            <a:solidFill>
              <a:schemeClr val="accent3">
                <a:lumMod val="95000"/>
              </a:schemeClr>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Short to medium term measure of risk (3-5 years) </a:t>
              </a:r>
            </a:p>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Does not fully capture those risks that will continue to impact profit and loss accounts beyond the period of estimation </a:t>
              </a:r>
            </a:p>
          </p:txBody>
        </p:sp>
        <p:sp>
          <p:nvSpPr>
            <p:cNvPr id="63" name="Rounded Rectangle 43">
              <a:extLst>
                <a:ext uri="{FF2B5EF4-FFF2-40B4-BE49-F238E27FC236}">
                  <a16:creationId xmlns:a16="http://schemas.microsoft.com/office/drawing/2014/main" id="{24FC3620-8286-4311-84C9-8872EA2D0EC3}"/>
                </a:ext>
              </a:extLst>
            </p:cNvPr>
            <p:cNvSpPr/>
            <p:nvPr/>
          </p:nvSpPr>
          <p:spPr bwMode="gray">
            <a:xfrm>
              <a:off x="4119252" y="4054656"/>
              <a:ext cx="3777562" cy="967127"/>
            </a:xfrm>
            <a:prstGeom prst="roundRect">
              <a:avLst>
                <a:gd name="adj" fmla="val 0"/>
              </a:avLst>
            </a:prstGeom>
            <a:solidFill>
              <a:srgbClr val="F2F2F2"/>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Calculated on a run-off balance sheet</a:t>
              </a:r>
            </a:p>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Considers the NPV of repricing cash flows of instruments on the bank’s balance sheet or accounted for as an off-balance sheet item</a:t>
              </a:r>
            </a:p>
          </p:txBody>
        </p:sp>
        <p:sp>
          <p:nvSpPr>
            <p:cNvPr id="64" name="Rounded Rectangle 43">
              <a:extLst>
                <a:ext uri="{FF2B5EF4-FFF2-40B4-BE49-F238E27FC236}">
                  <a16:creationId xmlns:a16="http://schemas.microsoft.com/office/drawing/2014/main" id="{3C4C1868-CB78-41A8-9C9B-A2CD13192B32}"/>
                </a:ext>
              </a:extLst>
            </p:cNvPr>
            <p:cNvSpPr/>
            <p:nvPr/>
          </p:nvSpPr>
          <p:spPr bwMode="gray">
            <a:xfrm>
              <a:off x="8115598" y="4054656"/>
              <a:ext cx="3777562" cy="967127"/>
            </a:xfrm>
            <a:prstGeom prst="roundRect">
              <a:avLst>
                <a:gd name="adj" fmla="val 0"/>
              </a:avLst>
            </a:prstGeom>
            <a:solidFill>
              <a:schemeClr val="accent3">
                <a:lumMod val="95000"/>
              </a:schemeClr>
            </a:solidFill>
            <a:ln w="19050" algn="ctr">
              <a:solidFill>
                <a:sysClr val="window" lastClr="FFFFFF">
                  <a:lumMod val="95000"/>
                </a:sysClr>
              </a:solidFill>
              <a:miter lim="800000"/>
              <a:headEnd/>
              <a:tailEnd/>
            </a:ln>
            <a:effectLst/>
          </p:spPr>
          <p:txBody>
            <a:bodyPr rot="0" spcFirstLastPara="0" vertOverflow="overflow" horzOverflow="overflow" vert="horz" wrap="square" lIns="91440" tIns="0" rIns="72000" bIns="0" numCol="1" spcCol="0" rtlCol="0" fromWordArt="0" anchor="ctr" anchorCtr="0" forceAA="0" compatLnSpc="1">
              <a:prstTxWarp prst="textNoShape">
                <a:avLst/>
              </a:prstTxWarp>
              <a:noAutofit/>
            </a:bodyPr>
            <a:lstStyle/>
            <a:p>
              <a:pPr marL="171450" indent="-171450" fontAlgn="ctr">
                <a:buFont typeface="Wingdings" panose="05000000000000000000" pitchFamily="2" charset="2"/>
                <a:buChar char="§"/>
              </a:pPr>
              <a:r>
                <a:rPr lang="en-US" sz="1200" kern="0" dirty="0">
                  <a:solidFill>
                    <a:srgbClr val="000000"/>
                  </a:solidFill>
                  <a:latin typeface="Arial" panose="020B0604020202020204"/>
                  <a:ea typeface="+mj-ea"/>
                  <a:cs typeface="+mj-cs"/>
                </a:rPr>
                <a:t>Usually calculated on a constant balance sheet i.e., assume rollover of maturing items and / or dynamic balance sheet (new business projections) </a:t>
              </a:r>
            </a:p>
          </p:txBody>
        </p:sp>
      </p:grpSp>
      <p:grpSp>
        <p:nvGrpSpPr>
          <p:cNvPr id="80" name="Group 79">
            <a:extLst>
              <a:ext uri="{FF2B5EF4-FFF2-40B4-BE49-F238E27FC236}">
                <a16:creationId xmlns:a16="http://schemas.microsoft.com/office/drawing/2014/main" id="{3D02C7B7-C39E-4B6A-A178-5499E658EA02}"/>
              </a:ext>
            </a:extLst>
          </p:cNvPr>
          <p:cNvGrpSpPr/>
          <p:nvPr/>
        </p:nvGrpSpPr>
        <p:grpSpPr>
          <a:xfrm>
            <a:off x="1905000" y="707755"/>
            <a:ext cx="8686800" cy="797528"/>
            <a:chOff x="464509" y="985778"/>
            <a:chExt cx="8153482" cy="1243874"/>
          </a:xfrm>
        </p:grpSpPr>
        <p:sp>
          <p:nvSpPr>
            <p:cNvPr id="81" name="Rectangle: Rounded Corners 80">
              <a:extLst>
                <a:ext uri="{FF2B5EF4-FFF2-40B4-BE49-F238E27FC236}">
                  <a16:creationId xmlns:a16="http://schemas.microsoft.com/office/drawing/2014/main" id="{E67C3D63-0FF3-450E-AA06-65837C44571C}"/>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BEB4958C-22E3-43E0-B871-A92A55A24615}"/>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a:t>
              </a:r>
              <a:r>
                <a:rPr lang="en-US" sz="1200" b="1" i="1" kern="0" dirty="0">
                  <a:solidFill>
                    <a:srgbClr val="44546A"/>
                  </a:solidFill>
                  <a:latin typeface="Arial" panose="020B0604020202020204" pitchFamily="34" charset="0"/>
                  <a:cs typeface="Arial" panose="020B0604020202020204" pitchFamily="34" charset="0"/>
                </a:rPr>
                <a:t>In addition to the impact of an interest rate shock on its economic value, a bank’s policy approach should take into account its ability to generate stable earnings sufficient to maintain its normal business operations</a:t>
              </a:r>
              <a:r>
                <a:rPr lang="en-US" sz="1200" b="1" kern="0" dirty="0">
                  <a:solidFill>
                    <a:srgbClr val="44546A"/>
                  </a:solidFill>
                  <a:latin typeface="Arial" panose="020B0604020202020204" pitchFamily="34" charset="0"/>
                  <a:cs typeface="Arial" panose="020B0604020202020204" pitchFamily="34" charset="0"/>
                </a:rPr>
                <a:t>” </a:t>
              </a:r>
            </a:p>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 </a:t>
              </a:r>
              <a:r>
                <a:rPr lang="en-US" sz="1200" kern="0" dirty="0">
                  <a:solidFill>
                    <a:srgbClr val="44546A"/>
                  </a:solidFill>
                  <a:latin typeface="Arial" panose="020B0604020202020204" pitchFamily="34" charset="0"/>
                  <a:cs typeface="Arial" panose="020B0604020202020204" pitchFamily="34" charset="0"/>
                </a:rPr>
                <a:t>Basel Committee on Banking Supervision </a:t>
              </a:r>
            </a:p>
          </p:txBody>
        </p:sp>
      </p:grpSp>
      <p:grpSp>
        <p:nvGrpSpPr>
          <p:cNvPr id="91" name="Group 90">
            <a:extLst>
              <a:ext uri="{FF2B5EF4-FFF2-40B4-BE49-F238E27FC236}">
                <a16:creationId xmlns:a16="http://schemas.microsoft.com/office/drawing/2014/main" id="{D3EF83A6-F13E-45DB-8E8D-D2F02FF2530E}"/>
              </a:ext>
            </a:extLst>
          </p:cNvPr>
          <p:cNvGrpSpPr/>
          <p:nvPr/>
        </p:nvGrpSpPr>
        <p:grpSpPr>
          <a:xfrm>
            <a:off x="1943974" y="5662352"/>
            <a:ext cx="9867026" cy="797528"/>
            <a:chOff x="464509" y="985778"/>
            <a:chExt cx="8153482" cy="1243874"/>
          </a:xfrm>
        </p:grpSpPr>
        <p:sp>
          <p:nvSpPr>
            <p:cNvPr id="92" name="Rectangle: Rounded Corners 91">
              <a:extLst>
                <a:ext uri="{FF2B5EF4-FFF2-40B4-BE49-F238E27FC236}">
                  <a16:creationId xmlns:a16="http://schemas.microsoft.com/office/drawing/2014/main" id="{0AF30B03-B717-4091-8F45-E7629222DAF0}"/>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3" name="Rectangle 92">
              <a:extLst>
                <a:ext uri="{FF2B5EF4-FFF2-40B4-BE49-F238E27FC236}">
                  <a16:creationId xmlns:a16="http://schemas.microsoft.com/office/drawing/2014/main" id="{DA111B85-BD03-44B9-9C9F-0530B1583B49}"/>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a:t>
              </a:r>
              <a:r>
                <a:rPr lang="en-US" sz="1200" b="1" i="1" kern="0" dirty="0">
                  <a:solidFill>
                    <a:srgbClr val="44546A"/>
                  </a:solidFill>
                  <a:latin typeface="Arial" panose="020B0604020202020204" pitchFamily="34" charset="0"/>
                  <a:cs typeface="Arial" panose="020B0604020202020204" pitchFamily="34" charset="0"/>
                </a:rPr>
                <a:t>The Committee acknowledges the importance of managing IRRBB through both economic value and earnings-based measures. If a bank solely minimizes its economic value risk by matching the repricing of its assets with liabilities beyond the short term, it could run the risk of earnings volatility.</a:t>
              </a:r>
              <a:r>
                <a:rPr lang="en-US" sz="1200" b="1" kern="0" dirty="0">
                  <a:solidFill>
                    <a:srgbClr val="44546A"/>
                  </a:solidFill>
                  <a:latin typeface="Arial" panose="020B0604020202020204" pitchFamily="34" charset="0"/>
                  <a:cs typeface="Arial" panose="020B0604020202020204" pitchFamily="34" charset="0"/>
                </a:rPr>
                <a:t>”  - </a:t>
              </a:r>
              <a:r>
                <a:rPr lang="en-US" sz="1200" kern="0" dirty="0">
                  <a:solidFill>
                    <a:srgbClr val="44546A"/>
                  </a:solidFill>
                  <a:latin typeface="Arial" panose="020B0604020202020204" pitchFamily="34" charset="0"/>
                  <a:cs typeface="Arial" panose="020B0604020202020204" pitchFamily="34" charset="0"/>
                </a:rPr>
                <a:t>Basel Committee on Banking Supervision </a:t>
              </a:r>
            </a:p>
          </p:txBody>
        </p:sp>
      </p:grpSp>
      <p:sp>
        <p:nvSpPr>
          <p:cNvPr id="25" name="Rectangle 24">
            <a:extLst>
              <a:ext uri="{FF2B5EF4-FFF2-40B4-BE49-F238E27FC236}">
                <a16:creationId xmlns:a16="http://schemas.microsoft.com/office/drawing/2014/main" id="{7D9786BE-0FEB-45D7-985E-B80220950F16}"/>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2</a:t>
            </a:r>
          </a:p>
        </p:txBody>
      </p:sp>
    </p:spTree>
    <p:extLst>
      <p:ext uri="{BB962C8B-B14F-4D97-AF65-F5344CB8AC3E}">
        <p14:creationId xmlns:p14="http://schemas.microsoft.com/office/powerpoint/2010/main" val="3017249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3984" y="44195"/>
            <a:ext cx="9646015"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2: IRRBB Measurement - Behavioral Modelling</a:t>
            </a:r>
          </a:p>
        </p:txBody>
      </p:sp>
      <p:grpSp>
        <p:nvGrpSpPr>
          <p:cNvPr id="80" name="Group 79">
            <a:extLst>
              <a:ext uri="{FF2B5EF4-FFF2-40B4-BE49-F238E27FC236}">
                <a16:creationId xmlns:a16="http://schemas.microsoft.com/office/drawing/2014/main" id="{3D02C7B7-C39E-4B6A-A178-5499E658EA02}"/>
              </a:ext>
            </a:extLst>
          </p:cNvPr>
          <p:cNvGrpSpPr/>
          <p:nvPr/>
        </p:nvGrpSpPr>
        <p:grpSpPr>
          <a:xfrm>
            <a:off x="1905000" y="707755"/>
            <a:ext cx="8686800" cy="797528"/>
            <a:chOff x="464509" y="985778"/>
            <a:chExt cx="8153482" cy="1243874"/>
          </a:xfrm>
        </p:grpSpPr>
        <p:sp>
          <p:nvSpPr>
            <p:cNvPr id="81" name="Rectangle: Rounded Corners 80">
              <a:extLst>
                <a:ext uri="{FF2B5EF4-FFF2-40B4-BE49-F238E27FC236}">
                  <a16:creationId xmlns:a16="http://schemas.microsoft.com/office/drawing/2014/main" id="{E67C3D63-0FF3-450E-AA06-65837C44571C}"/>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BEB4958C-22E3-43E0-B871-A92A55A24615}"/>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Both economic value and earnings-based measures of IRRBB are significantly impacted due to presence of behavioral </a:t>
              </a:r>
              <a:r>
                <a:rPr lang="en-US" sz="1200" b="1" kern="0" dirty="0" err="1">
                  <a:solidFill>
                    <a:srgbClr val="44546A"/>
                  </a:solidFill>
                  <a:latin typeface="Arial" panose="020B0604020202020204" pitchFamily="34" charset="0"/>
                  <a:cs typeface="Arial" panose="020B0604020202020204" pitchFamily="34" charset="0"/>
                </a:rPr>
                <a:t>optionalities</a:t>
              </a:r>
              <a:r>
                <a:rPr lang="en-US" sz="1200" b="1" kern="0" dirty="0">
                  <a:solidFill>
                    <a:srgbClr val="44546A"/>
                  </a:solidFill>
                  <a:latin typeface="Arial" panose="020B0604020202020204" pitchFamily="34" charset="0"/>
                  <a:cs typeface="Arial" panose="020B0604020202020204" pitchFamily="34" charset="0"/>
                </a:rPr>
                <a:t>. A bank should use robust predictive models to make behavioral assumptions about how an instrument’s actual maturity may vary from the instrument’s contractual terms</a:t>
              </a:r>
              <a:endParaRPr lang="en-US" sz="1200" kern="0" dirty="0">
                <a:solidFill>
                  <a:srgbClr val="44546A"/>
                </a:solidFill>
                <a:latin typeface="Arial" panose="020B0604020202020204" pitchFamily="34" charset="0"/>
                <a:cs typeface="Arial" panose="020B0604020202020204" pitchFamily="34" charset="0"/>
              </a:endParaRPr>
            </a:p>
          </p:txBody>
        </p:sp>
      </p:grpSp>
      <p:sp>
        <p:nvSpPr>
          <p:cNvPr id="27" name="Rectangle 26">
            <a:extLst>
              <a:ext uri="{FF2B5EF4-FFF2-40B4-BE49-F238E27FC236}">
                <a16:creationId xmlns:a16="http://schemas.microsoft.com/office/drawing/2014/main" id="{F3A70B61-3DF3-4B34-A93A-E16AF6562591}"/>
              </a:ext>
            </a:extLst>
          </p:cNvPr>
          <p:cNvSpPr/>
          <p:nvPr/>
        </p:nvSpPr>
        <p:spPr>
          <a:xfrm>
            <a:off x="1898702" y="1609541"/>
            <a:ext cx="9998793" cy="280132"/>
          </a:xfrm>
          <a:prstGeom prst="rect">
            <a:avLst/>
          </a:prstGeom>
          <a:solidFill>
            <a:srgbClr val="002060"/>
          </a:solidFill>
          <a:ln w="25400" cap="flat" cmpd="sng" algn="ctr">
            <a:solidFill>
              <a:sysClr val="windowText" lastClr="000000"/>
            </a:solidFill>
            <a:prstDash val="solid"/>
          </a:ln>
          <a:effectLst/>
        </p:spPr>
        <p:txBody>
          <a:bodyPr rtlCol="0" anchor="ctr"/>
          <a:lstStyle/>
          <a:p>
            <a:pPr algn="ctr">
              <a:defRPr/>
            </a:pPr>
            <a:r>
              <a:rPr lang="en-IN" sz="1600" b="1" kern="0" dirty="0">
                <a:solidFill>
                  <a:prstClr val="white"/>
                </a:solidFill>
                <a:latin typeface="Arial" panose="020B0604020202020204" pitchFamily="34" charset="0"/>
                <a:cs typeface="Arial" panose="020B0604020202020204" pitchFamily="34" charset="0"/>
              </a:rPr>
              <a:t>Coverage of behavioural modelling and assumptions </a:t>
            </a:r>
          </a:p>
        </p:txBody>
      </p:sp>
      <p:grpSp>
        <p:nvGrpSpPr>
          <p:cNvPr id="8" name="Group 7">
            <a:extLst>
              <a:ext uri="{FF2B5EF4-FFF2-40B4-BE49-F238E27FC236}">
                <a16:creationId xmlns:a16="http://schemas.microsoft.com/office/drawing/2014/main" id="{68CA8AB1-FDB4-4DCE-B503-6665F42DF0C1}"/>
              </a:ext>
            </a:extLst>
          </p:cNvPr>
          <p:cNvGrpSpPr/>
          <p:nvPr/>
        </p:nvGrpSpPr>
        <p:grpSpPr>
          <a:xfrm>
            <a:off x="5381351" y="2017657"/>
            <a:ext cx="6429650" cy="4757359"/>
            <a:chOff x="6244975" y="2017657"/>
            <a:chExt cx="5566025" cy="4757359"/>
          </a:xfrm>
        </p:grpSpPr>
        <p:sp>
          <p:nvSpPr>
            <p:cNvPr id="30" name="Pentagon 51">
              <a:extLst>
                <a:ext uri="{FF2B5EF4-FFF2-40B4-BE49-F238E27FC236}">
                  <a16:creationId xmlns:a16="http://schemas.microsoft.com/office/drawing/2014/main" id="{B4BF28C5-DF7D-4924-A7E4-35B1D3BE66E3}"/>
                </a:ext>
              </a:extLst>
            </p:cNvPr>
            <p:cNvSpPr/>
            <p:nvPr/>
          </p:nvSpPr>
          <p:spPr>
            <a:xfrm>
              <a:off x="6244975" y="2017657"/>
              <a:ext cx="5537804" cy="265387"/>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white"/>
                  </a:solidFill>
                  <a:latin typeface="Arial" panose="020B0604020202020204" pitchFamily="34" charset="0"/>
                  <a:ea typeface="Arial Unicode MS" pitchFamily="34" charset="-128"/>
                  <a:cs typeface="Arial" panose="020B0604020202020204" pitchFamily="34" charset="0"/>
                </a:rPr>
                <a:t>A</a:t>
              </a:r>
              <a:r>
                <a:rPr kumimoji="0" lang="en-GB" altLang="en-US" sz="1200" b="1" i="0" u="none" strike="noStrike" kern="0" cap="none" spc="0" normalizeH="0" baseline="0" noProof="0" dirty="0" err="1">
                  <a:ln>
                    <a:noFill/>
                  </a:ln>
                  <a:solidFill>
                    <a:prstClr val="white"/>
                  </a:solidFill>
                  <a:effectLst/>
                  <a:uLnTx/>
                  <a:uFillTx/>
                  <a:latin typeface="Arial" panose="020B0604020202020204" pitchFamily="34" charset="0"/>
                  <a:ea typeface="Arial Unicode MS" pitchFamily="34" charset="-128"/>
                  <a:cs typeface="Arial" panose="020B0604020202020204" pitchFamily="34" charset="0"/>
                </a:rPr>
                <a:t>ssociated</a:t>
              </a:r>
              <a:r>
                <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rPr>
                <a:t> </a:t>
              </a:r>
              <a:r>
                <a:rPr lang="en-GB" altLang="en-US" sz="1200" b="1" kern="0" dirty="0">
                  <a:solidFill>
                    <a:prstClr val="white"/>
                  </a:solidFill>
                  <a:latin typeface="Arial" panose="020B0604020202020204" pitchFamily="34" charset="0"/>
                  <a:ea typeface="Arial Unicode MS" pitchFamily="34" charset="-128"/>
                  <a:cs typeface="Arial" panose="020B0604020202020204" pitchFamily="34" charset="0"/>
                </a:rPr>
                <a:t>behavioural risk to measure </a:t>
              </a:r>
              <a:endPar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B096443A-36FB-434F-A4E2-4FE5A2AFE6E0}"/>
                </a:ext>
              </a:extLst>
            </p:cNvPr>
            <p:cNvSpPr/>
            <p:nvPr/>
          </p:nvSpPr>
          <p:spPr>
            <a:xfrm>
              <a:off x="6244975" y="2371033"/>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Risk of early prepayment on loans across various interest rate shock and stress scenarios. A bank must assess the expected average prepayment speed under each interest rate shock scenario</a:t>
              </a:r>
            </a:p>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E.g., If interest rates decrease, borrowers of fixed rate loans might increase speed of prepayment and re-finance loans at lower rate of interest </a:t>
              </a:r>
            </a:p>
          </p:txBody>
        </p:sp>
        <p:sp>
          <p:nvSpPr>
            <p:cNvPr id="32" name="Rectangle 31">
              <a:extLst>
                <a:ext uri="{FF2B5EF4-FFF2-40B4-BE49-F238E27FC236}">
                  <a16:creationId xmlns:a16="http://schemas.microsoft.com/office/drawing/2014/main" id="{3DADC322-B488-4402-837C-B2653A02CBD6}"/>
                </a:ext>
              </a:extLst>
            </p:cNvPr>
            <p:cNvSpPr/>
            <p:nvPr/>
          </p:nvSpPr>
          <p:spPr>
            <a:xfrm>
              <a:off x="6244975" y="349460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0" lvl="1" algn="just" defTabSz="912330" eaLnBrk="0" hangingPunct="0">
                <a:lnSpc>
                  <a:spcPct val="105000"/>
                </a:lnSpc>
                <a:spcAft>
                  <a:spcPts val="200"/>
                </a:spcAft>
                <a:tabLst>
                  <a:tab pos="182467" algn="l"/>
                </a:tabLst>
              </a:pPr>
              <a:endParaRPr lang="en-US" sz="1200" dirty="0">
                <a:solidFill>
                  <a:prstClr val="black"/>
                </a:solidFill>
                <a:latin typeface="Arial" panose="020B0604020202020204" pitchFamily="34" charset="0"/>
                <a:ea typeface="Arial Unicode MS" pitchFamily="34" charset="-128"/>
                <a:cs typeface="Arial" panose="020B0604020202020204" pitchFamily="34" charset="0"/>
              </a:endParaRPr>
            </a:p>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Risk of early redemption on term deposits across various interest rate shock and stress scenarios. A bank must assess the expected average redemption speed under each interest rate shock scenario</a:t>
              </a:r>
            </a:p>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E.g., If interest rates increase, depositors might increase speed of redemption to seek higher returns on alternate investments / deposit opportunities </a:t>
              </a:r>
            </a:p>
            <a:p>
              <a:pPr marL="0" lvl="1" algn="just" defTabSz="912330" eaLnBrk="0" hangingPunct="0">
                <a:lnSpc>
                  <a:spcPct val="105000"/>
                </a:lnSpc>
                <a:spcAft>
                  <a:spcPts val="200"/>
                </a:spcAft>
                <a:tabLst>
                  <a:tab pos="182467" algn="l"/>
                </a:tabLst>
              </a:pPr>
              <a:endParaRPr lang="en-US" sz="1200" b="1" dirty="0">
                <a:solidFill>
                  <a:prstClr val="black"/>
                </a:solidFill>
                <a:latin typeface="Arial" panose="020B0604020202020204" pitchFamily="34" charset="0"/>
                <a:ea typeface="Arial Unicode MS"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05569388-B897-4BD6-8D58-AA7A34D718FF}"/>
                </a:ext>
              </a:extLst>
            </p:cNvPr>
            <p:cNvSpPr/>
            <p:nvPr/>
          </p:nvSpPr>
          <p:spPr>
            <a:xfrm>
              <a:off x="6244975" y="464057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Banks may sell options to retail customers (e.g. prospective mortgage buyers or </a:t>
              </a:r>
              <a:r>
                <a:rPr lang="en-US" sz="1200" dirty="0" err="1">
                  <a:solidFill>
                    <a:prstClr val="black"/>
                  </a:solidFill>
                  <a:latin typeface="Arial" panose="020B0604020202020204" pitchFamily="34" charset="0"/>
                  <a:ea typeface="Arial Unicode MS" pitchFamily="34" charset="-128"/>
                  <a:cs typeface="Arial" panose="020B0604020202020204" pitchFamily="34" charset="0"/>
                </a:rPr>
                <a:t>renewers</a:t>
              </a:r>
              <a:r>
                <a:rPr lang="en-US" sz="1200" dirty="0">
                  <a:solidFill>
                    <a:prstClr val="black"/>
                  </a:solidFill>
                  <a:latin typeface="Arial" panose="020B0604020202020204" pitchFamily="34" charset="0"/>
                  <a:ea typeface="Arial Unicode MS" pitchFamily="34" charset="-128"/>
                  <a:cs typeface="Arial" panose="020B0604020202020204" pitchFamily="34" charset="0"/>
                </a:rPr>
                <a:t>) whereby, for a limited period, the customers can choose to draw down a loan at a committed rate. </a:t>
              </a:r>
              <a:endParaRPr lang="en-GB" sz="1200" dirty="0">
                <a:solidFill>
                  <a:prstClr val="black"/>
                </a:solidFill>
                <a:latin typeface="Arial" panose="020B0604020202020204" pitchFamily="34" charset="0"/>
                <a:ea typeface="Arial Unicode MS"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EB9B913-4DF7-40A6-933E-593A8D2FBA01}"/>
                </a:ext>
              </a:extLst>
            </p:cNvPr>
            <p:cNvSpPr/>
            <p:nvPr/>
          </p:nvSpPr>
          <p:spPr>
            <a:xfrm>
              <a:off x="6270618" y="581813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Current and savings account deposits that have no maturity date and can be withdrawn anytime. </a:t>
              </a:r>
            </a:p>
            <a:p>
              <a:pPr marL="0" lvl="1" algn="just" defTabSz="912330" eaLnBrk="0" hangingPunct="0">
                <a:lnSpc>
                  <a:spcPct val="105000"/>
                </a:lnSpc>
                <a:spcAft>
                  <a:spcPts val="200"/>
                </a:spcAft>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A bank should analyze its depositor base to identify the proportion of core deposits (i.e. NMDs which are unlikely to be withdrawn even under significant changes in interest rate environment)</a:t>
              </a:r>
            </a:p>
          </p:txBody>
        </p:sp>
      </p:grpSp>
      <p:grpSp>
        <p:nvGrpSpPr>
          <p:cNvPr id="5" name="Group 4">
            <a:extLst>
              <a:ext uri="{FF2B5EF4-FFF2-40B4-BE49-F238E27FC236}">
                <a16:creationId xmlns:a16="http://schemas.microsoft.com/office/drawing/2014/main" id="{31F94F93-32C2-49BD-816C-F9C7FF2DBABB}"/>
              </a:ext>
            </a:extLst>
          </p:cNvPr>
          <p:cNvGrpSpPr/>
          <p:nvPr/>
        </p:nvGrpSpPr>
        <p:grpSpPr>
          <a:xfrm>
            <a:off x="1908664" y="2017657"/>
            <a:ext cx="1444136" cy="4758165"/>
            <a:chOff x="1908664" y="2017657"/>
            <a:chExt cx="2025298" cy="4758165"/>
          </a:xfrm>
        </p:grpSpPr>
        <p:sp>
          <p:nvSpPr>
            <p:cNvPr id="28" name="Pentagon 49">
              <a:extLst>
                <a:ext uri="{FF2B5EF4-FFF2-40B4-BE49-F238E27FC236}">
                  <a16:creationId xmlns:a16="http://schemas.microsoft.com/office/drawing/2014/main" id="{7F475DF0-7AA3-4914-856C-D0AB929E7BA0}"/>
                </a:ext>
              </a:extLst>
            </p:cNvPr>
            <p:cNvSpPr/>
            <p:nvPr/>
          </p:nvSpPr>
          <p:spPr>
            <a:xfrm>
              <a:off x="1908664" y="2017657"/>
              <a:ext cx="1993988" cy="259862"/>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rPr>
                <a:t>Risk Category</a:t>
              </a:r>
            </a:p>
          </p:txBody>
        </p:sp>
        <p:sp>
          <p:nvSpPr>
            <p:cNvPr id="29" name="Pentagon 57">
              <a:extLst>
                <a:ext uri="{FF2B5EF4-FFF2-40B4-BE49-F238E27FC236}">
                  <a16:creationId xmlns:a16="http://schemas.microsoft.com/office/drawing/2014/main" id="{25B0E15A-92A1-44CA-867F-2C41AF9329E3}"/>
                </a:ext>
              </a:extLst>
            </p:cNvPr>
            <p:cNvSpPr/>
            <p:nvPr/>
          </p:nvSpPr>
          <p:spPr>
            <a:xfrm>
              <a:off x="1939975" y="4640315"/>
              <a:ext cx="1977523"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Drawdown </a:t>
              </a:r>
            </a:p>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risk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5" name="Pentagon 57">
              <a:extLst>
                <a:ext uri="{FF2B5EF4-FFF2-40B4-BE49-F238E27FC236}">
                  <a16:creationId xmlns:a16="http://schemas.microsoft.com/office/drawing/2014/main" id="{AB62D678-FC2B-4331-88A8-F12D5BC3BDF4}"/>
                </a:ext>
              </a:extLst>
            </p:cNvPr>
            <p:cNvSpPr/>
            <p:nvPr/>
          </p:nvSpPr>
          <p:spPr>
            <a:xfrm>
              <a:off x="1939975" y="5817875"/>
              <a:ext cx="1993987"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NMD </a:t>
              </a: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Volatility risk </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6" name="Pentagon 45">
              <a:extLst>
                <a:ext uri="{FF2B5EF4-FFF2-40B4-BE49-F238E27FC236}">
                  <a16:creationId xmlns:a16="http://schemas.microsoft.com/office/drawing/2014/main" id="{D7936069-93BF-4B35-A556-0399608C8F89}"/>
                </a:ext>
              </a:extLst>
            </p:cNvPr>
            <p:cNvSpPr/>
            <p:nvPr/>
          </p:nvSpPr>
          <p:spPr>
            <a:xfrm>
              <a:off x="1923511" y="2370770"/>
              <a:ext cx="1993988" cy="957948"/>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Prepayment </a:t>
              </a: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risk </a:t>
              </a:r>
            </a:p>
          </p:txBody>
        </p:sp>
        <p:sp>
          <p:nvSpPr>
            <p:cNvPr id="37" name="Pentagon 53">
              <a:extLst>
                <a:ext uri="{FF2B5EF4-FFF2-40B4-BE49-F238E27FC236}">
                  <a16:creationId xmlns:a16="http://schemas.microsoft.com/office/drawing/2014/main" id="{A99768FA-CAB8-4D3D-B39E-7D79336E1386}"/>
                </a:ext>
              </a:extLst>
            </p:cNvPr>
            <p:cNvSpPr/>
            <p:nvPr/>
          </p:nvSpPr>
          <p:spPr>
            <a:xfrm>
              <a:off x="1923511" y="3494345"/>
              <a:ext cx="1993988"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Early redemption </a:t>
              </a:r>
            </a:p>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risk </a:t>
              </a:r>
            </a:p>
          </p:txBody>
        </p:sp>
      </p:grpSp>
      <p:grpSp>
        <p:nvGrpSpPr>
          <p:cNvPr id="9" name="Group 8">
            <a:extLst>
              <a:ext uri="{FF2B5EF4-FFF2-40B4-BE49-F238E27FC236}">
                <a16:creationId xmlns:a16="http://schemas.microsoft.com/office/drawing/2014/main" id="{9460EDB5-6F23-40F7-B025-0A07EEF58CC6}"/>
              </a:ext>
            </a:extLst>
          </p:cNvPr>
          <p:cNvGrpSpPr/>
          <p:nvPr/>
        </p:nvGrpSpPr>
        <p:grpSpPr>
          <a:xfrm>
            <a:off x="3451368" y="2016850"/>
            <a:ext cx="1806432" cy="4758165"/>
            <a:chOff x="3451368" y="2016850"/>
            <a:chExt cx="1615047" cy="4758165"/>
          </a:xfrm>
        </p:grpSpPr>
        <p:sp>
          <p:nvSpPr>
            <p:cNvPr id="42" name="Pentagon 49">
              <a:extLst>
                <a:ext uri="{FF2B5EF4-FFF2-40B4-BE49-F238E27FC236}">
                  <a16:creationId xmlns:a16="http://schemas.microsoft.com/office/drawing/2014/main" id="{40DB8F5E-CBB5-4F68-88C1-57DCF7DAA2DF}"/>
                </a:ext>
              </a:extLst>
            </p:cNvPr>
            <p:cNvSpPr/>
            <p:nvPr/>
          </p:nvSpPr>
          <p:spPr>
            <a:xfrm>
              <a:off x="3451368" y="2016850"/>
              <a:ext cx="1590079" cy="259862"/>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white"/>
                  </a:solidFill>
                  <a:latin typeface="Arial" panose="020B0604020202020204" pitchFamily="34" charset="0"/>
                  <a:ea typeface="Arial Unicode MS" pitchFamily="34" charset="-128"/>
                  <a:cs typeface="Arial" panose="020B0604020202020204" pitchFamily="34" charset="0"/>
                </a:rPr>
                <a:t>Product Coverage</a:t>
              </a:r>
              <a:endPar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3" name="Pentagon 57">
              <a:extLst>
                <a:ext uri="{FF2B5EF4-FFF2-40B4-BE49-F238E27FC236}">
                  <a16:creationId xmlns:a16="http://schemas.microsoft.com/office/drawing/2014/main" id="{50F0733B-E82C-4B07-A2F0-0D09BEA75D47}"/>
                </a:ext>
              </a:extLst>
            </p:cNvPr>
            <p:cNvSpPr/>
            <p:nvPr/>
          </p:nvSpPr>
          <p:spPr>
            <a:xfrm>
              <a:off x="3476337" y="4639508"/>
              <a:ext cx="1576949"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Committed and undrawn lines of credit</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4" name="Pentagon 57">
              <a:extLst>
                <a:ext uri="{FF2B5EF4-FFF2-40B4-BE49-F238E27FC236}">
                  <a16:creationId xmlns:a16="http://schemas.microsoft.com/office/drawing/2014/main" id="{65A54F44-5F32-4A03-80A8-0BE35215D108}"/>
                </a:ext>
              </a:extLst>
            </p:cNvPr>
            <p:cNvSpPr/>
            <p:nvPr/>
          </p:nvSpPr>
          <p:spPr>
            <a:xfrm>
              <a:off x="3476337" y="5817068"/>
              <a:ext cx="1590078"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Non-Maturity Deposits (NMDs)</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5" name="Pentagon 45">
              <a:extLst>
                <a:ext uri="{FF2B5EF4-FFF2-40B4-BE49-F238E27FC236}">
                  <a16:creationId xmlns:a16="http://schemas.microsoft.com/office/drawing/2014/main" id="{91646A1E-193D-4EDB-B543-45868479A0D5}"/>
                </a:ext>
              </a:extLst>
            </p:cNvPr>
            <p:cNvSpPr/>
            <p:nvPr/>
          </p:nvSpPr>
          <p:spPr>
            <a:xfrm>
              <a:off x="3463208" y="2369963"/>
              <a:ext cx="1590079" cy="957948"/>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Fixed rate loans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6" name="Pentagon 53">
              <a:extLst>
                <a:ext uri="{FF2B5EF4-FFF2-40B4-BE49-F238E27FC236}">
                  <a16:creationId xmlns:a16="http://schemas.microsoft.com/office/drawing/2014/main" id="{1D8D0AE4-5631-4D6C-A939-B9B4CE04D8C8}"/>
                </a:ext>
              </a:extLst>
            </p:cNvPr>
            <p:cNvSpPr/>
            <p:nvPr/>
          </p:nvSpPr>
          <p:spPr>
            <a:xfrm>
              <a:off x="3463208" y="3493538"/>
              <a:ext cx="1590079"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Fixed term deposits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grpSp>
    </p:spTree>
    <p:extLst>
      <p:ext uri="{BB962C8B-B14F-4D97-AF65-F5344CB8AC3E}">
        <p14:creationId xmlns:p14="http://schemas.microsoft.com/office/powerpoint/2010/main" val="3100553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3984" y="44195"/>
            <a:ext cx="9722216"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2: IRRBB Measurement: Behavioral Modelling</a:t>
            </a:r>
          </a:p>
        </p:txBody>
      </p:sp>
      <p:grpSp>
        <p:nvGrpSpPr>
          <p:cNvPr id="80" name="Group 79">
            <a:extLst>
              <a:ext uri="{FF2B5EF4-FFF2-40B4-BE49-F238E27FC236}">
                <a16:creationId xmlns:a16="http://schemas.microsoft.com/office/drawing/2014/main" id="{3D02C7B7-C39E-4B6A-A178-5499E658EA02}"/>
              </a:ext>
            </a:extLst>
          </p:cNvPr>
          <p:cNvGrpSpPr/>
          <p:nvPr/>
        </p:nvGrpSpPr>
        <p:grpSpPr>
          <a:xfrm>
            <a:off x="1905000" y="707755"/>
            <a:ext cx="8686800" cy="797528"/>
            <a:chOff x="464509" y="985778"/>
            <a:chExt cx="8153482" cy="1243874"/>
          </a:xfrm>
        </p:grpSpPr>
        <p:sp>
          <p:nvSpPr>
            <p:cNvPr id="81" name="Rectangle: Rounded Corners 80">
              <a:extLst>
                <a:ext uri="{FF2B5EF4-FFF2-40B4-BE49-F238E27FC236}">
                  <a16:creationId xmlns:a16="http://schemas.microsoft.com/office/drawing/2014/main" id="{E67C3D63-0FF3-450E-AA06-65837C44571C}"/>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BEB4958C-22E3-43E0-B871-A92A55A24615}"/>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Both economic value and earnings-based measures of IRRBB are significantly impacted due to presence of behavioral </a:t>
              </a:r>
              <a:r>
                <a:rPr lang="en-US" sz="1200" b="1" kern="0" dirty="0" err="1">
                  <a:solidFill>
                    <a:srgbClr val="44546A"/>
                  </a:solidFill>
                  <a:latin typeface="Arial" panose="020B0604020202020204" pitchFamily="34" charset="0"/>
                  <a:cs typeface="Arial" panose="020B0604020202020204" pitchFamily="34" charset="0"/>
                </a:rPr>
                <a:t>optionalities</a:t>
              </a:r>
              <a:r>
                <a:rPr lang="en-US" sz="1200" b="1" kern="0" dirty="0">
                  <a:solidFill>
                    <a:srgbClr val="44546A"/>
                  </a:solidFill>
                  <a:latin typeface="Arial" panose="020B0604020202020204" pitchFamily="34" charset="0"/>
                  <a:cs typeface="Arial" panose="020B0604020202020204" pitchFamily="34" charset="0"/>
                </a:rPr>
                <a:t>. A bank should use robust predictive models to make behavioral assumptions about how an instrument’s actual maturity may vary from the instrument’s contractual terms</a:t>
              </a:r>
              <a:endParaRPr lang="en-US" sz="1200" kern="0" dirty="0">
                <a:solidFill>
                  <a:srgbClr val="44546A"/>
                </a:solidFill>
                <a:latin typeface="Arial" panose="020B0604020202020204" pitchFamily="34" charset="0"/>
                <a:cs typeface="Arial" panose="020B0604020202020204" pitchFamily="34" charset="0"/>
              </a:endParaRPr>
            </a:p>
          </p:txBody>
        </p:sp>
      </p:grpSp>
      <p:sp>
        <p:nvSpPr>
          <p:cNvPr id="27" name="Rectangle 26">
            <a:extLst>
              <a:ext uri="{FF2B5EF4-FFF2-40B4-BE49-F238E27FC236}">
                <a16:creationId xmlns:a16="http://schemas.microsoft.com/office/drawing/2014/main" id="{F3A70B61-3DF3-4B34-A93A-E16AF6562591}"/>
              </a:ext>
            </a:extLst>
          </p:cNvPr>
          <p:cNvSpPr/>
          <p:nvPr/>
        </p:nvSpPr>
        <p:spPr>
          <a:xfrm>
            <a:off x="1898702" y="1609541"/>
            <a:ext cx="9998793" cy="280132"/>
          </a:xfrm>
          <a:prstGeom prst="rect">
            <a:avLst/>
          </a:prstGeom>
          <a:solidFill>
            <a:srgbClr val="002060"/>
          </a:solidFill>
          <a:ln w="25400" cap="flat" cmpd="sng" algn="ctr">
            <a:solidFill>
              <a:sysClr val="windowText" lastClr="000000"/>
            </a:solidFill>
            <a:prstDash val="solid"/>
          </a:ln>
          <a:effectLst/>
        </p:spPr>
        <p:txBody>
          <a:bodyPr rtlCol="0" anchor="ctr"/>
          <a:lstStyle/>
          <a:p>
            <a:pPr algn="ctr">
              <a:defRPr/>
            </a:pPr>
            <a:r>
              <a:rPr lang="en-IN" sz="1600" b="1" kern="0" dirty="0">
                <a:solidFill>
                  <a:prstClr val="white"/>
                </a:solidFill>
                <a:latin typeface="Arial" panose="020B0604020202020204" pitchFamily="34" charset="0"/>
                <a:cs typeface="Arial" panose="020B0604020202020204" pitchFamily="34" charset="0"/>
              </a:rPr>
              <a:t>Coverage of behavioural modelling and assumptions </a:t>
            </a:r>
          </a:p>
        </p:txBody>
      </p:sp>
      <p:grpSp>
        <p:nvGrpSpPr>
          <p:cNvPr id="8" name="Group 7">
            <a:extLst>
              <a:ext uri="{FF2B5EF4-FFF2-40B4-BE49-F238E27FC236}">
                <a16:creationId xmlns:a16="http://schemas.microsoft.com/office/drawing/2014/main" id="{68CA8AB1-FDB4-4DCE-B503-6665F42DF0C1}"/>
              </a:ext>
            </a:extLst>
          </p:cNvPr>
          <p:cNvGrpSpPr/>
          <p:nvPr/>
        </p:nvGrpSpPr>
        <p:grpSpPr>
          <a:xfrm>
            <a:off x="5381351" y="2017657"/>
            <a:ext cx="6429650" cy="4757359"/>
            <a:chOff x="6244975" y="2017657"/>
            <a:chExt cx="5566025" cy="4757359"/>
          </a:xfrm>
        </p:grpSpPr>
        <p:sp>
          <p:nvSpPr>
            <p:cNvPr id="30" name="Pentagon 51">
              <a:extLst>
                <a:ext uri="{FF2B5EF4-FFF2-40B4-BE49-F238E27FC236}">
                  <a16:creationId xmlns:a16="http://schemas.microsoft.com/office/drawing/2014/main" id="{B4BF28C5-DF7D-4924-A7E4-35B1D3BE66E3}"/>
                </a:ext>
              </a:extLst>
            </p:cNvPr>
            <p:cNvSpPr/>
            <p:nvPr/>
          </p:nvSpPr>
          <p:spPr>
            <a:xfrm>
              <a:off x="6244975" y="2017657"/>
              <a:ext cx="5537804" cy="265387"/>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white"/>
                  </a:solidFill>
                  <a:latin typeface="Arial" panose="020B0604020202020204" pitchFamily="34" charset="0"/>
                  <a:ea typeface="Arial Unicode MS" pitchFamily="34" charset="-128"/>
                  <a:cs typeface="Arial" panose="020B0604020202020204" pitchFamily="34" charset="0"/>
                </a:rPr>
                <a:t>Commonly used parameters for behavioural modelling</a:t>
              </a:r>
              <a:endPar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1" name="Rectangle 30">
              <a:extLst>
                <a:ext uri="{FF2B5EF4-FFF2-40B4-BE49-F238E27FC236}">
                  <a16:creationId xmlns:a16="http://schemas.microsoft.com/office/drawing/2014/main" id="{B096443A-36FB-434F-A4E2-4FE5A2AFE6E0}"/>
                </a:ext>
              </a:extLst>
            </p:cNvPr>
            <p:cNvSpPr/>
            <p:nvPr/>
          </p:nvSpPr>
          <p:spPr>
            <a:xfrm>
              <a:off x="6244975" y="2371033"/>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180879" lvl="1" indent="-180879" algn="just" defTabSz="912330" eaLnBrk="0" hangingPunct="0">
                <a:lnSpc>
                  <a:spcPct val="105000"/>
                </a:lnSpc>
                <a:spcAft>
                  <a:spcPts val="200"/>
                </a:spcAft>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Loan size, loan-to-value (LTV) ratio, borrower characteristics, contractual interest rates, seasoning, geographical location etc.</a:t>
              </a:r>
            </a:p>
            <a:p>
              <a:pPr marL="180879" lvl="1" indent="-180879" algn="just" defTabSz="912330" eaLnBrk="0" hangingPunct="0">
                <a:lnSpc>
                  <a:spcPct val="105000"/>
                </a:lnSpc>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Macroeconomic variables such as stock indices, unemployment rates, GDP, inflation and housing price indices to model loan prepayment behavior</a:t>
              </a:r>
            </a:p>
          </p:txBody>
        </p:sp>
        <p:sp>
          <p:nvSpPr>
            <p:cNvPr id="32" name="Rectangle 31">
              <a:extLst>
                <a:ext uri="{FF2B5EF4-FFF2-40B4-BE49-F238E27FC236}">
                  <a16:creationId xmlns:a16="http://schemas.microsoft.com/office/drawing/2014/main" id="{3DADC322-B488-4402-837C-B2653A02CBD6}"/>
                </a:ext>
              </a:extLst>
            </p:cNvPr>
            <p:cNvSpPr/>
            <p:nvPr/>
          </p:nvSpPr>
          <p:spPr>
            <a:xfrm>
              <a:off x="6244975" y="349460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0" lvl="1" algn="just" defTabSz="912330" eaLnBrk="0" hangingPunct="0">
                <a:lnSpc>
                  <a:spcPct val="105000"/>
                </a:lnSpc>
                <a:spcAft>
                  <a:spcPts val="200"/>
                </a:spcAft>
                <a:tabLst>
                  <a:tab pos="182467" algn="l"/>
                </a:tabLst>
              </a:pPr>
              <a:endParaRPr lang="en-US" sz="1200" dirty="0">
                <a:solidFill>
                  <a:prstClr val="black"/>
                </a:solidFill>
                <a:latin typeface="Arial" panose="020B0604020202020204" pitchFamily="34" charset="0"/>
                <a:ea typeface="Arial Unicode MS" pitchFamily="34" charset="-128"/>
                <a:cs typeface="Arial" panose="020B0604020202020204" pitchFamily="34" charset="0"/>
              </a:endParaRPr>
            </a:p>
            <a:p>
              <a:pPr marL="180879" lvl="1" indent="-180879" algn="just" defTabSz="912330" eaLnBrk="0" hangingPunct="0">
                <a:lnSpc>
                  <a:spcPct val="105000"/>
                </a:lnSpc>
                <a:spcAft>
                  <a:spcPts val="200"/>
                </a:spcAft>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Deposit size, depositor characteristics, funding channel (e.g. direct or brokered deposit), contractual interest rates, seasonal factors, geographical location etc.</a:t>
              </a:r>
              <a:endParaRPr lang="en-GB" sz="1200" dirty="0">
                <a:solidFill>
                  <a:prstClr val="black"/>
                </a:solidFill>
                <a:latin typeface="Arial" panose="020B0604020202020204" pitchFamily="34" charset="0"/>
                <a:ea typeface="Arial Unicode MS" pitchFamily="34" charset="-128"/>
                <a:cs typeface="Arial" panose="020B0604020202020204" pitchFamily="34" charset="0"/>
              </a:endParaRPr>
            </a:p>
            <a:p>
              <a:pPr marL="180879" lvl="1" indent="-180879" algn="just" defTabSz="912330" eaLnBrk="0" hangingPunct="0">
                <a:lnSpc>
                  <a:spcPct val="105000"/>
                </a:lnSpc>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Macroeconomic variables such as stock indices, unemployment rates, GDP, inflation and housing price indices to model deposit redemption behavior</a:t>
              </a:r>
              <a:endParaRPr lang="en-GB" sz="1200" dirty="0">
                <a:solidFill>
                  <a:prstClr val="black"/>
                </a:solidFill>
                <a:latin typeface="Arial" panose="020B0604020202020204" pitchFamily="34" charset="0"/>
                <a:ea typeface="Arial Unicode MS" pitchFamily="34" charset="-128"/>
                <a:cs typeface="Arial" panose="020B0604020202020204" pitchFamily="34" charset="0"/>
              </a:endParaRPr>
            </a:p>
            <a:p>
              <a:pPr marL="0" lvl="1" algn="just" defTabSz="912330" eaLnBrk="0" hangingPunct="0">
                <a:lnSpc>
                  <a:spcPct val="105000"/>
                </a:lnSpc>
                <a:spcAft>
                  <a:spcPts val="200"/>
                </a:spcAft>
                <a:tabLst>
                  <a:tab pos="182467" algn="l"/>
                </a:tabLst>
              </a:pPr>
              <a:endParaRPr lang="en-US" sz="1200" b="1" dirty="0">
                <a:solidFill>
                  <a:prstClr val="black"/>
                </a:solidFill>
                <a:latin typeface="Arial" panose="020B0604020202020204" pitchFamily="34" charset="0"/>
                <a:ea typeface="Arial Unicode MS" pitchFamily="34" charset="-128"/>
                <a:cs typeface="Arial" panose="020B0604020202020204" pitchFamily="34" charset="0"/>
              </a:endParaRPr>
            </a:p>
          </p:txBody>
        </p:sp>
        <p:sp>
          <p:nvSpPr>
            <p:cNvPr id="33" name="Rectangle 32">
              <a:extLst>
                <a:ext uri="{FF2B5EF4-FFF2-40B4-BE49-F238E27FC236}">
                  <a16:creationId xmlns:a16="http://schemas.microsoft.com/office/drawing/2014/main" id="{05569388-B897-4BD6-8D58-AA7A34D718FF}"/>
                </a:ext>
              </a:extLst>
            </p:cNvPr>
            <p:cNvSpPr/>
            <p:nvPr/>
          </p:nvSpPr>
          <p:spPr>
            <a:xfrm>
              <a:off x="6244975" y="464057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180879" lvl="1" indent="-180879" algn="just" defTabSz="912330" eaLnBrk="0" hangingPunct="0">
                <a:lnSpc>
                  <a:spcPct val="105000"/>
                </a:lnSpc>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Borrower characteristics, geographical location (including competitive environment and local premium conventions), customer relationship with bank as evidenced by cross-products)</a:t>
              </a:r>
            </a:p>
            <a:p>
              <a:pPr marL="180879" lvl="1" indent="-180879" algn="just" defTabSz="912330" eaLnBrk="0" hangingPunct="0">
                <a:lnSpc>
                  <a:spcPct val="105000"/>
                </a:lnSpc>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Remaining maturity of the commitment, seasoning and remaining term of the mortgage </a:t>
              </a:r>
              <a:endParaRPr lang="en-GB" sz="1200" dirty="0">
                <a:solidFill>
                  <a:prstClr val="black"/>
                </a:solidFill>
                <a:latin typeface="Arial" panose="020B0604020202020204" pitchFamily="34" charset="0"/>
                <a:ea typeface="Arial Unicode MS" pitchFamily="34" charset="-128"/>
                <a:cs typeface="Arial" panose="020B0604020202020204" pitchFamily="34" charset="0"/>
              </a:endParaRPr>
            </a:p>
          </p:txBody>
        </p:sp>
        <p:sp>
          <p:nvSpPr>
            <p:cNvPr id="34" name="Rectangle 33">
              <a:extLst>
                <a:ext uri="{FF2B5EF4-FFF2-40B4-BE49-F238E27FC236}">
                  <a16:creationId xmlns:a16="http://schemas.microsoft.com/office/drawing/2014/main" id="{3EB9B913-4DF7-40A6-933E-593A8D2FBA01}"/>
                </a:ext>
              </a:extLst>
            </p:cNvPr>
            <p:cNvSpPr/>
            <p:nvPr/>
          </p:nvSpPr>
          <p:spPr>
            <a:xfrm>
              <a:off x="6270618" y="5818138"/>
              <a:ext cx="5540382" cy="956878"/>
            </a:xfrm>
            <a:prstGeom prst="rect">
              <a:avLst/>
            </a:prstGeom>
            <a:noFill/>
            <a:ln w="19050">
              <a:solidFill>
                <a:srgbClr val="BAAD8D"/>
              </a:solidFill>
              <a:prstDash val="sysDash"/>
              <a:miter lim="800000"/>
              <a:headEnd/>
              <a:tailEnd/>
            </a:ln>
          </p:spPr>
          <p:txBody>
            <a:bodyPr lIns="35979" tIns="35979" rIns="35979" bIns="35979" anchor="ctr"/>
            <a:lstStyle/>
            <a:p>
              <a:pPr marL="180879" lvl="1" indent="-180879" algn="just" defTabSz="912330" eaLnBrk="0" hangingPunct="0">
                <a:lnSpc>
                  <a:spcPct val="105000"/>
                </a:lnSpc>
                <a:spcAft>
                  <a:spcPts val="200"/>
                </a:spcAft>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Responsiveness of product rates to changes in market interest rates, spread between a bank’s offer rate and market rate, competition from other firms, geographical location and demographical factors </a:t>
              </a:r>
            </a:p>
            <a:p>
              <a:pPr marL="180879" lvl="1" indent="-180879" algn="just" defTabSz="912330" eaLnBrk="0" hangingPunct="0">
                <a:lnSpc>
                  <a:spcPct val="105000"/>
                </a:lnSpc>
                <a:buFont typeface="Wingdings" panose="05000000000000000000" pitchFamily="2" charset="2"/>
                <a:buChar char="§"/>
                <a:tabLst>
                  <a:tab pos="182467" algn="l"/>
                </a:tabLst>
              </a:pPr>
              <a:r>
                <a:rPr lang="en-US" sz="1200" dirty="0">
                  <a:solidFill>
                    <a:prstClr val="black"/>
                  </a:solidFill>
                  <a:latin typeface="Arial" panose="020B0604020202020204" pitchFamily="34" charset="0"/>
                  <a:ea typeface="Arial Unicode MS" pitchFamily="34" charset="-128"/>
                  <a:cs typeface="Arial" panose="020B0604020202020204" pitchFamily="34" charset="0"/>
                </a:rPr>
                <a:t>Depositor characteristics (e.g. retail/wholesale) and account characteristics (e.g. transactional/non-transactional).</a:t>
              </a:r>
            </a:p>
          </p:txBody>
        </p:sp>
      </p:grpSp>
      <p:grpSp>
        <p:nvGrpSpPr>
          <p:cNvPr id="5" name="Group 4">
            <a:extLst>
              <a:ext uri="{FF2B5EF4-FFF2-40B4-BE49-F238E27FC236}">
                <a16:creationId xmlns:a16="http://schemas.microsoft.com/office/drawing/2014/main" id="{31F94F93-32C2-49BD-816C-F9C7FF2DBABB}"/>
              </a:ext>
            </a:extLst>
          </p:cNvPr>
          <p:cNvGrpSpPr/>
          <p:nvPr/>
        </p:nvGrpSpPr>
        <p:grpSpPr>
          <a:xfrm>
            <a:off x="1908664" y="2017657"/>
            <a:ext cx="1444136" cy="4758165"/>
            <a:chOff x="1908664" y="2017657"/>
            <a:chExt cx="2025298" cy="4758165"/>
          </a:xfrm>
        </p:grpSpPr>
        <p:sp>
          <p:nvSpPr>
            <p:cNvPr id="28" name="Pentagon 49">
              <a:extLst>
                <a:ext uri="{FF2B5EF4-FFF2-40B4-BE49-F238E27FC236}">
                  <a16:creationId xmlns:a16="http://schemas.microsoft.com/office/drawing/2014/main" id="{7F475DF0-7AA3-4914-856C-D0AB929E7BA0}"/>
                </a:ext>
              </a:extLst>
            </p:cNvPr>
            <p:cNvSpPr/>
            <p:nvPr/>
          </p:nvSpPr>
          <p:spPr>
            <a:xfrm>
              <a:off x="1908664" y="2017657"/>
              <a:ext cx="1993988" cy="259862"/>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rPr>
                <a:t>Risk Category</a:t>
              </a:r>
            </a:p>
          </p:txBody>
        </p:sp>
        <p:sp>
          <p:nvSpPr>
            <p:cNvPr id="29" name="Pentagon 57">
              <a:extLst>
                <a:ext uri="{FF2B5EF4-FFF2-40B4-BE49-F238E27FC236}">
                  <a16:creationId xmlns:a16="http://schemas.microsoft.com/office/drawing/2014/main" id="{25B0E15A-92A1-44CA-867F-2C41AF9329E3}"/>
                </a:ext>
              </a:extLst>
            </p:cNvPr>
            <p:cNvSpPr/>
            <p:nvPr/>
          </p:nvSpPr>
          <p:spPr>
            <a:xfrm>
              <a:off x="1939975" y="4640315"/>
              <a:ext cx="1977523"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Drawdown </a:t>
              </a:r>
            </a:p>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risk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5" name="Pentagon 57">
              <a:extLst>
                <a:ext uri="{FF2B5EF4-FFF2-40B4-BE49-F238E27FC236}">
                  <a16:creationId xmlns:a16="http://schemas.microsoft.com/office/drawing/2014/main" id="{AB62D678-FC2B-4331-88A8-F12D5BC3BDF4}"/>
                </a:ext>
              </a:extLst>
            </p:cNvPr>
            <p:cNvSpPr/>
            <p:nvPr/>
          </p:nvSpPr>
          <p:spPr>
            <a:xfrm>
              <a:off x="1939975" y="5817875"/>
              <a:ext cx="1993987"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NMD </a:t>
              </a: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Volatility risk </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6" name="Pentagon 45">
              <a:extLst>
                <a:ext uri="{FF2B5EF4-FFF2-40B4-BE49-F238E27FC236}">
                  <a16:creationId xmlns:a16="http://schemas.microsoft.com/office/drawing/2014/main" id="{D7936069-93BF-4B35-A556-0399608C8F89}"/>
                </a:ext>
              </a:extLst>
            </p:cNvPr>
            <p:cNvSpPr/>
            <p:nvPr/>
          </p:nvSpPr>
          <p:spPr>
            <a:xfrm>
              <a:off x="1923511" y="2370770"/>
              <a:ext cx="1993988" cy="957948"/>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Prepayment </a:t>
              </a: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risk </a:t>
              </a:r>
            </a:p>
          </p:txBody>
        </p:sp>
        <p:sp>
          <p:nvSpPr>
            <p:cNvPr id="37" name="Pentagon 53">
              <a:extLst>
                <a:ext uri="{FF2B5EF4-FFF2-40B4-BE49-F238E27FC236}">
                  <a16:creationId xmlns:a16="http://schemas.microsoft.com/office/drawing/2014/main" id="{A99768FA-CAB8-4D3D-B39E-7D79336E1386}"/>
                </a:ext>
              </a:extLst>
            </p:cNvPr>
            <p:cNvSpPr/>
            <p:nvPr/>
          </p:nvSpPr>
          <p:spPr>
            <a:xfrm>
              <a:off x="1923511" y="3494345"/>
              <a:ext cx="1993988" cy="957947"/>
            </a:xfrm>
            <a:prstGeom prst="homePlate">
              <a:avLst>
                <a:gd name="adj" fmla="val 0"/>
              </a:avLst>
            </a:prstGeom>
            <a:solidFill>
              <a:srgbClr val="F9F8E4"/>
            </a:solidFill>
            <a:ln w="19050" algn="ctr">
              <a:solidFill>
                <a:sysClr val="window" lastClr="FFFFFF"/>
              </a:solidFill>
              <a:miter lim="800000"/>
              <a:headEnd/>
              <a:tailEnd/>
            </a:ln>
            <a:effectLst>
              <a:softEdge rad="12700"/>
            </a:effectLst>
          </p:spPr>
          <p:txBody>
            <a:bodyPr lIns="91392" tIns="45696" rIns="91392" bIns="45696" anchor="ctr"/>
            <a:lstStyle/>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Early redemption </a:t>
              </a:r>
            </a:p>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risk </a:t>
              </a:r>
            </a:p>
          </p:txBody>
        </p:sp>
      </p:grpSp>
      <p:grpSp>
        <p:nvGrpSpPr>
          <p:cNvPr id="9" name="Group 8">
            <a:extLst>
              <a:ext uri="{FF2B5EF4-FFF2-40B4-BE49-F238E27FC236}">
                <a16:creationId xmlns:a16="http://schemas.microsoft.com/office/drawing/2014/main" id="{9460EDB5-6F23-40F7-B025-0A07EEF58CC6}"/>
              </a:ext>
            </a:extLst>
          </p:cNvPr>
          <p:cNvGrpSpPr/>
          <p:nvPr/>
        </p:nvGrpSpPr>
        <p:grpSpPr>
          <a:xfrm>
            <a:off x="3451368" y="2016850"/>
            <a:ext cx="1806432" cy="4758165"/>
            <a:chOff x="3451368" y="2016850"/>
            <a:chExt cx="1615047" cy="4758165"/>
          </a:xfrm>
        </p:grpSpPr>
        <p:sp>
          <p:nvSpPr>
            <p:cNvPr id="42" name="Pentagon 49">
              <a:extLst>
                <a:ext uri="{FF2B5EF4-FFF2-40B4-BE49-F238E27FC236}">
                  <a16:creationId xmlns:a16="http://schemas.microsoft.com/office/drawing/2014/main" id="{40DB8F5E-CBB5-4F68-88C1-57DCF7DAA2DF}"/>
                </a:ext>
              </a:extLst>
            </p:cNvPr>
            <p:cNvSpPr/>
            <p:nvPr/>
          </p:nvSpPr>
          <p:spPr>
            <a:xfrm>
              <a:off x="3451368" y="2016850"/>
              <a:ext cx="1590079" cy="259862"/>
            </a:xfrm>
            <a:prstGeom prst="homePlate">
              <a:avLst>
                <a:gd name="adj" fmla="val 0"/>
              </a:avLst>
            </a:prstGeom>
            <a:solidFill>
              <a:sysClr val="windowText" lastClr="000000"/>
            </a:solidFill>
            <a:ln w="19050" algn="ctr">
              <a:solidFill>
                <a:sysClr val="window" lastClr="FFFFFF"/>
              </a:solidFill>
              <a:miter lim="800000"/>
              <a:headEnd/>
              <a:tailEnd/>
            </a:ln>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white"/>
                  </a:solidFill>
                  <a:latin typeface="Arial" panose="020B0604020202020204" pitchFamily="34" charset="0"/>
                  <a:ea typeface="Arial Unicode MS" pitchFamily="34" charset="-128"/>
                  <a:cs typeface="Arial" panose="020B0604020202020204" pitchFamily="34" charset="0"/>
                </a:rPr>
                <a:t>Product Coverage</a:t>
              </a:r>
              <a:endParaRPr kumimoji="0" lang="en-GB" altLang="en-US" sz="1200" b="1" i="0" u="none" strike="noStrike" kern="0" cap="none" spc="0" normalizeH="0" baseline="0" noProof="0" dirty="0">
                <a:ln>
                  <a:noFill/>
                </a:ln>
                <a:solidFill>
                  <a:prstClr val="white"/>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3" name="Pentagon 57">
              <a:extLst>
                <a:ext uri="{FF2B5EF4-FFF2-40B4-BE49-F238E27FC236}">
                  <a16:creationId xmlns:a16="http://schemas.microsoft.com/office/drawing/2014/main" id="{50F0733B-E82C-4B07-A2F0-0D09BEA75D47}"/>
                </a:ext>
              </a:extLst>
            </p:cNvPr>
            <p:cNvSpPr/>
            <p:nvPr/>
          </p:nvSpPr>
          <p:spPr>
            <a:xfrm>
              <a:off x="3476337" y="4639508"/>
              <a:ext cx="1576949"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lvl="0" algn="ctr" defTabSz="831410">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Committed and undrawn lines of credit</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4" name="Pentagon 57">
              <a:extLst>
                <a:ext uri="{FF2B5EF4-FFF2-40B4-BE49-F238E27FC236}">
                  <a16:creationId xmlns:a16="http://schemas.microsoft.com/office/drawing/2014/main" id="{65A54F44-5F32-4A03-80A8-0BE35215D108}"/>
                </a:ext>
              </a:extLst>
            </p:cNvPr>
            <p:cNvSpPr/>
            <p:nvPr/>
          </p:nvSpPr>
          <p:spPr>
            <a:xfrm>
              <a:off x="3476337" y="5817068"/>
              <a:ext cx="1590078"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rPr>
                <a:t>Non-Maturity Deposits (NMDs)</a:t>
              </a: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a:p>
              <a:pPr marL="0" marR="0" lvl="0" indent="0" algn="ctr" defTabSz="831410" eaLnBrk="1" fontAlgn="auto" latinLnBrk="0" hangingPunct="1">
                <a:lnSpc>
                  <a:spcPct val="100000"/>
                </a:lnSpc>
                <a:spcBef>
                  <a:spcPts val="0"/>
                </a:spcBef>
                <a:spcAft>
                  <a:spcPts val="0"/>
                </a:spcAft>
                <a:buClrTx/>
                <a:buSzTx/>
                <a:buFontTx/>
                <a:buNone/>
                <a:tabLst/>
                <a:defRPr/>
              </a:pP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5" name="Pentagon 45">
              <a:extLst>
                <a:ext uri="{FF2B5EF4-FFF2-40B4-BE49-F238E27FC236}">
                  <a16:creationId xmlns:a16="http://schemas.microsoft.com/office/drawing/2014/main" id="{91646A1E-193D-4EDB-B543-45868479A0D5}"/>
                </a:ext>
              </a:extLst>
            </p:cNvPr>
            <p:cNvSpPr/>
            <p:nvPr/>
          </p:nvSpPr>
          <p:spPr>
            <a:xfrm>
              <a:off x="3463208" y="2369963"/>
              <a:ext cx="1590079" cy="957948"/>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Fixed rate loans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46" name="Pentagon 53">
              <a:extLst>
                <a:ext uri="{FF2B5EF4-FFF2-40B4-BE49-F238E27FC236}">
                  <a16:creationId xmlns:a16="http://schemas.microsoft.com/office/drawing/2014/main" id="{1D8D0AE4-5631-4D6C-A939-B9B4CE04D8C8}"/>
                </a:ext>
              </a:extLst>
            </p:cNvPr>
            <p:cNvSpPr/>
            <p:nvPr/>
          </p:nvSpPr>
          <p:spPr>
            <a:xfrm>
              <a:off x="3463208" y="3493538"/>
              <a:ext cx="1590079" cy="957947"/>
            </a:xfrm>
            <a:prstGeom prst="homePlate">
              <a:avLst>
                <a:gd name="adj" fmla="val 0"/>
              </a:avLst>
            </a:prstGeom>
            <a:solidFill>
              <a:schemeClr val="bg1">
                <a:lumMod val="95000"/>
              </a:schemeClr>
            </a:solidFill>
            <a:ln w="19050" algn="ctr">
              <a:solidFill>
                <a:sysClr val="window" lastClr="FFFFFF"/>
              </a:solidFill>
              <a:miter lim="800000"/>
              <a:headEnd/>
              <a:tailEnd/>
            </a:ln>
            <a:effectLst>
              <a:softEdge rad="12700"/>
            </a:effectLst>
          </p:spPr>
          <p:txBody>
            <a:bodyPr lIns="91392" tIns="45696" rIns="91392" bIns="45696" anchor="ctr"/>
            <a:lstStyle/>
            <a:p>
              <a:pPr marL="0" marR="0" lvl="0" indent="0" algn="ctr" defTabSz="831410" eaLnBrk="1" fontAlgn="auto" latinLnBrk="0" hangingPunct="1">
                <a:lnSpc>
                  <a:spcPct val="100000"/>
                </a:lnSpc>
                <a:spcBef>
                  <a:spcPts val="0"/>
                </a:spcBef>
                <a:spcAft>
                  <a:spcPts val="0"/>
                </a:spcAft>
                <a:buClrTx/>
                <a:buSzTx/>
                <a:buFontTx/>
                <a:buNone/>
                <a:tabLst/>
                <a:defRPr/>
              </a:pPr>
              <a:r>
                <a:rPr lang="en-GB" altLang="en-US" sz="1200" b="1" kern="0" dirty="0">
                  <a:solidFill>
                    <a:prstClr val="black"/>
                  </a:solidFill>
                  <a:latin typeface="Arial" panose="020B0604020202020204" pitchFamily="34" charset="0"/>
                  <a:ea typeface="Arial Unicode MS" pitchFamily="34" charset="-128"/>
                  <a:cs typeface="Arial" panose="020B0604020202020204" pitchFamily="34" charset="0"/>
                </a:rPr>
                <a:t>Fixed term deposits </a:t>
              </a:r>
              <a:endParaRPr kumimoji="0" lang="en-GB" altLang="en-US" sz="1200" b="1" i="0" u="none" strike="noStrike" kern="0" cap="none" spc="0" normalizeH="0" baseline="0" noProof="0" dirty="0">
                <a:ln>
                  <a:noFill/>
                </a:ln>
                <a:solidFill>
                  <a:prstClr val="black"/>
                </a:solidFill>
                <a:effectLst/>
                <a:uLnTx/>
                <a:uFillTx/>
                <a:latin typeface="Arial" panose="020B0604020202020204" pitchFamily="34" charset="0"/>
                <a:ea typeface="Arial Unicode MS" pitchFamily="34" charset="-128"/>
                <a:cs typeface="Arial" panose="020B0604020202020204" pitchFamily="34" charset="0"/>
              </a:endParaRPr>
            </a:p>
          </p:txBody>
        </p:sp>
      </p:grpSp>
    </p:spTree>
    <p:extLst>
      <p:ext uri="{BB962C8B-B14F-4D97-AF65-F5344CB8AC3E}">
        <p14:creationId xmlns:p14="http://schemas.microsoft.com/office/powerpoint/2010/main" val="34711073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52600" y="142096"/>
            <a:ext cx="10100681"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3: IRRBB Stress Testing: Standardized Scenarios</a:t>
            </a:r>
          </a:p>
        </p:txBody>
      </p:sp>
      <p:sp>
        <p:nvSpPr>
          <p:cNvPr id="50" name="TextBox 19">
            <a:extLst>
              <a:ext uri="{FF2B5EF4-FFF2-40B4-BE49-F238E27FC236}">
                <a16:creationId xmlns:a16="http://schemas.microsoft.com/office/drawing/2014/main" id="{B717427A-3B5C-4D04-940C-F96C0201DD57}"/>
              </a:ext>
            </a:extLst>
          </p:cNvPr>
          <p:cNvSpPr txBox="1">
            <a:spLocks noChangeArrowheads="1"/>
          </p:cNvSpPr>
          <p:nvPr/>
        </p:nvSpPr>
        <p:spPr bwMode="auto">
          <a:xfrm>
            <a:off x="1898914" y="865575"/>
            <a:ext cx="8811839" cy="963225"/>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defPPr>
              <a:defRPr lang="en-US"/>
            </a:defPPr>
            <a:lvl1pPr marR="0" lvl="0" indent="0" algn="ctr" defTabSz="457200" fontAlgn="auto">
              <a:lnSpc>
                <a:spcPct val="106000"/>
              </a:lnSpc>
              <a:spcBef>
                <a:spcPts val="0"/>
              </a:spcBef>
              <a:spcAft>
                <a:spcPts val="0"/>
              </a:spcAft>
              <a:buClrTx/>
              <a:buSzTx/>
              <a:buFont typeface="Wingdings 2" pitchFamily="18" charset="2"/>
              <a:buNone/>
              <a:tabLst/>
              <a:defRPr kumimoji="0"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lgn="just" defTabSz="914400">
              <a:spcAft>
                <a:spcPts val="600"/>
              </a:spcAft>
              <a:defRPr/>
            </a:pPr>
            <a:r>
              <a:rPr lang="en-US" i="1" dirty="0">
                <a:solidFill>
                  <a:srgbClr val="44546A"/>
                </a:solidFill>
              </a:rPr>
              <a:t>Banks are expected to calculate impact on economic value and earnings across multiple interest rate scenarios. These scenarios should be a combination of: </a:t>
            </a:r>
          </a:p>
          <a:p>
            <a:pPr marL="171450" indent="-171450" algn="just" defTabSz="914400">
              <a:buFont typeface="Wingdings" panose="05000000000000000000" pitchFamily="2" charset="2"/>
              <a:buChar char="§"/>
              <a:defRPr/>
            </a:pPr>
            <a:r>
              <a:rPr lang="en-US" i="1" dirty="0">
                <a:solidFill>
                  <a:srgbClr val="44546A"/>
                </a:solidFill>
              </a:rPr>
              <a:t>6 supervisory interest rate shock scenarios prescribed by BCBS (Standardized shock scenarios)</a:t>
            </a:r>
          </a:p>
          <a:p>
            <a:pPr marL="171450" indent="-171450" algn="just" defTabSz="914400">
              <a:buFont typeface="Wingdings" panose="05000000000000000000" pitchFamily="2" charset="2"/>
              <a:buChar char="§"/>
              <a:defRPr/>
            </a:pPr>
            <a:r>
              <a:rPr lang="en-US" i="1" dirty="0">
                <a:solidFill>
                  <a:srgbClr val="44546A"/>
                </a:solidFill>
              </a:rPr>
              <a:t>Internally selected interest rate shock scenarios addressing the bank’s risk profile (ICAAP)</a:t>
            </a:r>
          </a:p>
        </p:txBody>
      </p:sp>
      <p:sp>
        <p:nvSpPr>
          <p:cNvPr id="66" name="Rectangle 65">
            <a:extLst>
              <a:ext uri="{FF2B5EF4-FFF2-40B4-BE49-F238E27FC236}">
                <a16:creationId xmlns:a16="http://schemas.microsoft.com/office/drawing/2014/main" id="{8A75C82D-1106-40F1-87E0-69CEB56E22AB}"/>
              </a:ext>
            </a:extLst>
          </p:cNvPr>
          <p:cNvSpPr>
            <a:spLocks noChangeArrowheads="1"/>
          </p:cNvSpPr>
          <p:nvPr/>
        </p:nvSpPr>
        <p:spPr bwMode="auto">
          <a:xfrm>
            <a:off x="1898914" y="1956658"/>
            <a:ext cx="10083032" cy="288412"/>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Arial" panose="020B0604020202020204" pitchFamily="34" charset="0"/>
                <a:ea typeface="Times New Roman"/>
                <a:cs typeface="Arial" panose="020B0604020202020204" pitchFamily="34" charset="0"/>
              </a:rPr>
              <a:t>Standardized Shock Scenarios</a:t>
            </a:r>
            <a:endParaRPr kumimoji="0" lang="en-GB" sz="1400" b="1" i="0" u="none" strike="noStrike" kern="0" cap="none" spc="0" normalizeH="0" baseline="0" noProof="0" dirty="0">
              <a:ln>
                <a:noFill/>
              </a:ln>
              <a:solidFill>
                <a:schemeClr val="bg1"/>
              </a:solidFill>
              <a:effectLst/>
              <a:uLnTx/>
              <a:uFillTx/>
              <a:latin typeface="Arial" panose="020B0604020202020204" pitchFamily="34" charset="0"/>
              <a:ea typeface="Times New Roman"/>
              <a:cs typeface="Arial" panose="020B0604020202020204" pitchFamily="34" charset="0"/>
            </a:endParaRPr>
          </a:p>
        </p:txBody>
      </p:sp>
      <p:sp>
        <p:nvSpPr>
          <p:cNvPr id="71" name="TextBox 19">
            <a:extLst>
              <a:ext uri="{FF2B5EF4-FFF2-40B4-BE49-F238E27FC236}">
                <a16:creationId xmlns:a16="http://schemas.microsoft.com/office/drawing/2014/main" id="{DE02AF69-13F4-4282-AC0F-A52598163951}"/>
              </a:ext>
            </a:extLst>
          </p:cNvPr>
          <p:cNvSpPr txBox="1">
            <a:spLocks noChangeArrowheads="1"/>
          </p:cNvSpPr>
          <p:nvPr/>
        </p:nvSpPr>
        <p:spPr bwMode="auto">
          <a:xfrm>
            <a:off x="7620000" y="2335715"/>
            <a:ext cx="4361946" cy="1713229"/>
          </a:xfrm>
          <a:prstGeom prst="rect">
            <a:avLst/>
          </a:prstGeom>
          <a:noFill/>
          <a:ln w="19050">
            <a:solidFill>
              <a:srgbClr val="B58D2B"/>
            </a:solidFill>
            <a:miter lim="800000"/>
            <a:headEnd/>
            <a:tailEnd/>
          </a:ln>
        </p:spPr>
        <p:txBody>
          <a:bodyPr wrap="square" lIns="91379" tIns="45690" rIns="91379" bIns="45690">
            <a:spAutoFit/>
          </a:bodyPr>
          <a:lstStyle/>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 Parallel shock up</a:t>
            </a:r>
          </a:p>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 Parallel shock down</a:t>
            </a:r>
          </a:p>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eepener</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hock (short rates down and long rates up)</a:t>
            </a:r>
          </a:p>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 Flattener shock (short rates up and long rates down)</a:t>
            </a:r>
          </a:p>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 Short rates shock up</a:t>
            </a:r>
          </a:p>
          <a:p>
            <a:pPr marL="0" marR="0" lvl="0" indent="0" algn="just" defTabSz="914400" eaLnBrk="1" fontAlgn="auto" latinLnBrk="0" hangingPunct="1">
              <a:lnSpc>
                <a:spcPct val="100000"/>
              </a:lnSpc>
              <a:spcBef>
                <a:spcPts val="0"/>
              </a:spcBef>
              <a:spcAft>
                <a:spcPts val="80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 Short rates shock down</a:t>
            </a:r>
          </a:p>
        </p:txBody>
      </p:sp>
      <p:sp>
        <p:nvSpPr>
          <p:cNvPr id="75" name="TextBox 19">
            <a:extLst>
              <a:ext uri="{FF2B5EF4-FFF2-40B4-BE49-F238E27FC236}">
                <a16:creationId xmlns:a16="http://schemas.microsoft.com/office/drawing/2014/main" id="{13BC00E0-10CD-49A3-B029-B5AE0DB0786B}"/>
              </a:ext>
            </a:extLst>
          </p:cNvPr>
          <p:cNvSpPr txBox="1">
            <a:spLocks noChangeArrowheads="1"/>
          </p:cNvSpPr>
          <p:nvPr/>
        </p:nvSpPr>
        <p:spPr bwMode="auto">
          <a:xfrm>
            <a:off x="1898914" y="2335715"/>
            <a:ext cx="5187686" cy="1779085"/>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defPPr>
              <a:defRPr lang="en-US"/>
            </a:defPPr>
            <a:lvl1pPr marR="0" lvl="0" indent="0" algn="ctr" defTabSz="457200" fontAlgn="auto">
              <a:lnSpc>
                <a:spcPct val="106000"/>
              </a:lnSpc>
              <a:spcBef>
                <a:spcPts val="0"/>
              </a:spcBef>
              <a:spcAft>
                <a:spcPts val="0"/>
              </a:spcAft>
              <a:buClrTx/>
              <a:buSzTx/>
              <a:buFont typeface="Wingdings 2" pitchFamily="18" charset="2"/>
              <a:buNone/>
              <a:tabLst/>
              <a:defRPr kumimoji="0"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marL="171450" indent="-171450" algn="l">
              <a:buFont typeface="Wingdings" panose="05000000000000000000" pitchFamily="2" charset="2"/>
              <a:buChar char="§"/>
            </a:pPr>
            <a:r>
              <a:rPr lang="en-US" b="0" dirty="0">
                <a:solidFill>
                  <a:schemeClr val="tx1"/>
                </a:solidFill>
              </a:rPr>
              <a:t>BCBS has prescribed six interest rate shock scenarios to capture parallel and non-parallel gap risks. </a:t>
            </a:r>
          </a:p>
          <a:p>
            <a:pPr marL="171450" indent="-171450" algn="l">
              <a:buFont typeface="Wingdings" panose="05000000000000000000" pitchFamily="2" charset="2"/>
              <a:buChar char="§"/>
            </a:pPr>
            <a:r>
              <a:rPr lang="en-US" b="0" dirty="0">
                <a:solidFill>
                  <a:schemeClr val="tx1"/>
                </a:solidFill>
              </a:rPr>
              <a:t>These scenarios are applied to IRRBB exposures in each currency for which the bank has material positions. </a:t>
            </a:r>
          </a:p>
          <a:p>
            <a:pPr marL="171450" indent="-171450" algn="l">
              <a:buFont typeface="Wingdings" panose="05000000000000000000" pitchFamily="2" charset="2"/>
              <a:buChar char="§"/>
            </a:pPr>
            <a:r>
              <a:rPr lang="en-US" b="0" dirty="0">
                <a:solidFill>
                  <a:schemeClr val="tx1"/>
                </a:solidFill>
              </a:rPr>
              <a:t>In order to accommodate heterogeneous  economic environments across jurisdictions, the six shock scenarios reflect currency-specific absolute shocks as specified in </a:t>
            </a:r>
            <a:r>
              <a:rPr lang="en-US" dirty="0">
                <a:solidFill>
                  <a:schemeClr val="tx1"/>
                </a:solidFill>
              </a:rPr>
              <a:t>Table 1 </a:t>
            </a:r>
            <a:r>
              <a:rPr lang="en-US" b="0" dirty="0">
                <a:solidFill>
                  <a:schemeClr val="tx1"/>
                </a:solidFill>
              </a:rPr>
              <a:t>below. </a:t>
            </a:r>
          </a:p>
        </p:txBody>
      </p:sp>
      <p:sp>
        <p:nvSpPr>
          <p:cNvPr id="78" name="Isosceles Triangle 77">
            <a:extLst>
              <a:ext uri="{FF2B5EF4-FFF2-40B4-BE49-F238E27FC236}">
                <a16:creationId xmlns:a16="http://schemas.microsoft.com/office/drawing/2014/main" id="{8770DC8E-7D0F-44A3-9EEC-9353BE1E1D7A}"/>
              </a:ext>
            </a:extLst>
          </p:cNvPr>
          <p:cNvSpPr/>
          <p:nvPr/>
        </p:nvSpPr>
        <p:spPr bwMode="gray">
          <a:xfrm rot="5400000">
            <a:off x="6806698" y="3128801"/>
            <a:ext cx="1117890" cy="149330"/>
          </a:xfrm>
          <a:prstGeom prst="triangle">
            <a:avLst/>
          </a:prstGeom>
          <a:solidFill>
            <a:schemeClr val="tx1"/>
          </a:solidFill>
          <a:ln w="25400" cap="flat" cmpd="sng" algn="ctr">
            <a:noFill/>
            <a:prstDash val="lgDash"/>
          </a:ln>
          <a:effectLst/>
        </p:spPr>
        <p:txBody>
          <a:bodyPr rtlCol="0" anchor="ctr"/>
          <a:lstStyle/>
          <a:p>
            <a:pPr algn="ctr" defTabSz="914293"/>
            <a:endParaRPr lang="en-IN" sz="1000" b="1" kern="0" dirty="0">
              <a:solidFill>
                <a:schemeClr val="bg1"/>
              </a:solidFill>
              <a:latin typeface="Arial" panose="020B0604020202020204" pitchFamily="34" charset="0"/>
              <a:cs typeface="Arial" panose="020B0604020202020204" pitchFamily="34" charset="0"/>
            </a:endParaRPr>
          </a:p>
        </p:txBody>
      </p:sp>
      <p:graphicFrame>
        <p:nvGraphicFramePr>
          <p:cNvPr id="79" name="Table 78">
            <a:extLst>
              <a:ext uri="{FF2B5EF4-FFF2-40B4-BE49-F238E27FC236}">
                <a16:creationId xmlns:a16="http://schemas.microsoft.com/office/drawing/2014/main" id="{0FE1F9AC-35D7-42FD-8C39-ADB9A1EEAC57}"/>
              </a:ext>
            </a:extLst>
          </p:cNvPr>
          <p:cNvGraphicFramePr>
            <a:graphicFrameLocks noGrp="1"/>
          </p:cNvGraphicFramePr>
          <p:nvPr>
            <p:extLst>
              <p:ext uri="{D42A27DB-BD31-4B8C-83A1-F6EECF244321}">
                <p14:modId xmlns:p14="http://schemas.microsoft.com/office/powerpoint/2010/main" val="592745276"/>
              </p:ext>
            </p:extLst>
          </p:nvPr>
        </p:nvGraphicFramePr>
        <p:xfrm>
          <a:off x="1898914" y="4605429"/>
          <a:ext cx="10083036" cy="1085865"/>
        </p:xfrm>
        <a:graphic>
          <a:graphicData uri="http://schemas.openxmlformats.org/drawingml/2006/table">
            <a:tbl>
              <a:tblPr>
                <a:tableStyleId>{5C22544A-7EE6-4342-B048-85BDC9FD1C3A}</a:tableStyleId>
              </a:tblPr>
              <a:tblGrid>
                <a:gridCol w="840253">
                  <a:extLst>
                    <a:ext uri="{9D8B030D-6E8A-4147-A177-3AD203B41FA5}">
                      <a16:colId xmlns:a16="http://schemas.microsoft.com/office/drawing/2014/main" val="20000"/>
                    </a:ext>
                  </a:extLst>
                </a:gridCol>
                <a:gridCol w="840253">
                  <a:extLst>
                    <a:ext uri="{9D8B030D-6E8A-4147-A177-3AD203B41FA5}">
                      <a16:colId xmlns:a16="http://schemas.microsoft.com/office/drawing/2014/main" val="20001"/>
                    </a:ext>
                  </a:extLst>
                </a:gridCol>
                <a:gridCol w="840253">
                  <a:extLst>
                    <a:ext uri="{9D8B030D-6E8A-4147-A177-3AD203B41FA5}">
                      <a16:colId xmlns:a16="http://schemas.microsoft.com/office/drawing/2014/main" val="20002"/>
                    </a:ext>
                  </a:extLst>
                </a:gridCol>
                <a:gridCol w="840253">
                  <a:extLst>
                    <a:ext uri="{9D8B030D-6E8A-4147-A177-3AD203B41FA5}">
                      <a16:colId xmlns:a16="http://schemas.microsoft.com/office/drawing/2014/main" val="20003"/>
                    </a:ext>
                  </a:extLst>
                </a:gridCol>
                <a:gridCol w="840253">
                  <a:extLst>
                    <a:ext uri="{9D8B030D-6E8A-4147-A177-3AD203B41FA5}">
                      <a16:colId xmlns:a16="http://schemas.microsoft.com/office/drawing/2014/main" val="20004"/>
                    </a:ext>
                  </a:extLst>
                </a:gridCol>
                <a:gridCol w="840253">
                  <a:extLst>
                    <a:ext uri="{9D8B030D-6E8A-4147-A177-3AD203B41FA5}">
                      <a16:colId xmlns:a16="http://schemas.microsoft.com/office/drawing/2014/main" val="20005"/>
                    </a:ext>
                  </a:extLst>
                </a:gridCol>
                <a:gridCol w="840253">
                  <a:extLst>
                    <a:ext uri="{9D8B030D-6E8A-4147-A177-3AD203B41FA5}">
                      <a16:colId xmlns:a16="http://schemas.microsoft.com/office/drawing/2014/main" val="20006"/>
                    </a:ext>
                  </a:extLst>
                </a:gridCol>
                <a:gridCol w="840253">
                  <a:extLst>
                    <a:ext uri="{9D8B030D-6E8A-4147-A177-3AD203B41FA5}">
                      <a16:colId xmlns:a16="http://schemas.microsoft.com/office/drawing/2014/main" val="20007"/>
                    </a:ext>
                  </a:extLst>
                </a:gridCol>
                <a:gridCol w="840253">
                  <a:extLst>
                    <a:ext uri="{9D8B030D-6E8A-4147-A177-3AD203B41FA5}">
                      <a16:colId xmlns:a16="http://schemas.microsoft.com/office/drawing/2014/main" val="20008"/>
                    </a:ext>
                  </a:extLst>
                </a:gridCol>
                <a:gridCol w="840253">
                  <a:extLst>
                    <a:ext uri="{9D8B030D-6E8A-4147-A177-3AD203B41FA5}">
                      <a16:colId xmlns:a16="http://schemas.microsoft.com/office/drawing/2014/main" val="20009"/>
                    </a:ext>
                  </a:extLst>
                </a:gridCol>
                <a:gridCol w="840253">
                  <a:extLst>
                    <a:ext uri="{9D8B030D-6E8A-4147-A177-3AD203B41FA5}">
                      <a16:colId xmlns:a16="http://schemas.microsoft.com/office/drawing/2014/main" val="20010"/>
                    </a:ext>
                  </a:extLst>
                </a:gridCol>
                <a:gridCol w="840253">
                  <a:extLst>
                    <a:ext uri="{9D8B030D-6E8A-4147-A177-3AD203B41FA5}">
                      <a16:colId xmlns:a16="http://schemas.microsoft.com/office/drawing/2014/main" val="20011"/>
                    </a:ext>
                  </a:extLst>
                </a:gridCol>
              </a:tblGrid>
              <a:tr h="217173">
                <a:tc gridSpan="12">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Table 1. Specified size of interest rate shocks</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7173">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Currenc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ARS</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AU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BRL</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CA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CHF</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CN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EUR</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GBP</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HK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IDR</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INR</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7173">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Paralle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7173">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Shor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4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7173">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Lo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80" name="Table 79">
            <a:extLst>
              <a:ext uri="{FF2B5EF4-FFF2-40B4-BE49-F238E27FC236}">
                <a16:creationId xmlns:a16="http://schemas.microsoft.com/office/drawing/2014/main" id="{C7512D2C-6701-47EC-9A3F-6183A6992ACA}"/>
              </a:ext>
            </a:extLst>
          </p:cNvPr>
          <p:cNvGraphicFramePr>
            <a:graphicFrameLocks noGrp="1"/>
          </p:cNvGraphicFramePr>
          <p:nvPr>
            <p:extLst>
              <p:ext uri="{D42A27DB-BD31-4B8C-83A1-F6EECF244321}">
                <p14:modId xmlns:p14="http://schemas.microsoft.com/office/powerpoint/2010/main" val="2357642980"/>
              </p:ext>
            </p:extLst>
          </p:nvPr>
        </p:nvGraphicFramePr>
        <p:xfrm>
          <a:off x="1898907" y="5867400"/>
          <a:ext cx="10083029" cy="848504"/>
        </p:xfrm>
        <a:graphic>
          <a:graphicData uri="http://schemas.openxmlformats.org/drawingml/2006/table">
            <a:tbl>
              <a:tblPr>
                <a:tableStyleId>{5C22544A-7EE6-4342-B048-85BDC9FD1C3A}</a:tableStyleId>
              </a:tblPr>
              <a:tblGrid>
                <a:gridCol w="916639">
                  <a:extLst>
                    <a:ext uri="{9D8B030D-6E8A-4147-A177-3AD203B41FA5}">
                      <a16:colId xmlns:a16="http://schemas.microsoft.com/office/drawing/2014/main" val="20000"/>
                    </a:ext>
                  </a:extLst>
                </a:gridCol>
                <a:gridCol w="916639">
                  <a:extLst>
                    <a:ext uri="{9D8B030D-6E8A-4147-A177-3AD203B41FA5}">
                      <a16:colId xmlns:a16="http://schemas.microsoft.com/office/drawing/2014/main" val="20001"/>
                    </a:ext>
                  </a:extLst>
                </a:gridCol>
                <a:gridCol w="916639">
                  <a:extLst>
                    <a:ext uri="{9D8B030D-6E8A-4147-A177-3AD203B41FA5}">
                      <a16:colId xmlns:a16="http://schemas.microsoft.com/office/drawing/2014/main" val="20002"/>
                    </a:ext>
                  </a:extLst>
                </a:gridCol>
                <a:gridCol w="916639">
                  <a:extLst>
                    <a:ext uri="{9D8B030D-6E8A-4147-A177-3AD203B41FA5}">
                      <a16:colId xmlns:a16="http://schemas.microsoft.com/office/drawing/2014/main" val="20003"/>
                    </a:ext>
                  </a:extLst>
                </a:gridCol>
                <a:gridCol w="916639">
                  <a:extLst>
                    <a:ext uri="{9D8B030D-6E8A-4147-A177-3AD203B41FA5}">
                      <a16:colId xmlns:a16="http://schemas.microsoft.com/office/drawing/2014/main" val="20004"/>
                    </a:ext>
                  </a:extLst>
                </a:gridCol>
                <a:gridCol w="916639">
                  <a:extLst>
                    <a:ext uri="{9D8B030D-6E8A-4147-A177-3AD203B41FA5}">
                      <a16:colId xmlns:a16="http://schemas.microsoft.com/office/drawing/2014/main" val="20005"/>
                    </a:ext>
                  </a:extLst>
                </a:gridCol>
                <a:gridCol w="916639">
                  <a:extLst>
                    <a:ext uri="{9D8B030D-6E8A-4147-A177-3AD203B41FA5}">
                      <a16:colId xmlns:a16="http://schemas.microsoft.com/office/drawing/2014/main" val="20006"/>
                    </a:ext>
                  </a:extLst>
                </a:gridCol>
                <a:gridCol w="916639">
                  <a:extLst>
                    <a:ext uri="{9D8B030D-6E8A-4147-A177-3AD203B41FA5}">
                      <a16:colId xmlns:a16="http://schemas.microsoft.com/office/drawing/2014/main" val="20007"/>
                    </a:ext>
                  </a:extLst>
                </a:gridCol>
                <a:gridCol w="916639">
                  <a:extLst>
                    <a:ext uri="{9D8B030D-6E8A-4147-A177-3AD203B41FA5}">
                      <a16:colId xmlns:a16="http://schemas.microsoft.com/office/drawing/2014/main" val="20008"/>
                    </a:ext>
                  </a:extLst>
                </a:gridCol>
                <a:gridCol w="916639">
                  <a:extLst>
                    <a:ext uri="{9D8B030D-6E8A-4147-A177-3AD203B41FA5}">
                      <a16:colId xmlns:a16="http://schemas.microsoft.com/office/drawing/2014/main" val="20009"/>
                    </a:ext>
                  </a:extLst>
                </a:gridCol>
                <a:gridCol w="916639">
                  <a:extLst>
                    <a:ext uri="{9D8B030D-6E8A-4147-A177-3AD203B41FA5}">
                      <a16:colId xmlns:a16="http://schemas.microsoft.com/office/drawing/2014/main" val="20010"/>
                    </a:ext>
                  </a:extLst>
                </a:gridCol>
              </a:tblGrid>
              <a:tr h="212126">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 Currency</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JP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KRW</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MXN</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RUB</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SAR</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SEK</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SG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TRY</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USD</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solidFill>
                            <a:schemeClr val="tx1"/>
                          </a:solidFill>
                          <a:effectLst/>
                          <a:latin typeface="Arial" panose="020B0604020202020204" pitchFamily="34" charset="0"/>
                          <a:cs typeface="Arial" panose="020B0604020202020204" pitchFamily="34" charset="0"/>
                        </a:rPr>
                        <a:t>ZAR</a:t>
                      </a:r>
                      <a:endParaRPr lang="en-US"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12126">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Parallel</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2126">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Short</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4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5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2126">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Long</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2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15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solidFill>
                            <a:schemeClr val="tx1"/>
                          </a:solidFill>
                          <a:effectLst/>
                          <a:latin typeface="Arial" panose="020B0604020202020204" pitchFamily="34" charset="0"/>
                          <a:cs typeface="Arial" panose="020B0604020202020204" pitchFamily="34" charset="0"/>
                        </a:rPr>
                        <a:t>300</a:t>
                      </a:r>
                      <a:endParaRPr lang="en-US" sz="1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82" name="Rectangle 81">
            <a:extLst>
              <a:ext uri="{FF2B5EF4-FFF2-40B4-BE49-F238E27FC236}">
                <a16:creationId xmlns:a16="http://schemas.microsoft.com/office/drawing/2014/main" id="{8C85BBCC-1BB5-4166-9C6E-67DE9EC1D7BE}"/>
              </a:ext>
            </a:extLst>
          </p:cNvPr>
          <p:cNvSpPr>
            <a:spLocks noChangeArrowheads="1"/>
          </p:cNvSpPr>
          <p:nvPr/>
        </p:nvSpPr>
        <p:spPr bwMode="auto">
          <a:xfrm>
            <a:off x="1898914" y="4225655"/>
            <a:ext cx="10083032" cy="288412"/>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Arial" panose="020B0604020202020204" pitchFamily="34" charset="0"/>
                <a:ea typeface="Times New Roman"/>
                <a:cs typeface="Arial" panose="020B0604020202020204" pitchFamily="34" charset="0"/>
              </a:rPr>
              <a:t>Currency wise interest rate shocks </a:t>
            </a:r>
            <a:endParaRPr kumimoji="0" lang="en-GB" sz="1400" b="1" i="0" u="none" strike="noStrike" kern="0" cap="none" spc="0" normalizeH="0" baseline="0" noProof="0" dirty="0">
              <a:ln>
                <a:noFill/>
              </a:ln>
              <a:solidFill>
                <a:schemeClr val="bg1"/>
              </a:solidFill>
              <a:effectLst/>
              <a:uLnTx/>
              <a:uFillTx/>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3413008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16657" y="38921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3: IRRBB Stress Testing: Standardized Scenarios</a:t>
            </a:r>
          </a:p>
        </p:txBody>
      </p:sp>
      <p:sp>
        <p:nvSpPr>
          <p:cNvPr id="11" name="Text Placeholder 1">
            <a:extLst>
              <a:ext uri="{FF2B5EF4-FFF2-40B4-BE49-F238E27FC236}">
                <a16:creationId xmlns:a16="http://schemas.microsoft.com/office/drawing/2014/main" id="{163A03F0-6FF3-4CE0-84C5-20DF922DFB2A}"/>
              </a:ext>
            </a:extLst>
          </p:cNvPr>
          <p:cNvSpPr txBox="1">
            <a:spLocks/>
          </p:cNvSpPr>
          <p:nvPr/>
        </p:nvSpPr>
        <p:spPr>
          <a:xfrm>
            <a:off x="1900239" y="1335500"/>
            <a:ext cx="8522101" cy="3417945"/>
          </a:xfrm>
          <a:prstGeom prst="rect">
            <a:avLst/>
          </a:prstGeom>
          <a:ln>
            <a:noFill/>
          </a:ln>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Arial" panose="020B0604020202020204" pitchFamily="34" charset="0"/>
                <a:ea typeface="+mn-ea"/>
                <a:cs typeface="Arial" panose="020B0604020202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Arial" panose="020B0604020202020204" pitchFamily="34" charset="0"/>
                <a:ea typeface="+mn-ea"/>
                <a:cs typeface="Arial" panose="020B0604020202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Arial" panose="020B0604020202020204" pitchFamily="34" charset="0"/>
                <a:ea typeface="+mn-ea"/>
                <a:cs typeface="Arial" panose="020B0604020202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Arial" panose="020B0604020202020204" pitchFamily="34" charset="0"/>
                <a:ea typeface="+mn-ea"/>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lnSpc>
                <a:spcPct val="125000"/>
              </a:lnSpc>
              <a:spcAft>
                <a:spcPts val="0"/>
              </a:spcAft>
            </a:pPr>
            <a:r>
              <a:rPr lang="en-US" sz="1000" dirty="0">
                <a:solidFill>
                  <a:prstClr val="black"/>
                </a:solidFill>
              </a:rPr>
              <a:t>1) </a:t>
            </a:r>
            <a:r>
              <a:rPr lang="en-US" sz="1000" b="1" dirty="0">
                <a:solidFill>
                  <a:prstClr val="black"/>
                </a:solidFill>
              </a:rPr>
              <a:t>Parallel shock </a:t>
            </a:r>
            <a:r>
              <a:rPr lang="en-US" sz="1000" dirty="0">
                <a:solidFill>
                  <a:prstClr val="black"/>
                </a:solidFill>
              </a:rPr>
              <a:t>- A constant parallel shock up or down across all time buckets for a particular currency : </a:t>
            </a:r>
          </a:p>
          <a:p>
            <a:pPr>
              <a:lnSpc>
                <a:spcPct val="125000"/>
              </a:lnSpc>
              <a:spcAft>
                <a:spcPts val="0"/>
              </a:spcAft>
            </a:pPr>
            <a:r>
              <a:rPr lang="en-US" sz="1000" b="1" i="1" dirty="0">
                <a:solidFill>
                  <a:prstClr val="black"/>
                </a:solidFill>
              </a:rPr>
              <a:t>            Formula:</a:t>
            </a:r>
            <a:endParaRPr lang="en-US" sz="1000" b="1" dirty="0">
              <a:solidFill>
                <a:prstClr val="black"/>
              </a:solidFill>
            </a:endParaRPr>
          </a:p>
          <a:p>
            <a:pPr>
              <a:lnSpc>
                <a:spcPct val="125000"/>
              </a:lnSpc>
              <a:spcAft>
                <a:spcPts val="0"/>
              </a:spcAft>
            </a:pPr>
            <a:r>
              <a:rPr lang="en-US" sz="1000" b="1" i="1" dirty="0">
                <a:solidFill>
                  <a:prstClr val="black"/>
                </a:solidFill>
              </a:rPr>
              <a:t> </a:t>
            </a:r>
          </a:p>
          <a:p>
            <a:pPr algn="just">
              <a:lnSpc>
                <a:spcPct val="125000"/>
              </a:lnSpc>
              <a:spcAft>
                <a:spcPts val="0"/>
              </a:spcAft>
            </a:pPr>
            <a:r>
              <a:rPr lang="en-US" sz="1000" dirty="0">
                <a:solidFill>
                  <a:prstClr val="black"/>
                </a:solidFill>
              </a:rPr>
              <a:t>2) </a:t>
            </a:r>
            <a:r>
              <a:rPr lang="en-US" sz="1000" b="1" dirty="0">
                <a:solidFill>
                  <a:prstClr val="black"/>
                </a:solidFill>
              </a:rPr>
              <a:t>Short Rate Shock </a:t>
            </a:r>
            <a:r>
              <a:rPr lang="en-US" sz="1000" dirty="0">
                <a:solidFill>
                  <a:prstClr val="black"/>
                </a:solidFill>
              </a:rPr>
              <a:t>- Shock up or down that is greatest at the shortest tenor midpoint through the shaping scalar, where x=4, diminishes towards zero at the tenor of the longest point in the term structure :</a:t>
            </a:r>
          </a:p>
          <a:p>
            <a:pPr algn="just">
              <a:lnSpc>
                <a:spcPct val="125000"/>
              </a:lnSpc>
              <a:spcAft>
                <a:spcPts val="0"/>
              </a:spcAft>
            </a:pPr>
            <a:r>
              <a:rPr lang="en-US" sz="1000" b="1" i="1" dirty="0">
                <a:solidFill>
                  <a:prstClr val="black"/>
                </a:solidFill>
              </a:rPr>
              <a:t>          Formula:</a:t>
            </a:r>
            <a:endParaRPr lang="en-US" sz="1000" b="1" dirty="0">
              <a:solidFill>
                <a:prstClr val="black"/>
              </a:solidFill>
            </a:endParaRPr>
          </a:p>
          <a:p>
            <a:pPr algn="just">
              <a:lnSpc>
                <a:spcPct val="125000"/>
              </a:lnSpc>
              <a:spcAft>
                <a:spcPts val="0"/>
              </a:spcAft>
            </a:pPr>
            <a:r>
              <a:rPr lang="en-US" sz="1000" b="1" i="1" dirty="0">
                <a:solidFill>
                  <a:prstClr val="black"/>
                </a:solidFill>
              </a:rPr>
              <a:t> </a:t>
            </a:r>
            <a:r>
              <a:rPr lang="en-US" sz="1000" i="1" dirty="0">
                <a:solidFill>
                  <a:prstClr val="black"/>
                </a:solidFill>
              </a:rPr>
              <a:t>            </a:t>
            </a:r>
            <a:endParaRPr lang="en-US" sz="1000" dirty="0">
              <a:solidFill>
                <a:prstClr val="black"/>
              </a:solidFill>
            </a:endParaRPr>
          </a:p>
          <a:p>
            <a:pPr algn="just">
              <a:lnSpc>
                <a:spcPct val="125000"/>
              </a:lnSpc>
              <a:spcAft>
                <a:spcPts val="0"/>
              </a:spcAft>
            </a:pPr>
            <a:r>
              <a:rPr lang="en-US" sz="1000" dirty="0">
                <a:solidFill>
                  <a:prstClr val="black"/>
                </a:solidFill>
              </a:rPr>
              <a:t>3) </a:t>
            </a:r>
            <a:r>
              <a:rPr lang="en-US" sz="1000" b="1" dirty="0">
                <a:solidFill>
                  <a:prstClr val="black"/>
                </a:solidFill>
              </a:rPr>
              <a:t>Long Rate Shock </a:t>
            </a:r>
            <a:r>
              <a:rPr lang="en-US" sz="1000" dirty="0">
                <a:solidFill>
                  <a:prstClr val="black"/>
                </a:solidFill>
              </a:rPr>
              <a:t>- Here the shock is greatest at the longest tenor midpoint and is related to the short scaling factor:</a:t>
            </a:r>
            <a:endParaRPr lang="en-US" sz="1000" b="1" i="1" dirty="0">
              <a:solidFill>
                <a:prstClr val="black"/>
              </a:solidFill>
            </a:endParaRPr>
          </a:p>
          <a:p>
            <a:pPr algn="just">
              <a:lnSpc>
                <a:spcPct val="125000"/>
              </a:lnSpc>
              <a:spcAft>
                <a:spcPts val="0"/>
              </a:spcAft>
            </a:pPr>
            <a:r>
              <a:rPr lang="en-US" sz="1000" b="1" i="1" dirty="0">
                <a:solidFill>
                  <a:prstClr val="black"/>
                </a:solidFill>
              </a:rPr>
              <a:t>          Formula:</a:t>
            </a:r>
            <a:endParaRPr lang="en-US" sz="1000" b="1" dirty="0">
              <a:solidFill>
                <a:prstClr val="black"/>
              </a:solidFill>
            </a:endParaRPr>
          </a:p>
          <a:p>
            <a:pPr algn="just">
              <a:lnSpc>
                <a:spcPct val="125000"/>
              </a:lnSpc>
              <a:spcAft>
                <a:spcPts val="0"/>
              </a:spcAft>
            </a:pPr>
            <a:r>
              <a:rPr lang="en-US" sz="1000" b="1" i="1" dirty="0">
                <a:solidFill>
                  <a:prstClr val="black"/>
                </a:solidFill>
              </a:rPr>
              <a:t> </a:t>
            </a:r>
          </a:p>
          <a:p>
            <a:pPr algn="just">
              <a:lnSpc>
                <a:spcPct val="125000"/>
              </a:lnSpc>
              <a:spcAft>
                <a:spcPts val="0"/>
              </a:spcAft>
            </a:pPr>
            <a:r>
              <a:rPr lang="en-US" sz="1000" dirty="0">
                <a:solidFill>
                  <a:prstClr val="black"/>
                </a:solidFill>
              </a:rPr>
              <a:t>4) </a:t>
            </a:r>
            <a:r>
              <a:rPr lang="en-US" sz="1000" b="1" dirty="0">
                <a:solidFill>
                  <a:prstClr val="black"/>
                </a:solidFill>
              </a:rPr>
              <a:t>Steepeners and Flatteners </a:t>
            </a:r>
            <a:r>
              <a:rPr lang="en-US" sz="1000" dirty="0">
                <a:solidFill>
                  <a:prstClr val="black"/>
                </a:solidFill>
              </a:rPr>
              <a:t>- Whereby both the long and short rates are shocked and the shift in interest rates at each tenor   midpoint is obtained by applying the following formulas to those shocks:</a:t>
            </a:r>
          </a:p>
          <a:p>
            <a:pPr algn="just">
              <a:lnSpc>
                <a:spcPct val="125000"/>
              </a:lnSpc>
              <a:spcAft>
                <a:spcPts val="0"/>
              </a:spcAft>
            </a:pPr>
            <a:endParaRPr lang="en-US" sz="1000" dirty="0">
              <a:solidFill>
                <a:prstClr val="black"/>
              </a:solidFill>
            </a:endParaRPr>
          </a:p>
          <a:p>
            <a:pPr algn="just">
              <a:lnSpc>
                <a:spcPct val="125000"/>
              </a:lnSpc>
              <a:spcAft>
                <a:spcPts val="0"/>
              </a:spcAft>
            </a:pPr>
            <a:r>
              <a:rPr lang="en-US" sz="1000" b="1" i="1" dirty="0">
                <a:solidFill>
                  <a:prstClr val="black"/>
                </a:solidFill>
              </a:rPr>
              <a:t>          Formula:</a:t>
            </a:r>
            <a:endParaRPr lang="en-US" sz="1000" b="1" dirty="0">
              <a:solidFill>
                <a:prstClr val="black"/>
              </a:solidFill>
            </a:endParaRPr>
          </a:p>
          <a:p>
            <a:pPr algn="just">
              <a:lnSpc>
                <a:spcPct val="125000"/>
              </a:lnSpc>
              <a:spcAft>
                <a:spcPts val="0"/>
              </a:spcAft>
            </a:pPr>
            <a:r>
              <a:rPr lang="en-US" sz="1000" b="1" i="1" dirty="0">
                <a:solidFill>
                  <a:prstClr val="black"/>
                </a:solidFill>
              </a:rPr>
              <a:t> </a:t>
            </a:r>
            <a:endParaRPr lang="en-US" sz="1000" dirty="0">
              <a:solidFill>
                <a:prstClr val="black"/>
              </a:solidFill>
            </a:endParaRPr>
          </a:p>
        </p:txBody>
      </p:sp>
      <p:pic>
        <p:nvPicPr>
          <p:cNvPr id="12" name="Picture 11">
            <a:extLst>
              <a:ext uri="{FF2B5EF4-FFF2-40B4-BE49-F238E27FC236}">
                <a16:creationId xmlns:a16="http://schemas.microsoft.com/office/drawing/2014/main" id="{E71B4932-A3E5-4033-867B-A7B015486252}"/>
              </a:ext>
            </a:extLst>
          </p:cNvPr>
          <p:cNvPicPr>
            <a:picLocks noChangeAspect="1"/>
          </p:cNvPicPr>
          <p:nvPr/>
        </p:nvPicPr>
        <p:blipFill>
          <a:blip r:embed="rId6"/>
          <a:stretch>
            <a:fillRect/>
          </a:stretch>
        </p:blipFill>
        <p:spPr>
          <a:xfrm>
            <a:off x="3009372" y="1555924"/>
            <a:ext cx="2162175" cy="312006"/>
          </a:xfrm>
          <a:prstGeom prst="rect">
            <a:avLst/>
          </a:prstGeom>
          <a:ln>
            <a:noFill/>
          </a:ln>
        </p:spPr>
      </p:pic>
      <p:pic>
        <p:nvPicPr>
          <p:cNvPr id="13" name="Picture 12">
            <a:extLst>
              <a:ext uri="{FF2B5EF4-FFF2-40B4-BE49-F238E27FC236}">
                <a16:creationId xmlns:a16="http://schemas.microsoft.com/office/drawing/2014/main" id="{34054C4E-7B6C-4D93-AF16-9B3F4F153F78}"/>
              </a:ext>
            </a:extLst>
          </p:cNvPr>
          <p:cNvPicPr>
            <a:picLocks noChangeAspect="1"/>
          </p:cNvPicPr>
          <p:nvPr/>
        </p:nvPicPr>
        <p:blipFill>
          <a:blip r:embed="rId7"/>
          <a:stretch>
            <a:fillRect/>
          </a:stretch>
        </p:blipFill>
        <p:spPr>
          <a:xfrm>
            <a:off x="3009372" y="2338495"/>
            <a:ext cx="3724275" cy="390127"/>
          </a:xfrm>
          <a:prstGeom prst="rect">
            <a:avLst/>
          </a:prstGeom>
          <a:ln>
            <a:noFill/>
          </a:ln>
        </p:spPr>
      </p:pic>
      <p:pic>
        <p:nvPicPr>
          <p:cNvPr id="14" name="Picture 13">
            <a:extLst>
              <a:ext uri="{FF2B5EF4-FFF2-40B4-BE49-F238E27FC236}">
                <a16:creationId xmlns:a16="http://schemas.microsoft.com/office/drawing/2014/main" id="{9F51B353-A558-4301-BB50-0D3862063458}"/>
              </a:ext>
            </a:extLst>
          </p:cNvPr>
          <p:cNvPicPr>
            <a:picLocks noChangeAspect="1"/>
          </p:cNvPicPr>
          <p:nvPr/>
        </p:nvPicPr>
        <p:blipFill>
          <a:blip r:embed="rId8"/>
          <a:stretch>
            <a:fillRect/>
          </a:stretch>
        </p:blipFill>
        <p:spPr>
          <a:xfrm>
            <a:off x="3009372" y="2905085"/>
            <a:ext cx="4143375" cy="381000"/>
          </a:xfrm>
          <a:prstGeom prst="rect">
            <a:avLst/>
          </a:prstGeom>
        </p:spPr>
      </p:pic>
      <p:pic>
        <p:nvPicPr>
          <p:cNvPr id="15" name="Picture 14">
            <a:extLst>
              <a:ext uri="{FF2B5EF4-FFF2-40B4-BE49-F238E27FC236}">
                <a16:creationId xmlns:a16="http://schemas.microsoft.com/office/drawing/2014/main" id="{D6DED649-ED04-4101-A59C-8949C47EDBEC}"/>
              </a:ext>
            </a:extLst>
          </p:cNvPr>
          <p:cNvPicPr>
            <a:picLocks noChangeAspect="1"/>
          </p:cNvPicPr>
          <p:nvPr/>
        </p:nvPicPr>
        <p:blipFill>
          <a:blip r:embed="rId9"/>
          <a:stretch>
            <a:fillRect/>
          </a:stretch>
        </p:blipFill>
        <p:spPr>
          <a:xfrm>
            <a:off x="3027821" y="3646970"/>
            <a:ext cx="4314825" cy="285750"/>
          </a:xfrm>
          <a:prstGeom prst="rect">
            <a:avLst/>
          </a:prstGeom>
        </p:spPr>
      </p:pic>
      <p:pic>
        <p:nvPicPr>
          <p:cNvPr id="16" name="Picture 15">
            <a:extLst>
              <a:ext uri="{FF2B5EF4-FFF2-40B4-BE49-F238E27FC236}">
                <a16:creationId xmlns:a16="http://schemas.microsoft.com/office/drawing/2014/main" id="{99C9813E-5366-454F-A2B7-E96A9F279F66}"/>
              </a:ext>
            </a:extLst>
          </p:cNvPr>
          <p:cNvPicPr>
            <a:picLocks noChangeAspect="1"/>
          </p:cNvPicPr>
          <p:nvPr/>
        </p:nvPicPr>
        <p:blipFill>
          <a:blip r:embed="rId10"/>
          <a:stretch>
            <a:fillRect/>
          </a:stretch>
        </p:blipFill>
        <p:spPr>
          <a:xfrm>
            <a:off x="3047472" y="3879561"/>
            <a:ext cx="4105275" cy="314325"/>
          </a:xfrm>
          <a:prstGeom prst="rect">
            <a:avLst/>
          </a:prstGeom>
        </p:spPr>
      </p:pic>
      <p:cxnSp>
        <p:nvCxnSpPr>
          <p:cNvPr id="17" name="Straight Connector 16">
            <a:extLst>
              <a:ext uri="{FF2B5EF4-FFF2-40B4-BE49-F238E27FC236}">
                <a16:creationId xmlns:a16="http://schemas.microsoft.com/office/drawing/2014/main" id="{29959D6E-50BC-47FE-B4DA-5F69374C9EC4}"/>
              </a:ext>
            </a:extLst>
          </p:cNvPr>
          <p:cNvCxnSpPr/>
          <p:nvPr/>
        </p:nvCxnSpPr>
        <p:spPr>
          <a:xfrm>
            <a:off x="1894573" y="4166589"/>
            <a:ext cx="85039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0E45D75-2F6A-4672-AF33-DE6412FA8DEE}"/>
              </a:ext>
            </a:extLst>
          </p:cNvPr>
          <p:cNvSpPr/>
          <p:nvPr/>
        </p:nvSpPr>
        <p:spPr>
          <a:xfrm>
            <a:off x="1913684" y="4264532"/>
            <a:ext cx="8484809" cy="2169825"/>
          </a:xfrm>
          <a:prstGeom prst="rect">
            <a:avLst/>
          </a:prstGeom>
        </p:spPr>
        <p:txBody>
          <a:bodyPr wrap="square">
            <a:spAutoFit/>
          </a:bodyPr>
          <a:lstStyle/>
          <a:p>
            <a:pPr marL="53975" algn="just"/>
            <a:r>
              <a:rPr lang="en-US" sz="1000" b="1" i="1" u="sng" dirty="0">
                <a:solidFill>
                  <a:prstClr val="black"/>
                </a:solidFill>
                <a:latin typeface="Arial" panose="020B0604020202020204" pitchFamily="34" charset="0"/>
                <a:cs typeface="Arial" panose="020B0604020202020204" pitchFamily="34" charset="0"/>
              </a:rPr>
              <a:t>Illustrative Examples</a:t>
            </a:r>
          </a:p>
          <a:p>
            <a:pPr marL="53975" algn="just"/>
            <a:endParaRPr lang="en-US" sz="900" i="1" u="sng" dirty="0">
              <a:solidFill>
                <a:prstClr val="black"/>
              </a:solidFill>
              <a:latin typeface="Arial" panose="020B0604020202020204" pitchFamily="34" charset="0"/>
              <a:cs typeface="Arial" panose="020B0604020202020204" pitchFamily="34" charset="0"/>
            </a:endParaRPr>
          </a:p>
          <a:p>
            <a:pPr marL="53975" algn="just"/>
            <a:r>
              <a:rPr lang="en-US" sz="900" b="1" dirty="0">
                <a:solidFill>
                  <a:prstClr val="black"/>
                </a:solidFill>
                <a:latin typeface="Arial" panose="020B0604020202020204" pitchFamily="34" charset="0"/>
                <a:cs typeface="Arial" panose="020B0604020202020204" pitchFamily="34" charset="0"/>
              </a:rPr>
              <a:t>Short rate shock</a:t>
            </a:r>
            <a:r>
              <a:rPr lang="en-US" sz="900" dirty="0">
                <a:solidFill>
                  <a:prstClr val="black"/>
                </a:solidFill>
                <a:latin typeface="Arial" panose="020B0604020202020204" pitchFamily="34" charset="0"/>
                <a:cs typeface="Arial" panose="020B0604020202020204" pitchFamily="34" charset="0"/>
              </a:rPr>
              <a:t>: </a:t>
            </a:r>
          </a:p>
          <a:p>
            <a:pPr marL="53975" algn="just"/>
            <a:r>
              <a:rPr lang="en-US" sz="900" dirty="0">
                <a:solidFill>
                  <a:prstClr val="black"/>
                </a:solidFill>
                <a:latin typeface="Arial" panose="020B0604020202020204" pitchFamily="34" charset="0"/>
                <a:cs typeface="Arial" panose="020B0604020202020204" pitchFamily="34" charset="0"/>
              </a:rPr>
              <a:t>Assume that the bank uses the standardized framework with K=19 time bands and with tK=25 years (the midpoint (in time) of the longest tenor bucket K), and where 𝑡𝑘 is the midpoint (in time) for bucket k. In the standardized framework, if k=10 with tk=3.5 years, the scalar adjustment for the short shock would be = 0.417. Banks would multiply this by the value of the short rate shock to obtain the amount to be added to or subtracted from the yield curve at that tenor point. If the short rate shock was +100 bp, the increase in the yield curve at tk=3.5 years would be 41.7 bp. </a:t>
            </a:r>
          </a:p>
          <a:p>
            <a:pPr marL="53975" algn="just"/>
            <a:endParaRPr lang="en-US" sz="900" b="1" dirty="0">
              <a:solidFill>
                <a:prstClr val="black"/>
              </a:solidFill>
              <a:latin typeface="Arial" panose="020B0604020202020204" pitchFamily="34" charset="0"/>
              <a:cs typeface="Arial" panose="020B0604020202020204" pitchFamily="34" charset="0"/>
            </a:endParaRPr>
          </a:p>
          <a:p>
            <a:pPr marL="53975" algn="just"/>
            <a:r>
              <a:rPr lang="en-US" sz="900" b="1" dirty="0">
                <a:solidFill>
                  <a:prstClr val="black"/>
                </a:solidFill>
                <a:latin typeface="Arial" panose="020B0604020202020204" pitchFamily="34" charset="0"/>
                <a:cs typeface="Arial" panose="020B0604020202020204" pitchFamily="34" charset="0"/>
              </a:rPr>
              <a:t>Steepener</a:t>
            </a:r>
            <a:r>
              <a:rPr lang="en-US" sz="900" dirty="0">
                <a:solidFill>
                  <a:prstClr val="black"/>
                </a:solidFill>
                <a:latin typeface="Arial" panose="020B0604020202020204" pitchFamily="34" charset="0"/>
                <a:cs typeface="Arial" panose="020B0604020202020204" pitchFamily="34" charset="0"/>
              </a:rPr>
              <a:t>: </a:t>
            </a:r>
          </a:p>
          <a:p>
            <a:pPr marL="53975" algn="just"/>
            <a:r>
              <a:rPr lang="en-US" sz="900" dirty="0">
                <a:solidFill>
                  <a:prstClr val="black"/>
                </a:solidFill>
                <a:latin typeface="Arial" panose="020B0604020202020204" pitchFamily="34" charset="0"/>
                <a:cs typeface="Arial" panose="020B0604020202020204" pitchFamily="34" charset="0"/>
              </a:rPr>
              <a:t>Assume the same point on the yield curve as above, tk=3.5 years. If the absolute value of the short rate shock was 100 bp and the absolute value of the long rate shock was 100 bp (as for the Japanese yen), the change in the yield curve at tk=3.5 years would be the sum of the effect of the short rate shock plus the effect of the long rate shock in basis points: − 0.65∙ 100bp ∙0.417+0.9∙ 100bp ∙(1−0.417)= +25.4bp. </a:t>
            </a:r>
          </a:p>
          <a:p>
            <a:pPr marL="53975" algn="just"/>
            <a:endParaRPr lang="en-US" sz="900" dirty="0">
              <a:solidFill>
                <a:prstClr val="black"/>
              </a:solidFill>
              <a:latin typeface="Arial" panose="020B0604020202020204" pitchFamily="34" charset="0"/>
              <a:cs typeface="Arial" panose="020B0604020202020204" pitchFamily="34" charset="0"/>
            </a:endParaRPr>
          </a:p>
          <a:p>
            <a:pPr marL="53975" algn="just"/>
            <a:r>
              <a:rPr lang="en-US" sz="900" b="1" dirty="0">
                <a:solidFill>
                  <a:prstClr val="black"/>
                </a:solidFill>
                <a:latin typeface="Arial" panose="020B0604020202020204" pitchFamily="34" charset="0"/>
                <a:cs typeface="Arial" panose="020B0604020202020204" pitchFamily="34" charset="0"/>
              </a:rPr>
              <a:t>Flattener</a:t>
            </a:r>
            <a:r>
              <a:rPr lang="en-US" sz="900" dirty="0">
                <a:solidFill>
                  <a:prstClr val="black"/>
                </a:solidFill>
                <a:latin typeface="Arial" panose="020B0604020202020204" pitchFamily="34" charset="0"/>
                <a:cs typeface="Arial" panose="020B0604020202020204" pitchFamily="34" charset="0"/>
              </a:rPr>
              <a:t>: </a:t>
            </a:r>
          </a:p>
          <a:p>
            <a:pPr marL="53975" algn="just"/>
            <a:r>
              <a:rPr lang="en-US" sz="900" dirty="0">
                <a:solidFill>
                  <a:prstClr val="black"/>
                </a:solidFill>
                <a:latin typeface="Arial" panose="020B0604020202020204" pitchFamily="34" charset="0"/>
                <a:cs typeface="Arial" panose="020B0604020202020204" pitchFamily="34" charset="0"/>
              </a:rPr>
              <a:t>The corresponding change in the yield curve for the shocks in the example above at tk=3.5 years would be: + 0.8∙ 100bp ∙0.417−0.6∙ 100bp ∙(1−0.417)= −1.6bp. </a:t>
            </a:r>
          </a:p>
        </p:txBody>
      </p:sp>
      <p:sp>
        <p:nvSpPr>
          <p:cNvPr id="19" name="Rectangle 18">
            <a:extLst>
              <a:ext uri="{FF2B5EF4-FFF2-40B4-BE49-F238E27FC236}">
                <a16:creationId xmlns:a16="http://schemas.microsoft.com/office/drawing/2014/main" id="{F99335A4-6C06-4401-B845-9F389641C33B}"/>
              </a:ext>
            </a:extLst>
          </p:cNvPr>
          <p:cNvSpPr/>
          <p:nvPr/>
        </p:nvSpPr>
        <p:spPr>
          <a:xfrm>
            <a:off x="1956968" y="1114471"/>
            <a:ext cx="8381090" cy="242299"/>
          </a:xfrm>
          <a:prstGeom prst="rect">
            <a:avLst/>
          </a:prstGeom>
          <a:solidFill>
            <a:srgbClr val="002060"/>
          </a:solidFill>
          <a:ln w="25400" cap="flat" cmpd="sng" algn="ctr">
            <a:noFill/>
            <a:prstDash val="solid"/>
          </a:ln>
          <a:effectLst/>
        </p:spPr>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Parameterization of Interest Rate Shock Scenarios</a:t>
            </a:r>
          </a:p>
        </p:txBody>
      </p:sp>
    </p:spTree>
    <p:extLst>
      <p:ext uri="{BB962C8B-B14F-4D97-AF65-F5344CB8AC3E}">
        <p14:creationId xmlns:p14="http://schemas.microsoft.com/office/powerpoint/2010/main" val="3125260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sp>
        <p:nvSpPr>
          <p:cNvPr id="3" name="Rectangle 2"/>
          <p:cNvSpPr txBox="1">
            <a:spLocks noChangeArrowheads="1"/>
          </p:cNvSpPr>
          <p:nvPr/>
        </p:nvSpPr>
        <p:spPr>
          <a:xfrm>
            <a:off x="1786519" y="215624"/>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3: IRRBB Stress Testing: Standardized Scenarios</a:t>
            </a:r>
          </a:p>
        </p:txBody>
      </p:sp>
      <p:graphicFrame>
        <p:nvGraphicFramePr>
          <p:cNvPr id="12" name="Chart 11">
            <a:extLst>
              <a:ext uri="{FF2B5EF4-FFF2-40B4-BE49-F238E27FC236}">
                <a16:creationId xmlns:a16="http://schemas.microsoft.com/office/drawing/2014/main" id="{AD09F217-69A8-452F-AF0B-4D67B96E7B15}"/>
              </a:ext>
            </a:extLst>
          </p:cNvPr>
          <p:cNvGraphicFramePr>
            <a:graphicFrameLocks/>
          </p:cNvGraphicFramePr>
          <p:nvPr>
            <p:extLst>
              <p:ext uri="{D42A27DB-BD31-4B8C-83A1-F6EECF244321}">
                <p14:modId xmlns:p14="http://schemas.microsoft.com/office/powerpoint/2010/main" val="1162715599"/>
              </p:ext>
            </p:extLst>
          </p:nvPr>
        </p:nvGraphicFramePr>
        <p:xfrm>
          <a:off x="1981200" y="826977"/>
          <a:ext cx="9900000" cy="28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EEC61628-4DA7-48B1-B033-4D5075B7A6EB}"/>
              </a:ext>
            </a:extLst>
          </p:cNvPr>
          <p:cNvGraphicFramePr>
            <a:graphicFrameLocks/>
          </p:cNvGraphicFramePr>
          <p:nvPr>
            <p:extLst>
              <p:ext uri="{D42A27DB-BD31-4B8C-83A1-F6EECF244321}">
                <p14:modId xmlns:p14="http://schemas.microsoft.com/office/powerpoint/2010/main" val="3729328699"/>
              </p:ext>
            </p:extLst>
          </p:nvPr>
        </p:nvGraphicFramePr>
        <p:xfrm>
          <a:off x="1975200" y="3834376"/>
          <a:ext cx="9906000" cy="2808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305514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sp>
        <p:nvSpPr>
          <p:cNvPr id="3" name="Rectangle 2"/>
          <p:cNvSpPr txBox="1">
            <a:spLocks noChangeArrowheads="1"/>
          </p:cNvSpPr>
          <p:nvPr/>
        </p:nvSpPr>
        <p:spPr>
          <a:xfrm>
            <a:off x="1786519" y="215624"/>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3: IRRBB Stress Testing: Standardized Scenarios</a:t>
            </a:r>
          </a:p>
        </p:txBody>
      </p:sp>
      <p:graphicFrame>
        <p:nvGraphicFramePr>
          <p:cNvPr id="7" name="Chart 6">
            <a:extLst>
              <a:ext uri="{FF2B5EF4-FFF2-40B4-BE49-F238E27FC236}">
                <a16:creationId xmlns:a16="http://schemas.microsoft.com/office/drawing/2014/main" id="{BF518782-B5C4-49B3-99CF-F29133CF561E}"/>
              </a:ext>
            </a:extLst>
          </p:cNvPr>
          <p:cNvGraphicFramePr>
            <a:graphicFrameLocks/>
          </p:cNvGraphicFramePr>
          <p:nvPr>
            <p:extLst>
              <p:ext uri="{D42A27DB-BD31-4B8C-83A1-F6EECF244321}">
                <p14:modId xmlns:p14="http://schemas.microsoft.com/office/powerpoint/2010/main" val="3501137057"/>
              </p:ext>
            </p:extLst>
          </p:nvPr>
        </p:nvGraphicFramePr>
        <p:xfrm>
          <a:off x="1816645" y="914400"/>
          <a:ext cx="9900000" cy="28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AD0808DB-C032-4A40-8301-C27866453FB6}"/>
              </a:ext>
            </a:extLst>
          </p:cNvPr>
          <p:cNvGraphicFramePr>
            <a:graphicFrameLocks/>
          </p:cNvGraphicFramePr>
          <p:nvPr>
            <p:extLst>
              <p:ext uri="{D42A27DB-BD31-4B8C-83A1-F6EECF244321}">
                <p14:modId xmlns:p14="http://schemas.microsoft.com/office/powerpoint/2010/main" val="2689685986"/>
              </p:ext>
            </p:extLst>
          </p:nvPr>
        </p:nvGraphicFramePr>
        <p:xfrm>
          <a:off x="1816646" y="3886200"/>
          <a:ext cx="9900000" cy="2808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20709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sp>
        <p:nvSpPr>
          <p:cNvPr id="107" name="AutoShape 30">
            <a:extLst>
              <a:ext uri="{FF2B5EF4-FFF2-40B4-BE49-F238E27FC236}">
                <a16:creationId xmlns:a16="http://schemas.microsoft.com/office/drawing/2014/main" id="{B17A455E-323C-4E39-B1AB-7F6256451EE9}"/>
              </a:ext>
            </a:extLst>
          </p:cNvPr>
          <p:cNvSpPr>
            <a:spLocks noChangeArrowheads="1"/>
          </p:cNvSpPr>
          <p:nvPr/>
        </p:nvSpPr>
        <p:spPr bwMode="auto">
          <a:xfrm rot="5400000">
            <a:off x="4871100" y="3158408"/>
            <a:ext cx="2370450" cy="1913832"/>
          </a:xfrm>
          <a:prstGeom prst="parallelogram">
            <a:avLst>
              <a:gd name="adj" fmla="val 32248"/>
            </a:avLst>
          </a:prstGeom>
          <a:solidFill>
            <a:schemeClr val="accent6">
              <a:lumMod val="20000"/>
              <a:lumOff val="80000"/>
              <a:alpha val="14902"/>
            </a:schemeClr>
          </a:solidFill>
          <a:ln w="9525">
            <a:noFill/>
            <a:miter lim="800000"/>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88" name="Freeform 5">
            <a:extLst>
              <a:ext uri="{FF2B5EF4-FFF2-40B4-BE49-F238E27FC236}">
                <a16:creationId xmlns:a16="http://schemas.microsoft.com/office/drawing/2014/main" id="{C203D03C-AA70-4465-9E3D-57BCF1A4736A}"/>
              </a:ext>
            </a:extLst>
          </p:cNvPr>
          <p:cNvSpPr>
            <a:spLocks/>
          </p:cNvSpPr>
          <p:nvPr/>
        </p:nvSpPr>
        <p:spPr bwMode="auto">
          <a:xfrm>
            <a:off x="5173189" y="3109325"/>
            <a:ext cx="3561016" cy="2011998"/>
          </a:xfrm>
          <a:custGeom>
            <a:avLst/>
            <a:gdLst>
              <a:gd name="T0" fmla="*/ 0 w 4219"/>
              <a:gd name="T1" fmla="*/ 2147483647 h 2041"/>
              <a:gd name="T2" fmla="*/ 2147483647 w 4219"/>
              <a:gd name="T3" fmla="*/ 2147483647 h 2041"/>
              <a:gd name="T4" fmla="*/ 2147483647 w 4219"/>
              <a:gd name="T5" fmla="*/ 2147483647 h 2041"/>
              <a:gd name="T6" fmla="*/ 2147483647 w 4219"/>
              <a:gd name="T7" fmla="*/ 2147483647 h 2041"/>
              <a:gd name="T8" fmla="*/ 2147483647 w 4219"/>
              <a:gd name="T9" fmla="*/ 0 h 2041"/>
              <a:gd name="T10" fmla="*/ 0 60000 65536"/>
              <a:gd name="T11" fmla="*/ 0 60000 65536"/>
              <a:gd name="T12" fmla="*/ 0 60000 65536"/>
              <a:gd name="T13" fmla="*/ 0 60000 65536"/>
              <a:gd name="T14" fmla="*/ 0 60000 65536"/>
              <a:gd name="T15" fmla="*/ 0 w 4219"/>
              <a:gd name="T16" fmla="*/ 0 h 2041"/>
              <a:gd name="T17" fmla="*/ 4219 w 4219"/>
              <a:gd name="T18" fmla="*/ 2041 h 2041"/>
            </a:gdLst>
            <a:ahLst/>
            <a:cxnLst>
              <a:cxn ang="T10">
                <a:pos x="T0" y="T1"/>
              </a:cxn>
              <a:cxn ang="T11">
                <a:pos x="T2" y="T3"/>
              </a:cxn>
              <a:cxn ang="T12">
                <a:pos x="T4" y="T5"/>
              </a:cxn>
              <a:cxn ang="T13">
                <a:pos x="T6" y="T7"/>
              </a:cxn>
              <a:cxn ang="T14">
                <a:pos x="T8" y="T9"/>
              </a:cxn>
            </a:cxnLst>
            <a:rect l="T15" t="T16" r="T17" b="T18"/>
            <a:pathLst>
              <a:path w="4219" h="2041">
                <a:moveTo>
                  <a:pt x="0" y="2041"/>
                </a:moveTo>
                <a:cubicBezTo>
                  <a:pt x="234" y="1723"/>
                  <a:pt x="469" y="1406"/>
                  <a:pt x="817" y="1225"/>
                </a:cubicBezTo>
                <a:cubicBezTo>
                  <a:pt x="1165" y="1044"/>
                  <a:pt x="1732" y="1112"/>
                  <a:pt x="2087" y="953"/>
                </a:cubicBezTo>
                <a:cubicBezTo>
                  <a:pt x="2442" y="794"/>
                  <a:pt x="2594" y="431"/>
                  <a:pt x="2949" y="272"/>
                </a:cubicBezTo>
                <a:cubicBezTo>
                  <a:pt x="3304" y="113"/>
                  <a:pt x="3761" y="56"/>
                  <a:pt x="4219" y="0"/>
                </a:cubicBezTo>
              </a:path>
            </a:pathLst>
          </a:custGeom>
          <a:noFill/>
          <a:ln w="31877">
            <a:solidFill>
              <a:srgbClr val="1462FF"/>
            </a:solidFill>
            <a:round/>
            <a:headEnd/>
            <a:tailEnd type="triangle" w="med" len="me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06" name="AutoShape 28">
            <a:extLst>
              <a:ext uri="{FF2B5EF4-FFF2-40B4-BE49-F238E27FC236}">
                <a16:creationId xmlns:a16="http://schemas.microsoft.com/office/drawing/2014/main" id="{44E51A44-DC99-4194-B26D-064E34D77E10}"/>
              </a:ext>
            </a:extLst>
          </p:cNvPr>
          <p:cNvSpPr>
            <a:spLocks noChangeArrowheads="1"/>
          </p:cNvSpPr>
          <p:nvPr/>
        </p:nvSpPr>
        <p:spPr bwMode="auto">
          <a:xfrm rot="5400000">
            <a:off x="6729916" y="2644054"/>
            <a:ext cx="2370450" cy="1913832"/>
          </a:xfrm>
          <a:prstGeom prst="parallelogram">
            <a:avLst>
              <a:gd name="adj" fmla="val 33301"/>
            </a:avLst>
          </a:prstGeom>
          <a:solidFill>
            <a:schemeClr val="accent6">
              <a:lumMod val="20000"/>
              <a:lumOff val="80000"/>
              <a:alpha val="14902"/>
            </a:schemeClr>
          </a:solidFill>
          <a:ln w="9525">
            <a:noFill/>
            <a:miter lim="800000"/>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1" name="AutoShape 29">
            <a:extLst>
              <a:ext uri="{FF2B5EF4-FFF2-40B4-BE49-F238E27FC236}">
                <a16:creationId xmlns:a16="http://schemas.microsoft.com/office/drawing/2014/main" id="{3F526B87-168F-4F08-A642-231FF729C24D}"/>
              </a:ext>
            </a:extLst>
          </p:cNvPr>
          <p:cNvSpPr>
            <a:spLocks noChangeArrowheads="1"/>
          </p:cNvSpPr>
          <p:nvPr/>
        </p:nvSpPr>
        <p:spPr bwMode="auto">
          <a:xfrm rot="5272622">
            <a:off x="5790256" y="2954289"/>
            <a:ext cx="2369223" cy="1913831"/>
          </a:xfrm>
          <a:prstGeom prst="parallelogram">
            <a:avLst>
              <a:gd name="adj" fmla="val 32231"/>
            </a:avLst>
          </a:prstGeom>
          <a:solidFill>
            <a:schemeClr val="accent6">
              <a:lumMod val="20000"/>
              <a:lumOff val="80000"/>
              <a:alpha val="14902"/>
            </a:schemeClr>
          </a:solidFill>
          <a:ln w="9525">
            <a:noFill/>
            <a:miter lim="800000"/>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6519" y="215624"/>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srgbClr val="C00000"/>
                </a:solidFill>
                <a:effectLst/>
                <a:uLnTx/>
                <a:uFillTx/>
                <a:latin typeface="Arial"/>
                <a:ea typeface="+mj-ea"/>
                <a:cs typeface="Arial"/>
              </a:rPr>
              <a:t>Principal 3: IRRBB Stress Testing: IMS Scenarios</a:t>
            </a:r>
          </a:p>
        </p:txBody>
      </p:sp>
      <p:sp>
        <p:nvSpPr>
          <p:cNvPr id="66" name="Rectangle 65">
            <a:extLst>
              <a:ext uri="{FF2B5EF4-FFF2-40B4-BE49-F238E27FC236}">
                <a16:creationId xmlns:a16="http://schemas.microsoft.com/office/drawing/2014/main" id="{8A75C82D-1106-40F1-87E0-69CEB56E22AB}"/>
              </a:ext>
            </a:extLst>
          </p:cNvPr>
          <p:cNvSpPr>
            <a:spLocks noChangeArrowheads="1"/>
          </p:cNvSpPr>
          <p:nvPr/>
        </p:nvSpPr>
        <p:spPr bwMode="auto">
          <a:xfrm>
            <a:off x="1919071" y="1289378"/>
            <a:ext cx="10083032" cy="288412"/>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dirty="0">
                <a:solidFill>
                  <a:srgbClr val="FFFFFF"/>
                </a:solidFill>
                <a:latin typeface="Arial" panose="020B0604020202020204" pitchFamily="34" charset="0"/>
                <a:ea typeface="Times New Roman"/>
                <a:cs typeface="Arial" panose="020B0604020202020204" pitchFamily="34" charset="0"/>
              </a:rPr>
              <a:t>Considerations to design internal IMS shock scenarios</a:t>
            </a:r>
            <a:endParaRPr kumimoji="0" lang="en-GB" sz="1400" b="1" i="0" u="none" strike="noStrike" kern="0" cap="none" spc="0" normalizeH="0" baseline="0" noProof="0" dirty="0">
              <a:ln>
                <a:noFill/>
              </a:ln>
              <a:solidFill>
                <a:srgbClr val="FFFFFF"/>
              </a:solidFill>
              <a:effectLst/>
              <a:uLnTx/>
              <a:uFillTx/>
              <a:latin typeface="Arial" panose="020B0604020202020204" pitchFamily="34" charset="0"/>
              <a:ea typeface="Times New Roman"/>
              <a:cs typeface="Arial" panose="020B0604020202020204" pitchFamily="34" charset="0"/>
            </a:endParaRPr>
          </a:p>
        </p:txBody>
      </p:sp>
      <p:sp>
        <p:nvSpPr>
          <p:cNvPr id="53" name="Rectangle 52">
            <a:extLst>
              <a:ext uri="{FF2B5EF4-FFF2-40B4-BE49-F238E27FC236}">
                <a16:creationId xmlns:a16="http://schemas.microsoft.com/office/drawing/2014/main" id="{60E1C0AA-9E88-4DCF-A1DC-2E7045E28234}"/>
              </a:ext>
            </a:extLst>
          </p:cNvPr>
          <p:cNvSpPr>
            <a:spLocks noChangeArrowheads="1"/>
          </p:cNvSpPr>
          <p:nvPr/>
        </p:nvSpPr>
        <p:spPr bwMode="auto">
          <a:xfrm>
            <a:off x="1965695" y="1778315"/>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Shape and level of the current term structure of interest rates</a:t>
            </a:r>
            <a:endParaRPr lang="en-GB" sz="1200" dirty="0">
              <a:solidFill>
                <a:prstClr val="black"/>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B345028F-83C6-4145-9D34-FB233D079945}"/>
              </a:ext>
            </a:extLst>
          </p:cNvPr>
          <p:cNvSpPr>
            <a:spLocks noChangeArrowheads="1"/>
          </p:cNvSpPr>
          <p:nvPr/>
        </p:nvSpPr>
        <p:spPr bwMode="auto">
          <a:xfrm>
            <a:off x="9668113" y="1778315"/>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Adverse changes in the spreads of new assets/liabilities replacing maturing assets/liabilities maturing.</a:t>
            </a:r>
          </a:p>
        </p:txBody>
      </p:sp>
      <p:sp>
        <p:nvSpPr>
          <p:cNvPr id="57" name="Rectangle 56">
            <a:extLst>
              <a:ext uri="{FF2B5EF4-FFF2-40B4-BE49-F238E27FC236}">
                <a16:creationId xmlns:a16="http://schemas.microsoft.com/office/drawing/2014/main" id="{F38AA7B6-8EAB-43A1-8126-2E3ACE52E4C9}"/>
              </a:ext>
            </a:extLst>
          </p:cNvPr>
          <p:cNvSpPr>
            <a:spLocks noChangeArrowheads="1"/>
          </p:cNvSpPr>
          <p:nvPr/>
        </p:nvSpPr>
        <p:spPr bwMode="auto">
          <a:xfrm>
            <a:off x="1985721" y="2754789"/>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Historical and Implied Volatilities of interest rate term structures</a:t>
            </a:r>
            <a:endParaRPr lang="en-GB" sz="1200" dirty="0">
              <a:solidFill>
                <a:prstClr val="black"/>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E75CF353-7719-485A-8CAA-AEB493F54644}"/>
              </a:ext>
            </a:extLst>
          </p:cNvPr>
          <p:cNvSpPr>
            <a:spLocks noChangeArrowheads="1"/>
          </p:cNvSpPr>
          <p:nvPr/>
        </p:nvSpPr>
        <p:spPr bwMode="auto">
          <a:xfrm>
            <a:off x="9688138" y="2754789"/>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Changes in portfolio</a:t>
            </a:r>
          </a:p>
          <a:p>
            <a:pPr algn="ctr"/>
            <a:r>
              <a:rPr lang="en-US" sz="1200" dirty="0">
                <a:solidFill>
                  <a:prstClr val="black"/>
                </a:solidFill>
                <a:latin typeface="Arial" panose="020B0604020202020204" pitchFamily="34" charset="0"/>
                <a:cs typeface="Arial" panose="020B0604020202020204" pitchFamily="34" charset="0"/>
              </a:rPr>
              <a:t>composition due to internal and external factors </a:t>
            </a:r>
            <a:endParaRPr lang="en-GB" sz="1200" dirty="0">
              <a:solidFill>
                <a:prstClr val="black"/>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66C6B638-4AF0-480A-90BD-D2B0C0BC44CC}"/>
              </a:ext>
            </a:extLst>
          </p:cNvPr>
          <p:cNvSpPr>
            <a:spLocks noChangeArrowheads="1"/>
          </p:cNvSpPr>
          <p:nvPr/>
        </p:nvSpPr>
        <p:spPr bwMode="auto">
          <a:xfrm>
            <a:off x="1965695" y="3731819"/>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Effects of negative interest rate scenarios on assets and liabilities</a:t>
            </a:r>
          </a:p>
        </p:txBody>
      </p:sp>
      <p:sp>
        <p:nvSpPr>
          <p:cNvPr id="60" name="Rectangle 59">
            <a:extLst>
              <a:ext uri="{FF2B5EF4-FFF2-40B4-BE49-F238E27FC236}">
                <a16:creationId xmlns:a16="http://schemas.microsoft.com/office/drawing/2014/main" id="{BCFFBB14-A337-447E-98C7-CCBB8E9B7AED}"/>
              </a:ext>
            </a:extLst>
          </p:cNvPr>
          <p:cNvSpPr>
            <a:spLocks noChangeArrowheads="1"/>
          </p:cNvSpPr>
          <p:nvPr/>
        </p:nvSpPr>
        <p:spPr bwMode="auto">
          <a:xfrm>
            <a:off x="9668113" y="3731818"/>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Changes in portfolio</a:t>
            </a:r>
          </a:p>
          <a:p>
            <a:pPr algn="ctr"/>
            <a:r>
              <a:rPr lang="en-US" sz="1200" dirty="0">
                <a:solidFill>
                  <a:prstClr val="black"/>
                </a:solidFill>
                <a:latin typeface="Arial" panose="020B0604020202020204" pitchFamily="34" charset="0"/>
                <a:cs typeface="Arial" panose="020B0604020202020204" pitchFamily="34" charset="0"/>
              </a:rPr>
              <a:t>composition due to internal and external factors </a:t>
            </a:r>
            <a:endParaRPr lang="en-GB" sz="1200" dirty="0">
              <a:solidFill>
                <a:prstClr val="black"/>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7F69140A-E7BA-4888-8E90-12D10FD106F9}"/>
              </a:ext>
            </a:extLst>
          </p:cNvPr>
          <p:cNvSpPr>
            <a:spLocks noChangeArrowheads="1"/>
          </p:cNvSpPr>
          <p:nvPr/>
        </p:nvSpPr>
        <p:spPr bwMode="auto">
          <a:xfrm>
            <a:off x="1964854" y="4706634"/>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Scenarios should cover parallel, non-parallel gap risk, basis risk and option risk </a:t>
            </a:r>
          </a:p>
        </p:txBody>
      </p:sp>
      <p:sp>
        <p:nvSpPr>
          <p:cNvPr id="62" name="Rectangle 61">
            <a:extLst>
              <a:ext uri="{FF2B5EF4-FFF2-40B4-BE49-F238E27FC236}">
                <a16:creationId xmlns:a16="http://schemas.microsoft.com/office/drawing/2014/main" id="{B12F8047-6834-4706-9CA4-4754FF1E72D3}"/>
              </a:ext>
            </a:extLst>
          </p:cNvPr>
          <p:cNvSpPr>
            <a:spLocks noChangeArrowheads="1"/>
          </p:cNvSpPr>
          <p:nvPr/>
        </p:nvSpPr>
        <p:spPr bwMode="auto">
          <a:xfrm>
            <a:off x="9667271" y="4706633"/>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New products and markets where only limited</a:t>
            </a:r>
          </a:p>
          <a:p>
            <a:pPr algn="ctr"/>
            <a:r>
              <a:rPr lang="en-US" sz="1200" dirty="0">
                <a:solidFill>
                  <a:prstClr val="black"/>
                </a:solidFill>
                <a:latin typeface="Arial" panose="020B0604020202020204" pitchFamily="34" charset="0"/>
                <a:cs typeface="Arial" panose="020B0604020202020204" pitchFamily="34" charset="0"/>
              </a:rPr>
              <a:t>historical data are available; </a:t>
            </a:r>
          </a:p>
        </p:txBody>
      </p:sp>
      <p:sp>
        <p:nvSpPr>
          <p:cNvPr id="63" name="Rectangle 62">
            <a:extLst>
              <a:ext uri="{FF2B5EF4-FFF2-40B4-BE49-F238E27FC236}">
                <a16:creationId xmlns:a16="http://schemas.microsoft.com/office/drawing/2014/main" id="{F86A026D-66F9-4CFD-A3DE-91DA2731E0DA}"/>
              </a:ext>
            </a:extLst>
          </p:cNvPr>
          <p:cNvSpPr>
            <a:spLocks noChangeArrowheads="1"/>
          </p:cNvSpPr>
          <p:nvPr/>
        </p:nvSpPr>
        <p:spPr bwMode="auto">
          <a:xfrm>
            <a:off x="1964854" y="5680498"/>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a:solidFill>
                  <a:prstClr val="black"/>
                </a:solidFill>
                <a:latin typeface="Arial" panose="020B0604020202020204" pitchFamily="34" charset="0"/>
                <a:cs typeface="Arial" panose="020B0604020202020204" pitchFamily="34" charset="0"/>
              </a:rPr>
              <a:t>Interaction of IRRBB with other risks (e.g. credit risk, liquidity risk).</a:t>
            </a:r>
            <a:endParaRPr lang="en-US" sz="1200" dirty="0">
              <a:solidFill>
                <a:prstClr val="black"/>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082DDD5B-94BB-44F3-83B7-88F673DD0DC7}"/>
              </a:ext>
            </a:extLst>
          </p:cNvPr>
          <p:cNvSpPr>
            <a:spLocks noChangeArrowheads="1"/>
          </p:cNvSpPr>
          <p:nvPr/>
        </p:nvSpPr>
        <p:spPr bwMode="auto">
          <a:xfrm>
            <a:off x="9667271" y="5680498"/>
            <a:ext cx="2217759" cy="777451"/>
          </a:xfrm>
          <a:prstGeom prst="rect">
            <a:avLst/>
          </a:prstGeom>
          <a:solidFill>
            <a:schemeClr val="bg1">
              <a:lumMod val="95000"/>
            </a:schemeClr>
          </a:solidFill>
          <a:ln w="12700" algn="ctr">
            <a:noFill/>
            <a:miter lim="800000"/>
            <a:headEnd/>
            <a:tailEnd/>
          </a:ln>
        </p:spPr>
        <p:txBody>
          <a:bodyPr wrap="square" lIns="0" tIns="0" rIns="0" bIns="0" anchor="ctr"/>
          <a:lstStyle/>
          <a:p>
            <a:pPr algn="ctr"/>
            <a:r>
              <a:rPr lang="en-US" sz="1200" dirty="0">
                <a:solidFill>
                  <a:prstClr val="black"/>
                </a:solidFill>
                <a:latin typeface="Arial" panose="020B0604020202020204" pitchFamily="34" charset="0"/>
                <a:cs typeface="Arial" panose="020B0604020202020204" pitchFamily="34" charset="0"/>
              </a:rPr>
              <a:t>Qualitative and quantitative reverse stress testing </a:t>
            </a:r>
          </a:p>
        </p:txBody>
      </p:sp>
      <p:pic>
        <p:nvPicPr>
          <p:cNvPr id="68" name="Picture 92" descr="black%20swan">
            <a:extLst>
              <a:ext uri="{FF2B5EF4-FFF2-40B4-BE49-F238E27FC236}">
                <a16:creationId xmlns:a16="http://schemas.microsoft.com/office/drawing/2014/main" id="{5DF50A97-8ED4-4F9A-B6D0-F513F9290201}"/>
              </a:ext>
            </a:extLst>
          </p:cNvPr>
          <p:cNvPicPr>
            <a:picLocks noChangeAspect="1" noChangeArrowheads="1"/>
          </p:cNvPicPr>
          <p:nvPr/>
        </p:nvPicPr>
        <p:blipFill>
          <a:blip r:embed="rId6" cstate="print"/>
          <a:srcRect/>
          <a:stretch>
            <a:fillRect/>
          </a:stretch>
        </p:blipFill>
        <p:spPr bwMode="auto">
          <a:xfrm>
            <a:off x="8214994" y="4208007"/>
            <a:ext cx="331046" cy="278659"/>
          </a:xfrm>
          <a:prstGeom prst="rect">
            <a:avLst/>
          </a:prstGeom>
          <a:noFill/>
          <a:ln w="9525">
            <a:noFill/>
            <a:miter lim="800000"/>
            <a:headEnd/>
            <a:tailEnd/>
          </a:ln>
        </p:spPr>
      </p:pic>
      <p:pic>
        <p:nvPicPr>
          <p:cNvPr id="69" name="Picture 91">
            <a:extLst>
              <a:ext uri="{FF2B5EF4-FFF2-40B4-BE49-F238E27FC236}">
                <a16:creationId xmlns:a16="http://schemas.microsoft.com/office/drawing/2014/main" id="{98238792-B346-4A0D-854F-2B396765275A}"/>
              </a:ext>
            </a:extLst>
          </p:cNvPr>
          <p:cNvPicPr>
            <a:picLocks noChangeAspect="1" noChangeArrowheads="1"/>
          </p:cNvPicPr>
          <p:nvPr/>
        </p:nvPicPr>
        <p:blipFill>
          <a:blip r:embed="rId7" cstate="print">
            <a:lum bright="38000" contrast="68000"/>
            <a:grayscl/>
          </a:blip>
          <a:srcRect/>
          <a:stretch>
            <a:fillRect/>
          </a:stretch>
        </p:blipFill>
        <p:spPr bwMode="auto">
          <a:xfrm>
            <a:off x="7726977" y="3769762"/>
            <a:ext cx="295829" cy="224647"/>
          </a:xfrm>
          <a:prstGeom prst="rect">
            <a:avLst/>
          </a:prstGeom>
          <a:noFill/>
          <a:ln w="9525">
            <a:noFill/>
            <a:round/>
            <a:headEnd/>
            <a:tailEnd/>
          </a:ln>
        </p:spPr>
      </p:pic>
      <p:pic>
        <p:nvPicPr>
          <p:cNvPr id="70" name="Picture 88">
            <a:extLst>
              <a:ext uri="{FF2B5EF4-FFF2-40B4-BE49-F238E27FC236}">
                <a16:creationId xmlns:a16="http://schemas.microsoft.com/office/drawing/2014/main" id="{E38D8621-233A-46AD-88D8-46E6DCDC09F8}"/>
              </a:ext>
            </a:extLst>
          </p:cNvPr>
          <p:cNvPicPr>
            <a:picLocks noChangeAspect="1" noChangeArrowheads="1"/>
          </p:cNvPicPr>
          <p:nvPr/>
        </p:nvPicPr>
        <p:blipFill>
          <a:blip r:embed="rId7" cstate="print">
            <a:lum bright="38000" contrast="68000"/>
            <a:grayscl/>
          </a:blip>
          <a:srcRect/>
          <a:stretch>
            <a:fillRect/>
          </a:stretch>
        </p:blipFill>
        <p:spPr bwMode="auto">
          <a:xfrm>
            <a:off x="7232923" y="4814430"/>
            <a:ext cx="295829" cy="224646"/>
          </a:xfrm>
          <a:prstGeom prst="rect">
            <a:avLst/>
          </a:prstGeom>
          <a:noFill/>
          <a:ln w="9525">
            <a:noFill/>
            <a:round/>
            <a:headEnd/>
            <a:tailEnd/>
          </a:ln>
        </p:spPr>
      </p:pic>
      <p:pic>
        <p:nvPicPr>
          <p:cNvPr id="72" name="Picture 89">
            <a:extLst>
              <a:ext uri="{FF2B5EF4-FFF2-40B4-BE49-F238E27FC236}">
                <a16:creationId xmlns:a16="http://schemas.microsoft.com/office/drawing/2014/main" id="{0CC47204-E522-4814-9CA4-7D62B2ED734A}"/>
              </a:ext>
            </a:extLst>
          </p:cNvPr>
          <p:cNvPicPr>
            <a:picLocks noChangeAspect="1" noChangeArrowheads="1"/>
          </p:cNvPicPr>
          <p:nvPr/>
        </p:nvPicPr>
        <p:blipFill>
          <a:blip r:embed="rId8" cstate="print">
            <a:lum bright="38000" contrast="68000"/>
            <a:grayscl/>
          </a:blip>
          <a:srcRect/>
          <a:stretch>
            <a:fillRect/>
          </a:stretch>
        </p:blipFill>
        <p:spPr bwMode="auto">
          <a:xfrm>
            <a:off x="7120226" y="4223965"/>
            <a:ext cx="295829" cy="224647"/>
          </a:xfrm>
          <a:prstGeom prst="rect">
            <a:avLst/>
          </a:prstGeom>
          <a:noFill/>
          <a:ln w="9525">
            <a:noFill/>
            <a:round/>
            <a:headEnd/>
            <a:tailEnd/>
          </a:ln>
        </p:spPr>
      </p:pic>
      <p:pic>
        <p:nvPicPr>
          <p:cNvPr id="73" name="Picture 90">
            <a:extLst>
              <a:ext uri="{FF2B5EF4-FFF2-40B4-BE49-F238E27FC236}">
                <a16:creationId xmlns:a16="http://schemas.microsoft.com/office/drawing/2014/main" id="{1A58394C-F2E1-42E5-866D-33883526C640}"/>
              </a:ext>
            </a:extLst>
          </p:cNvPr>
          <p:cNvPicPr>
            <a:picLocks noChangeAspect="1" noChangeArrowheads="1"/>
          </p:cNvPicPr>
          <p:nvPr/>
        </p:nvPicPr>
        <p:blipFill>
          <a:blip r:embed="rId8" cstate="print">
            <a:lum bright="38000" contrast="68000"/>
            <a:grayscl/>
          </a:blip>
          <a:srcRect/>
          <a:stretch>
            <a:fillRect/>
          </a:stretch>
        </p:blipFill>
        <p:spPr bwMode="auto">
          <a:xfrm>
            <a:off x="8582265" y="3283641"/>
            <a:ext cx="295829" cy="224647"/>
          </a:xfrm>
          <a:prstGeom prst="rect">
            <a:avLst/>
          </a:prstGeom>
          <a:noFill/>
          <a:ln w="9525">
            <a:noFill/>
            <a:round/>
            <a:headEnd/>
            <a:tailEnd/>
          </a:ln>
        </p:spPr>
      </p:pic>
      <p:pic>
        <p:nvPicPr>
          <p:cNvPr id="74" name="Picture 83">
            <a:extLst>
              <a:ext uri="{FF2B5EF4-FFF2-40B4-BE49-F238E27FC236}">
                <a16:creationId xmlns:a16="http://schemas.microsoft.com/office/drawing/2014/main" id="{5EE4E253-B3C6-483C-9356-1CFD37CEB0FF}"/>
              </a:ext>
            </a:extLst>
          </p:cNvPr>
          <p:cNvPicPr>
            <a:picLocks noChangeAspect="1" noChangeArrowheads="1"/>
          </p:cNvPicPr>
          <p:nvPr/>
        </p:nvPicPr>
        <p:blipFill>
          <a:blip r:embed="rId9" cstate="print">
            <a:lum bright="26000"/>
          </a:blip>
          <a:srcRect/>
          <a:stretch>
            <a:fillRect/>
          </a:stretch>
        </p:blipFill>
        <p:spPr bwMode="auto">
          <a:xfrm>
            <a:off x="7855773" y="2712819"/>
            <a:ext cx="296835" cy="223419"/>
          </a:xfrm>
          <a:prstGeom prst="rect">
            <a:avLst/>
          </a:prstGeom>
          <a:noFill/>
          <a:ln w="9525">
            <a:noFill/>
            <a:round/>
            <a:headEnd/>
            <a:tailEnd/>
          </a:ln>
        </p:spPr>
      </p:pic>
      <p:pic>
        <p:nvPicPr>
          <p:cNvPr id="76" name="Picture 82">
            <a:extLst>
              <a:ext uri="{FF2B5EF4-FFF2-40B4-BE49-F238E27FC236}">
                <a16:creationId xmlns:a16="http://schemas.microsoft.com/office/drawing/2014/main" id="{01D9ECBE-16A8-4594-84C5-A3B329D3608C}"/>
              </a:ext>
            </a:extLst>
          </p:cNvPr>
          <p:cNvPicPr>
            <a:picLocks noChangeAspect="1" noChangeArrowheads="1"/>
          </p:cNvPicPr>
          <p:nvPr/>
        </p:nvPicPr>
        <p:blipFill>
          <a:blip r:embed="rId9" cstate="print">
            <a:lum bright="26000"/>
          </a:blip>
          <a:srcRect/>
          <a:stretch>
            <a:fillRect/>
          </a:stretch>
        </p:blipFill>
        <p:spPr bwMode="auto">
          <a:xfrm>
            <a:off x="6982374" y="2480806"/>
            <a:ext cx="296835" cy="223419"/>
          </a:xfrm>
          <a:prstGeom prst="rect">
            <a:avLst/>
          </a:prstGeom>
          <a:noFill/>
          <a:ln w="9525">
            <a:noFill/>
            <a:round/>
            <a:headEnd/>
            <a:tailEnd/>
          </a:ln>
        </p:spPr>
      </p:pic>
      <p:pic>
        <p:nvPicPr>
          <p:cNvPr id="77" name="Picture 80">
            <a:extLst>
              <a:ext uri="{FF2B5EF4-FFF2-40B4-BE49-F238E27FC236}">
                <a16:creationId xmlns:a16="http://schemas.microsoft.com/office/drawing/2014/main" id="{B7E9993E-91A5-4958-8E86-3F3E5D465FEE}"/>
              </a:ext>
            </a:extLst>
          </p:cNvPr>
          <p:cNvPicPr>
            <a:picLocks noChangeAspect="1" noChangeArrowheads="1"/>
          </p:cNvPicPr>
          <p:nvPr/>
        </p:nvPicPr>
        <p:blipFill>
          <a:blip r:embed="rId8" cstate="print">
            <a:lum bright="38000" contrast="68000"/>
            <a:grayscl/>
          </a:blip>
          <a:srcRect/>
          <a:stretch>
            <a:fillRect/>
          </a:stretch>
        </p:blipFill>
        <p:spPr bwMode="auto">
          <a:xfrm>
            <a:off x="6449077" y="4676941"/>
            <a:ext cx="295829" cy="224646"/>
          </a:xfrm>
          <a:prstGeom prst="rect">
            <a:avLst/>
          </a:prstGeom>
          <a:noFill/>
          <a:ln w="9525">
            <a:noFill/>
            <a:round/>
            <a:headEnd/>
            <a:tailEnd/>
          </a:ln>
        </p:spPr>
      </p:pic>
      <p:pic>
        <p:nvPicPr>
          <p:cNvPr id="81" name="Picture 77">
            <a:extLst>
              <a:ext uri="{FF2B5EF4-FFF2-40B4-BE49-F238E27FC236}">
                <a16:creationId xmlns:a16="http://schemas.microsoft.com/office/drawing/2014/main" id="{8C52A53D-BA40-46D1-8ECE-480917E4DE25}"/>
              </a:ext>
            </a:extLst>
          </p:cNvPr>
          <p:cNvPicPr>
            <a:picLocks noChangeAspect="1" noChangeArrowheads="1"/>
          </p:cNvPicPr>
          <p:nvPr/>
        </p:nvPicPr>
        <p:blipFill>
          <a:blip r:embed="rId9" cstate="print">
            <a:lum bright="26000"/>
          </a:blip>
          <a:srcRect/>
          <a:stretch>
            <a:fillRect/>
          </a:stretch>
        </p:blipFill>
        <p:spPr bwMode="auto">
          <a:xfrm>
            <a:off x="6496369" y="3687514"/>
            <a:ext cx="296835" cy="223419"/>
          </a:xfrm>
          <a:prstGeom prst="rect">
            <a:avLst/>
          </a:prstGeom>
          <a:noFill/>
          <a:ln w="9525">
            <a:noFill/>
            <a:round/>
            <a:headEnd/>
            <a:tailEnd/>
          </a:ln>
        </p:spPr>
      </p:pic>
      <p:pic>
        <p:nvPicPr>
          <p:cNvPr id="83" name="Picture 75">
            <a:extLst>
              <a:ext uri="{FF2B5EF4-FFF2-40B4-BE49-F238E27FC236}">
                <a16:creationId xmlns:a16="http://schemas.microsoft.com/office/drawing/2014/main" id="{1165BA9F-B41C-46C9-800E-7303DC9DD377}"/>
              </a:ext>
            </a:extLst>
          </p:cNvPr>
          <p:cNvPicPr>
            <a:picLocks noChangeAspect="1" noChangeArrowheads="1"/>
          </p:cNvPicPr>
          <p:nvPr/>
        </p:nvPicPr>
        <p:blipFill>
          <a:blip r:embed="rId9" cstate="print">
            <a:lum bright="26000"/>
          </a:blip>
          <a:srcRect/>
          <a:stretch>
            <a:fillRect/>
          </a:stretch>
        </p:blipFill>
        <p:spPr bwMode="auto">
          <a:xfrm>
            <a:off x="6098912" y="2880996"/>
            <a:ext cx="296835" cy="223419"/>
          </a:xfrm>
          <a:prstGeom prst="rect">
            <a:avLst/>
          </a:prstGeom>
          <a:noFill/>
          <a:ln w="9525">
            <a:noFill/>
            <a:round/>
            <a:headEnd/>
            <a:tailEnd/>
          </a:ln>
        </p:spPr>
      </p:pic>
      <p:pic>
        <p:nvPicPr>
          <p:cNvPr id="84" name="Picture 74">
            <a:extLst>
              <a:ext uri="{FF2B5EF4-FFF2-40B4-BE49-F238E27FC236}">
                <a16:creationId xmlns:a16="http://schemas.microsoft.com/office/drawing/2014/main" id="{3EF46ADA-92A3-4CC3-86A8-82715C71D7C4}"/>
              </a:ext>
            </a:extLst>
          </p:cNvPr>
          <p:cNvPicPr>
            <a:picLocks noChangeAspect="1" noChangeArrowheads="1"/>
          </p:cNvPicPr>
          <p:nvPr/>
        </p:nvPicPr>
        <p:blipFill>
          <a:blip r:embed="rId9" cstate="print">
            <a:lum bright="26000"/>
          </a:blip>
          <a:srcRect/>
          <a:stretch>
            <a:fillRect/>
          </a:stretch>
        </p:blipFill>
        <p:spPr bwMode="auto">
          <a:xfrm>
            <a:off x="5770884" y="2839259"/>
            <a:ext cx="296835" cy="223419"/>
          </a:xfrm>
          <a:prstGeom prst="rect">
            <a:avLst/>
          </a:prstGeom>
          <a:noFill/>
          <a:ln w="9525">
            <a:noFill/>
            <a:round/>
            <a:headEnd/>
            <a:tailEnd/>
          </a:ln>
        </p:spPr>
      </p:pic>
      <p:sp>
        <p:nvSpPr>
          <p:cNvPr id="85" name="Text Box 26">
            <a:extLst>
              <a:ext uri="{FF2B5EF4-FFF2-40B4-BE49-F238E27FC236}">
                <a16:creationId xmlns:a16="http://schemas.microsoft.com/office/drawing/2014/main" id="{4FAAE9A1-4514-4D3C-BCAA-8C095F2EC937}"/>
              </a:ext>
            </a:extLst>
          </p:cNvPr>
          <p:cNvSpPr txBox="1">
            <a:spLocks noChangeArrowheads="1"/>
          </p:cNvSpPr>
          <p:nvPr/>
        </p:nvSpPr>
        <p:spPr bwMode="auto">
          <a:xfrm>
            <a:off x="8858010" y="4617713"/>
            <a:ext cx="575558" cy="282878"/>
          </a:xfrm>
          <a:prstGeom prst="rect">
            <a:avLst/>
          </a:prstGeom>
          <a:noFill/>
          <a:ln w="9525">
            <a:noFill/>
            <a:miter lim="800000"/>
            <a:headEnd/>
            <a:tailEnd/>
          </a:ln>
        </p:spPr>
        <p:txBody>
          <a:bodyPr lIns="82040" tIns="41020" rIns="82040" bIns="41020">
            <a:spAutoFit/>
          </a:bodyPr>
          <a:lstStyle/>
          <a:p>
            <a:pPr marL="0" marR="0" lvl="0" indent="0" defTabSz="820007" eaLnBrk="1" fontAlgn="base" latinLnBrk="0" hangingPunct="1">
              <a:lnSpc>
                <a:spcPct val="100000"/>
              </a:lnSpc>
              <a:spcBef>
                <a:spcPct val="50000"/>
              </a:spcBef>
              <a:spcAft>
                <a:spcPct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Verdana"/>
                <a:cs typeface="Arial" charset="0"/>
              </a:rPr>
              <a:t>t=3</a:t>
            </a:r>
          </a:p>
        </p:txBody>
      </p:sp>
      <p:sp>
        <p:nvSpPr>
          <p:cNvPr id="86" name="Freeform 3">
            <a:extLst>
              <a:ext uri="{FF2B5EF4-FFF2-40B4-BE49-F238E27FC236}">
                <a16:creationId xmlns:a16="http://schemas.microsoft.com/office/drawing/2014/main" id="{276E14D0-1224-4429-A533-39BB0FA384D0}"/>
              </a:ext>
            </a:extLst>
          </p:cNvPr>
          <p:cNvSpPr>
            <a:spLocks/>
          </p:cNvSpPr>
          <p:nvPr/>
        </p:nvSpPr>
        <p:spPr bwMode="auto">
          <a:xfrm>
            <a:off x="5173189" y="2662488"/>
            <a:ext cx="2412917" cy="2414644"/>
          </a:xfrm>
          <a:custGeom>
            <a:avLst/>
            <a:gdLst>
              <a:gd name="T0" fmla="*/ 0 w 2858"/>
              <a:gd name="T1" fmla="*/ 2147483647 h 2450"/>
              <a:gd name="T2" fmla="*/ 2147483647 w 2858"/>
              <a:gd name="T3" fmla="*/ 2147483647 h 2450"/>
              <a:gd name="T4" fmla="*/ 2147483647 w 2858"/>
              <a:gd name="T5" fmla="*/ 2147483647 h 2450"/>
              <a:gd name="T6" fmla="*/ 2147483647 w 2858"/>
              <a:gd name="T7" fmla="*/ 2147483647 h 2450"/>
              <a:gd name="T8" fmla="*/ 2147483647 w 2858"/>
              <a:gd name="T9" fmla="*/ 2147483647 h 2450"/>
              <a:gd name="T10" fmla="*/ 2147483647 w 2858"/>
              <a:gd name="T11" fmla="*/ 0 h 2450"/>
              <a:gd name="T12" fmla="*/ 0 60000 65536"/>
              <a:gd name="T13" fmla="*/ 0 60000 65536"/>
              <a:gd name="T14" fmla="*/ 0 60000 65536"/>
              <a:gd name="T15" fmla="*/ 0 60000 65536"/>
              <a:gd name="T16" fmla="*/ 0 60000 65536"/>
              <a:gd name="T17" fmla="*/ 0 60000 65536"/>
              <a:gd name="T18" fmla="*/ 0 w 2858"/>
              <a:gd name="T19" fmla="*/ 0 h 2450"/>
              <a:gd name="T20" fmla="*/ 2858 w 2858"/>
              <a:gd name="T21" fmla="*/ 2450 h 2450"/>
            </a:gdLst>
            <a:ahLst/>
            <a:cxnLst>
              <a:cxn ang="T12">
                <a:pos x="T0" y="T1"/>
              </a:cxn>
              <a:cxn ang="T13">
                <a:pos x="T2" y="T3"/>
              </a:cxn>
              <a:cxn ang="T14">
                <a:pos x="T4" y="T5"/>
              </a:cxn>
              <a:cxn ang="T15">
                <a:pos x="T6" y="T7"/>
              </a:cxn>
              <a:cxn ang="T16">
                <a:pos x="T8" y="T9"/>
              </a:cxn>
              <a:cxn ang="T17">
                <a:pos x="T10" y="T11"/>
              </a:cxn>
            </a:cxnLst>
            <a:rect l="T18" t="T19" r="T20" b="T21"/>
            <a:pathLst>
              <a:path w="2858" h="2450">
                <a:moveTo>
                  <a:pt x="0" y="2450"/>
                </a:moveTo>
                <a:cubicBezTo>
                  <a:pt x="34" y="2268"/>
                  <a:pt x="69" y="2087"/>
                  <a:pt x="182" y="1860"/>
                </a:cubicBezTo>
                <a:cubicBezTo>
                  <a:pt x="295" y="1633"/>
                  <a:pt x="432" y="1255"/>
                  <a:pt x="681" y="1089"/>
                </a:cubicBezTo>
                <a:cubicBezTo>
                  <a:pt x="930" y="923"/>
                  <a:pt x="1369" y="983"/>
                  <a:pt x="1679" y="862"/>
                </a:cubicBezTo>
                <a:cubicBezTo>
                  <a:pt x="1989" y="741"/>
                  <a:pt x="2344" y="507"/>
                  <a:pt x="2540" y="363"/>
                </a:cubicBezTo>
                <a:cubicBezTo>
                  <a:pt x="2736" y="219"/>
                  <a:pt x="2797" y="109"/>
                  <a:pt x="2858" y="0"/>
                </a:cubicBezTo>
              </a:path>
            </a:pathLst>
          </a:custGeom>
          <a:noFill/>
          <a:ln w="9398">
            <a:solidFill>
              <a:srgbClr val="86BC25"/>
            </a:solidFill>
            <a:round/>
            <a:headEnd/>
            <a:tailEnd type="triangle" w="med" len="me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87" name="Freeform 4">
            <a:extLst>
              <a:ext uri="{FF2B5EF4-FFF2-40B4-BE49-F238E27FC236}">
                <a16:creationId xmlns:a16="http://schemas.microsoft.com/office/drawing/2014/main" id="{B90A1D90-0EF5-4104-9003-2BD1C55619AA}"/>
              </a:ext>
            </a:extLst>
          </p:cNvPr>
          <p:cNvSpPr>
            <a:spLocks/>
          </p:cNvSpPr>
          <p:nvPr/>
        </p:nvSpPr>
        <p:spPr bwMode="auto">
          <a:xfrm>
            <a:off x="5173189" y="3645777"/>
            <a:ext cx="3637488" cy="1475547"/>
          </a:xfrm>
          <a:custGeom>
            <a:avLst/>
            <a:gdLst>
              <a:gd name="T0" fmla="*/ 0 w 4309"/>
              <a:gd name="T1" fmla="*/ 2147483647 h 1497"/>
              <a:gd name="T2" fmla="*/ 2147483647 w 4309"/>
              <a:gd name="T3" fmla="*/ 2147483647 h 1497"/>
              <a:gd name="T4" fmla="*/ 2147483647 w 4309"/>
              <a:gd name="T5" fmla="*/ 2147483647 h 1497"/>
              <a:gd name="T6" fmla="*/ 2147483647 w 4309"/>
              <a:gd name="T7" fmla="*/ 2147483647 h 1497"/>
              <a:gd name="T8" fmla="*/ 2147483647 w 4309"/>
              <a:gd name="T9" fmla="*/ 0 h 1497"/>
              <a:gd name="T10" fmla="*/ 0 60000 65536"/>
              <a:gd name="T11" fmla="*/ 0 60000 65536"/>
              <a:gd name="T12" fmla="*/ 0 60000 65536"/>
              <a:gd name="T13" fmla="*/ 0 60000 65536"/>
              <a:gd name="T14" fmla="*/ 0 60000 65536"/>
              <a:gd name="T15" fmla="*/ 0 w 4309"/>
              <a:gd name="T16" fmla="*/ 0 h 1497"/>
              <a:gd name="T17" fmla="*/ 4309 w 4309"/>
              <a:gd name="T18" fmla="*/ 1497 h 1497"/>
            </a:gdLst>
            <a:ahLst/>
            <a:cxnLst>
              <a:cxn ang="T10">
                <a:pos x="T0" y="T1"/>
              </a:cxn>
              <a:cxn ang="T11">
                <a:pos x="T2" y="T3"/>
              </a:cxn>
              <a:cxn ang="T12">
                <a:pos x="T4" y="T5"/>
              </a:cxn>
              <a:cxn ang="T13">
                <a:pos x="T6" y="T7"/>
              </a:cxn>
              <a:cxn ang="T14">
                <a:pos x="T8" y="T9"/>
              </a:cxn>
            </a:cxnLst>
            <a:rect l="T15" t="T16" r="T17" b="T18"/>
            <a:pathLst>
              <a:path w="4309" h="1497">
                <a:moveTo>
                  <a:pt x="0" y="1497"/>
                </a:moveTo>
                <a:cubicBezTo>
                  <a:pt x="234" y="1446"/>
                  <a:pt x="927" y="1278"/>
                  <a:pt x="1404" y="1190"/>
                </a:cubicBezTo>
                <a:cubicBezTo>
                  <a:pt x="1881" y="1102"/>
                  <a:pt x="2503" y="1130"/>
                  <a:pt x="2859" y="970"/>
                </a:cubicBezTo>
                <a:cubicBezTo>
                  <a:pt x="3215" y="810"/>
                  <a:pt x="3296" y="389"/>
                  <a:pt x="3538" y="227"/>
                </a:cubicBezTo>
                <a:cubicBezTo>
                  <a:pt x="3780" y="65"/>
                  <a:pt x="4055" y="34"/>
                  <a:pt x="4309" y="0"/>
                </a:cubicBezTo>
              </a:path>
            </a:pathLst>
          </a:custGeom>
          <a:noFill/>
          <a:ln w="9398">
            <a:solidFill>
              <a:srgbClr val="86BC25"/>
            </a:solidFill>
            <a:round/>
            <a:headEnd/>
            <a:tailEnd type="triangle" w="med" len="me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pic>
        <p:nvPicPr>
          <p:cNvPr id="89" name="Picture 7">
            <a:extLst>
              <a:ext uri="{FF2B5EF4-FFF2-40B4-BE49-F238E27FC236}">
                <a16:creationId xmlns:a16="http://schemas.microsoft.com/office/drawing/2014/main" id="{DFE3E368-A9B0-4587-8038-725C45474C97}"/>
              </a:ext>
            </a:extLst>
          </p:cNvPr>
          <p:cNvPicPr>
            <a:picLocks noChangeAspect="1" noChangeArrowheads="1"/>
          </p:cNvPicPr>
          <p:nvPr/>
        </p:nvPicPr>
        <p:blipFill>
          <a:blip r:embed="rId8" cstate="print">
            <a:lum bright="38000" contrast="68000"/>
            <a:grayscl/>
          </a:blip>
          <a:srcRect/>
          <a:stretch>
            <a:fillRect/>
          </a:stretch>
        </p:blipFill>
        <p:spPr bwMode="auto">
          <a:xfrm>
            <a:off x="7953377" y="3845871"/>
            <a:ext cx="295829" cy="224647"/>
          </a:xfrm>
          <a:prstGeom prst="rect">
            <a:avLst/>
          </a:prstGeom>
          <a:noFill/>
          <a:ln w="9525">
            <a:noFill/>
            <a:round/>
            <a:headEnd/>
            <a:tailEnd/>
          </a:ln>
        </p:spPr>
      </p:pic>
      <p:pic>
        <p:nvPicPr>
          <p:cNvPr id="90" name="Picture 79">
            <a:extLst>
              <a:ext uri="{FF2B5EF4-FFF2-40B4-BE49-F238E27FC236}">
                <a16:creationId xmlns:a16="http://schemas.microsoft.com/office/drawing/2014/main" id="{E11BF811-D702-4AD3-9618-6102AC04EB41}"/>
              </a:ext>
            </a:extLst>
          </p:cNvPr>
          <p:cNvPicPr>
            <a:picLocks noChangeAspect="1" noChangeArrowheads="1"/>
          </p:cNvPicPr>
          <p:nvPr/>
        </p:nvPicPr>
        <p:blipFill>
          <a:blip r:embed="rId8" cstate="print">
            <a:lum contrast="40000"/>
          </a:blip>
          <a:srcRect/>
          <a:stretch>
            <a:fillRect/>
          </a:stretch>
        </p:blipFill>
        <p:spPr bwMode="auto">
          <a:xfrm>
            <a:off x="7274178" y="3476371"/>
            <a:ext cx="295829" cy="224646"/>
          </a:xfrm>
          <a:prstGeom prst="rect">
            <a:avLst/>
          </a:prstGeom>
          <a:noFill/>
          <a:ln w="9525">
            <a:noFill/>
            <a:round/>
            <a:headEnd/>
            <a:tailEnd/>
          </a:ln>
        </p:spPr>
      </p:pic>
      <p:pic>
        <p:nvPicPr>
          <p:cNvPr id="91" name="Picture 8">
            <a:extLst>
              <a:ext uri="{FF2B5EF4-FFF2-40B4-BE49-F238E27FC236}">
                <a16:creationId xmlns:a16="http://schemas.microsoft.com/office/drawing/2014/main" id="{4358F894-66B8-4E6D-BFD9-C7A325058E74}"/>
              </a:ext>
            </a:extLst>
          </p:cNvPr>
          <p:cNvPicPr>
            <a:picLocks noChangeAspect="1" noChangeArrowheads="1"/>
          </p:cNvPicPr>
          <p:nvPr/>
        </p:nvPicPr>
        <p:blipFill>
          <a:blip r:embed="rId10" cstate="print"/>
          <a:srcRect/>
          <a:stretch>
            <a:fillRect/>
          </a:stretch>
        </p:blipFill>
        <p:spPr bwMode="auto">
          <a:xfrm>
            <a:off x="7916146" y="3131422"/>
            <a:ext cx="295829" cy="223419"/>
          </a:xfrm>
          <a:prstGeom prst="rect">
            <a:avLst/>
          </a:prstGeom>
          <a:noFill/>
          <a:ln w="9525">
            <a:noFill/>
            <a:round/>
            <a:headEnd/>
            <a:tailEnd/>
          </a:ln>
        </p:spPr>
      </p:pic>
      <p:pic>
        <p:nvPicPr>
          <p:cNvPr id="92" name="Picture 9">
            <a:extLst>
              <a:ext uri="{FF2B5EF4-FFF2-40B4-BE49-F238E27FC236}">
                <a16:creationId xmlns:a16="http://schemas.microsoft.com/office/drawing/2014/main" id="{4BD69ECE-D20F-4DCA-8A81-EF9106A5A65C}"/>
              </a:ext>
            </a:extLst>
          </p:cNvPr>
          <p:cNvPicPr>
            <a:picLocks noChangeAspect="1" noChangeArrowheads="1"/>
          </p:cNvPicPr>
          <p:nvPr/>
        </p:nvPicPr>
        <p:blipFill>
          <a:blip r:embed="rId11" cstate="print"/>
          <a:srcRect/>
          <a:stretch>
            <a:fillRect/>
          </a:stretch>
        </p:blipFill>
        <p:spPr bwMode="auto">
          <a:xfrm>
            <a:off x="7149406" y="2906776"/>
            <a:ext cx="295829" cy="223419"/>
          </a:xfrm>
          <a:prstGeom prst="rect">
            <a:avLst/>
          </a:prstGeom>
          <a:blipFill dpi="0" rotWithShape="0">
            <a:blip cstate="print"/>
            <a:srcRect/>
            <a:stretch>
              <a:fillRect/>
            </a:stretch>
          </a:blipFill>
          <a:ln w="9525">
            <a:noFill/>
            <a:round/>
            <a:headEnd/>
            <a:tailEnd/>
          </a:ln>
        </p:spPr>
      </p:pic>
      <p:grpSp>
        <p:nvGrpSpPr>
          <p:cNvPr id="93" name="Group 10">
            <a:extLst>
              <a:ext uri="{FF2B5EF4-FFF2-40B4-BE49-F238E27FC236}">
                <a16:creationId xmlns:a16="http://schemas.microsoft.com/office/drawing/2014/main" id="{A640829F-AA52-48B6-A9DC-C1BD10F7D4D2}"/>
              </a:ext>
            </a:extLst>
          </p:cNvPr>
          <p:cNvGrpSpPr>
            <a:grpSpLocks/>
          </p:cNvGrpSpPr>
          <p:nvPr/>
        </p:nvGrpSpPr>
        <p:grpSpPr bwMode="auto">
          <a:xfrm>
            <a:off x="5374936" y="5236732"/>
            <a:ext cx="3214875" cy="1117095"/>
            <a:chOff x="1690" y="2926"/>
            <a:chExt cx="4081" cy="1133"/>
          </a:xfrm>
          <a:solidFill>
            <a:schemeClr val="tx1"/>
          </a:solidFill>
        </p:grpSpPr>
        <p:sp>
          <p:nvSpPr>
            <p:cNvPr id="122" name="Freeform 11">
              <a:extLst>
                <a:ext uri="{FF2B5EF4-FFF2-40B4-BE49-F238E27FC236}">
                  <a16:creationId xmlns:a16="http://schemas.microsoft.com/office/drawing/2014/main" id="{7C601D1E-823D-47ED-9C28-8BA62BEF82A3}"/>
                </a:ext>
              </a:extLst>
            </p:cNvPr>
            <p:cNvSpPr>
              <a:spLocks noChangeArrowheads="1"/>
            </p:cNvSpPr>
            <p:nvPr/>
          </p:nvSpPr>
          <p:spPr bwMode="auto">
            <a:xfrm>
              <a:off x="1690" y="3008"/>
              <a:ext cx="3956" cy="1052"/>
            </a:xfrm>
            <a:custGeom>
              <a:avLst/>
              <a:gdLst>
                <a:gd name="T0" fmla="*/ 0 w 2812"/>
                <a:gd name="T1" fmla="*/ 480 h 1179"/>
                <a:gd name="T2" fmla="*/ 0 w 2812"/>
                <a:gd name="T3" fmla="*/ 595 h 1179"/>
                <a:gd name="T4" fmla="*/ 21799 w 2812"/>
                <a:gd name="T5" fmla="*/ 45 h 1179"/>
                <a:gd name="T6" fmla="*/ 21799 w 2812"/>
                <a:gd name="T7" fmla="*/ 0 h 1179"/>
                <a:gd name="T8" fmla="*/ 0 w 2812"/>
                <a:gd name="T9" fmla="*/ 480 h 1179"/>
                <a:gd name="T10" fmla="*/ 0 60000 65536"/>
                <a:gd name="T11" fmla="*/ 0 60000 65536"/>
                <a:gd name="T12" fmla="*/ 0 60000 65536"/>
                <a:gd name="T13" fmla="*/ 0 60000 65536"/>
                <a:gd name="T14" fmla="*/ 0 60000 65536"/>
                <a:gd name="T15" fmla="*/ 0 w 2812"/>
                <a:gd name="T16" fmla="*/ 0 h 1179"/>
                <a:gd name="T17" fmla="*/ 2812 w 2812"/>
                <a:gd name="T18" fmla="*/ 1179 h 1179"/>
              </a:gdLst>
              <a:ahLst/>
              <a:cxnLst>
                <a:cxn ang="T10">
                  <a:pos x="T0" y="T1"/>
                </a:cxn>
                <a:cxn ang="T11">
                  <a:pos x="T2" y="T3"/>
                </a:cxn>
                <a:cxn ang="T12">
                  <a:pos x="T4" y="T5"/>
                </a:cxn>
                <a:cxn ang="T13">
                  <a:pos x="T6" y="T7"/>
                </a:cxn>
                <a:cxn ang="T14">
                  <a:pos x="T8" y="T9"/>
                </a:cxn>
              </a:cxnLst>
              <a:rect l="T15" t="T16" r="T17" b="T18"/>
              <a:pathLst>
                <a:path w="2812" h="1179">
                  <a:moveTo>
                    <a:pt x="0" y="952"/>
                  </a:moveTo>
                  <a:lnTo>
                    <a:pt x="0" y="1179"/>
                  </a:lnTo>
                  <a:lnTo>
                    <a:pt x="2812" y="90"/>
                  </a:lnTo>
                  <a:lnTo>
                    <a:pt x="2812" y="0"/>
                  </a:lnTo>
                  <a:lnTo>
                    <a:pt x="0" y="952"/>
                  </a:lnTo>
                  <a:close/>
                </a:path>
              </a:pathLst>
            </a:custGeom>
            <a:grpFill/>
            <a:ln w="9525">
              <a:noFill/>
              <a:round/>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23" name="Freeform 12">
              <a:extLst>
                <a:ext uri="{FF2B5EF4-FFF2-40B4-BE49-F238E27FC236}">
                  <a16:creationId xmlns:a16="http://schemas.microsoft.com/office/drawing/2014/main" id="{68B03545-3376-4127-B7B1-2BAE99F8BE00}"/>
                </a:ext>
              </a:extLst>
            </p:cNvPr>
            <p:cNvSpPr>
              <a:spLocks noChangeArrowheads="1"/>
            </p:cNvSpPr>
            <p:nvPr/>
          </p:nvSpPr>
          <p:spPr bwMode="auto">
            <a:xfrm>
              <a:off x="5645" y="2926"/>
              <a:ext cx="127" cy="244"/>
            </a:xfrm>
            <a:custGeom>
              <a:avLst/>
              <a:gdLst>
                <a:gd name="T0" fmla="*/ 0 w 90"/>
                <a:gd name="T1" fmla="*/ 0 h 273"/>
                <a:gd name="T2" fmla="*/ 0 w 90"/>
                <a:gd name="T3" fmla="*/ 139 h 273"/>
                <a:gd name="T4" fmla="*/ 711 w 90"/>
                <a:gd name="T5" fmla="*/ 46 h 273"/>
                <a:gd name="T6" fmla="*/ 0 w 90"/>
                <a:gd name="T7" fmla="*/ 0 h 273"/>
                <a:gd name="T8" fmla="*/ 0 60000 65536"/>
                <a:gd name="T9" fmla="*/ 0 60000 65536"/>
                <a:gd name="T10" fmla="*/ 0 60000 65536"/>
                <a:gd name="T11" fmla="*/ 0 60000 65536"/>
                <a:gd name="T12" fmla="*/ 0 w 90"/>
                <a:gd name="T13" fmla="*/ 0 h 273"/>
                <a:gd name="T14" fmla="*/ 90 w 90"/>
                <a:gd name="T15" fmla="*/ 273 h 273"/>
              </a:gdLst>
              <a:ahLst/>
              <a:cxnLst>
                <a:cxn ang="T8">
                  <a:pos x="T0" y="T1"/>
                </a:cxn>
                <a:cxn ang="T9">
                  <a:pos x="T2" y="T3"/>
                </a:cxn>
                <a:cxn ang="T10">
                  <a:pos x="T4" y="T5"/>
                </a:cxn>
                <a:cxn ang="T11">
                  <a:pos x="T6" y="T7"/>
                </a:cxn>
              </a:cxnLst>
              <a:rect l="T12" t="T13" r="T14" b="T15"/>
              <a:pathLst>
                <a:path w="90" h="273">
                  <a:moveTo>
                    <a:pt x="0" y="0"/>
                  </a:moveTo>
                  <a:lnTo>
                    <a:pt x="0" y="273"/>
                  </a:lnTo>
                  <a:lnTo>
                    <a:pt x="90" y="91"/>
                  </a:lnTo>
                  <a:lnTo>
                    <a:pt x="0" y="0"/>
                  </a:lnTo>
                  <a:close/>
                </a:path>
              </a:pathLst>
            </a:custGeom>
            <a:grpFill/>
            <a:ln w="9525">
              <a:noFill/>
              <a:round/>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grpSp>
      <p:pic>
        <p:nvPicPr>
          <p:cNvPr id="94" name="Picture 13">
            <a:extLst>
              <a:ext uri="{FF2B5EF4-FFF2-40B4-BE49-F238E27FC236}">
                <a16:creationId xmlns:a16="http://schemas.microsoft.com/office/drawing/2014/main" id="{9B237398-2BAE-4999-926F-E203D6735C7B}"/>
              </a:ext>
            </a:extLst>
          </p:cNvPr>
          <p:cNvPicPr>
            <a:picLocks noChangeAspect="1" noChangeArrowheads="1"/>
          </p:cNvPicPr>
          <p:nvPr/>
        </p:nvPicPr>
        <p:blipFill>
          <a:blip r:embed="rId9" cstate="print">
            <a:lum bright="26000"/>
          </a:blip>
          <a:srcRect/>
          <a:stretch>
            <a:fillRect/>
          </a:stretch>
        </p:blipFill>
        <p:spPr bwMode="auto">
          <a:xfrm>
            <a:off x="5527378" y="3691197"/>
            <a:ext cx="296835" cy="223419"/>
          </a:xfrm>
          <a:prstGeom prst="rect">
            <a:avLst/>
          </a:prstGeom>
          <a:noFill/>
          <a:ln w="9525">
            <a:noFill/>
            <a:round/>
            <a:headEnd/>
            <a:tailEnd/>
          </a:ln>
        </p:spPr>
      </p:pic>
      <p:pic>
        <p:nvPicPr>
          <p:cNvPr id="95" name="Picture 14">
            <a:extLst>
              <a:ext uri="{FF2B5EF4-FFF2-40B4-BE49-F238E27FC236}">
                <a16:creationId xmlns:a16="http://schemas.microsoft.com/office/drawing/2014/main" id="{B903C85B-BAF5-4215-908B-AC8EC0FBC7C3}"/>
              </a:ext>
            </a:extLst>
          </p:cNvPr>
          <p:cNvPicPr>
            <a:picLocks noChangeAspect="1" noChangeArrowheads="1"/>
          </p:cNvPicPr>
          <p:nvPr/>
        </p:nvPicPr>
        <p:blipFill>
          <a:blip r:embed="rId12" cstate="print">
            <a:lum bright="30000" contrast="-10000"/>
          </a:blip>
          <a:srcRect/>
          <a:stretch>
            <a:fillRect/>
          </a:stretch>
        </p:blipFill>
        <p:spPr bwMode="auto">
          <a:xfrm>
            <a:off x="6345436" y="3400261"/>
            <a:ext cx="296835" cy="220964"/>
          </a:xfrm>
          <a:prstGeom prst="rect">
            <a:avLst/>
          </a:prstGeom>
          <a:noFill/>
          <a:ln w="9525">
            <a:noFill/>
            <a:round/>
            <a:headEnd/>
            <a:tailEnd/>
          </a:ln>
        </p:spPr>
      </p:pic>
      <p:pic>
        <p:nvPicPr>
          <p:cNvPr id="96" name="Picture 15">
            <a:extLst>
              <a:ext uri="{FF2B5EF4-FFF2-40B4-BE49-F238E27FC236}">
                <a16:creationId xmlns:a16="http://schemas.microsoft.com/office/drawing/2014/main" id="{5B7B8832-AD36-482A-8D1C-8FC3FA8F499D}"/>
              </a:ext>
            </a:extLst>
          </p:cNvPr>
          <p:cNvPicPr>
            <a:picLocks noChangeAspect="1" noChangeArrowheads="1"/>
          </p:cNvPicPr>
          <p:nvPr/>
        </p:nvPicPr>
        <p:blipFill>
          <a:blip r:embed="rId8" cstate="print">
            <a:lum bright="38000" contrast="68000"/>
            <a:grayscl/>
          </a:blip>
          <a:srcRect/>
          <a:stretch>
            <a:fillRect/>
          </a:stretch>
        </p:blipFill>
        <p:spPr bwMode="auto">
          <a:xfrm>
            <a:off x="7303358" y="4517356"/>
            <a:ext cx="295829" cy="224646"/>
          </a:xfrm>
          <a:prstGeom prst="rect">
            <a:avLst/>
          </a:prstGeom>
          <a:noFill/>
          <a:ln w="9525">
            <a:noFill/>
            <a:round/>
            <a:headEnd/>
            <a:tailEnd/>
          </a:ln>
        </p:spPr>
      </p:pic>
      <p:pic>
        <p:nvPicPr>
          <p:cNvPr id="97" name="Picture 16">
            <a:extLst>
              <a:ext uri="{FF2B5EF4-FFF2-40B4-BE49-F238E27FC236}">
                <a16:creationId xmlns:a16="http://schemas.microsoft.com/office/drawing/2014/main" id="{BA3B7E6F-0AF5-49D9-AEEC-0E29915C47B0}"/>
              </a:ext>
            </a:extLst>
          </p:cNvPr>
          <p:cNvPicPr>
            <a:picLocks noChangeAspect="1" noChangeArrowheads="1"/>
          </p:cNvPicPr>
          <p:nvPr/>
        </p:nvPicPr>
        <p:blipFill>
          <a:blip r:embed="rId13" cstate="print"/>
          <a:srcRect/>
          <a:stretch>
            <a:fillRect/>
          </a:stretch>
        </p:blipFill>
        <p:spPr bwMode="auto">
          <a:xfrm>
            <a:off x="6077781" y="4070518"/>
            <a:ext cx="294822" cy="222191"/>
          </a:xfrm>
          <a:prstGeom prst="rect">
            <a:avLst/>
          </a:prstGeom>
          <a:noFill/>
          <a:ln w="9525">
            <a:noFill/>
            <a:round/>
            <a:headEnd/>
            <a:tailEnd/>
          </a:ln>
        </p:spPr>
      </p:pic>
      <p:sp>
        <p:nvSpPr>
          <p:cNvPr id="98" name="Freeform 19">
            <a:extLst>
              <a:ext uri="{FF2B5EF4-FFF2-40B4-BE49-F238E27FC236}">
                <a16:creationId xmlns:a16="http://schemas.microsoft.com/office/drawing/2014/main" id="{F11448B1-49FF-440C-803C-3E2E3EADD36B}"/>
              </a:ext>
            </a:extLst>
          </p:cNvPr>
          <p:cNvSpPr>
            <a:spLocks noChangeArrowheads="1"/>
          </p:cNvSpPr>
          <p:nvPr/>
        </p:nvSpPr>
        <p:spPr bwMode="auto">
          <a:xfrm>
            <a:off x="5173189" y="3318013"/>
            <a:ext cx="3561016" cy="1803310"/>
          </a:xfrm>
          <a:custGeom>
            <a:avLst/>
            <a:gdLst>
              <a:gd name="T0" fmla="*/ 0 w 4219"/>
              <a:gd name="T1" fmla="*/ 2147483647 h 1829"/>
              <a:gd name="T2" fmla="*/ 2147483647 w 4219"/>
              <a:gd name="T3" fmla="*/ 2147483647 h 1829"/>
              <a:gd name="T4" fmla="*/ 2147483647 w 4219"/>
              <a:gd name="T5" fmla="*/ 2147483647 h 1829"/>
              <a:gd name="T6" fmla="*/ 2147483647 w 4219"/>
              <a:gd name="T7" fmla="*/ 2147483647 h 1829"/>
              <a:gd name="T8" fmla="*/ 2147483647 w 4219"/>
              <a:gd name="T9" fmla="*/ 2147483647 h 1829"/>
              <a:gd name="T10" fmla="*/ 2147483647 w 4219"/>
              <a:gd name="T11" fmla="*/ 2147483647 h 1829"/>
              <a:gd name="T12" fmla="*/ 0 60000 65536"/>
              <a:gd name="T13" fmla="*/ 0 60000 65536"/>
              <a:gd name="T14" fmla="*/ 0 60000 65536"/>
              <a:gd name="T15" fmla="*/ 0 60000 65536"/>
              <a:gd name="T16" fmla="*/ 0 60000 65536"/>
              <a:gd name="T17" fmla="*/ 0 60000 65536"/>
              <a:gd name="T18" fmla="*/ 0 w 4219"/>
              <a:gd name="T19" fmla="*/ 0 h 1829"/>
              <a:gd name="T20" fmla="*/ 4219 w 4219"/>
              <a:gd name="T21" fmla="*/ 1829 h 1829"/>
            </a:gdLst>
            <a:ahLst/>
            <a:cxnLst>
              <a:cxn ang="T12">
                <a:pos x="T0" y="T1"/>
              </a:cxn>
              <a:cxn ang="T13">
                <a:pos x="T2" y="T3"/>
              </a:cxn>
              <a:cxn ang="T14">
                <a:pos x="T4" y="T5"/>
              </a:cxn>
              <a:cxn ang="T15">
                <a:pos x="T6" y="T7"/>
              </a:cxn>
              <a:cxn ang="T16">
                <a:pos x="T8" y="T9"/>
              </a:cxn>
              <a:cxn ang="T17">
                <a:pos x="T10" y="T11"/>
              </a:cxn>
            </a:cxnLst>
            <a:rect l="T18" t="T19" r="T20" b="T21"/>
            <a:pathLst>
              <a:path w="4219" h="1829">
                <a:moveTo>
                  <a:pt x="0" y="1829"/>
                </a:moveTo>
                <a:cubicBezTo>
                  <a:pt x="306" y="1821"/>
                  <a:pt x="613" y="1813"/>
                  <a:pt x="908" y="1738"/>
                </a:cubicBezTo>
                <a:cubicBezTo>
                  <a:pt x="1203" y="1663"/>
                  <a:pt x="1459" y="1505"/>
                  <a:pt x="1769" y="1376"/>
                </a:cubicBezTo>
                <a:cubicBezTo>
                  <a:pt x="2079" y="1247"/>
                  <a:pt x="2465" y="1171"/>
                  <a:pt x="2767" y="967"/>
                </a:cubicBezTo>
                <a:cubicBezTo>
                  <a:pt x="3069" y="763"/>
                  <a:pt x="3342" y="302"/>
                  <a:pt x="3584" y="151"/>
                </a:cubicBezTo>
                <a:cubicBezTo>
                  <a:pt x="3826" y="0"/>
                  <a:pt x="4022" y="30"/>
                  <a:pt x="4219" y="60"/>
                </a:cubicBezTo>
              </a:path>
            </a:pathLst>
          </a:custGeom>
          <a:noFill/>
          <a:ln w="9360">
            <a:solidFill>
              <a:srgbClr val="C0C0C0"/>
            </a:solidFill>
            <a:round/>
            <a:headEnd/>
            <a:tailEnd/>
          </a:ln>
        </p:spPr>
        <p:txBody>
          <a:bodyPr wrap="none"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99" name="Freeform 20">
            <a:extLst>
              <a:ext uri="{FF2B5EF4-FFF2-40B4-BE49-F238E27FC236}">
                <a16:creationId xmlns:a16="http://schemas.microsoft.com/office/drawing/2014/main" id="{7A5CFC5A-E0AD-4BE7-AAE5-DA7100F2BC71}"/>
              </a:ext>
            </a:extLst>
          </p:cNvPr>
          <p:cNvSpPr>
            <a:spLocks/>
          </p:cNvSpPr>
          <p:nvPr/>
        </p:nvSpPr>
        <p:spPr bwMode="auto">
          <a:xfrm>
            <a:off x="5157089" y="2549550"/>
            <a:ext cx="2145263" cy="2548449"/>
          </a:xfrm>
          <a:custGeom>
            <a:avLst/>
            <a:gdLst>
              <a:gd name="T0" fmla="*/ 0 w 2540"/>
              <a:gd name="T1" fmla="*/ 2147483647 h 2585"/>
              <a:gd name="T2" fmla="*/ 2147483647 w 2540"/>
              <a:gd name="T3" fmla="*/ 2147483647 h 2585"/>
              <a:gd name="T4" fmla="*/ 2147483647 w 2540"/>
              <a:gd name="T5" fmla="*/ 2147483647 h 2585"/>
              <a:gd name="T6" fmla="*/ 2147483647 w 2540"/>
              <a:gd name="T7" fmla="*/ 2147483647 h 2585"/>
              <a:gd name="T8" fmla="*/ 2147483647 w 2540"/>
              <a:gd name="T9" fmla="*/ 2147483647 h 2585"/>
              <a:gd name="T10" fmla="*/ 2147483647 w 2540"/>
              <a:gd name="T11" fmla="*/ 0 h 2585"/>
              <a:gd name="T12" fmla="*/ 0 60000 65536"/>
              <a:gd name="T13" fmla="*/ 0 60000 65536"/>
              <a:gd name="T14" fmla="*/ 0 60000 65536"/>
              <a:gd name="T15" fmla="*/ 0 60000 65536"/>
              <a:gd name="T16" fmla="*/ 0 60000 65536"/>
              <a:gd name="T17" fmla="*/ 0 60000 65536"/>
              <a:gd name="T18" fmla="*/ 0 w 2540"/>
              <a:gd name="T19" fmla="*/ 0 h 2585"/>
              <a:gd name="T20" fmla="*/ 2540 w 2540"/>
              <a:gd name="T21" fmla="*/ 2585 h 2585"/>
            </a:gdLst>
            <a:ahLst/>
            <a:cxnLst>
              <a:cxn ang="T12">
                <a:pos x="T0" y="T1"/>
              </a:cxn>
              <a:cxn ang="T13">
                <a:pos x="T2" y="T3"/>
              </a:cxn>
              <a:cxn ang="T14">
                <a:pos x="T4" y="T5"/>
              </a:cxn>
              <a:cxn ang="T15">
                <a:pos x="T6" y="T7"/>
              </a:cxn>
              <a:cxn ang="T16">
                <a:pos x="T8" y="T9"/>
              </a:cxn>
              <a:cxn ang="T17">
                <a:pos x="T10" y="T11"/>
              </a:cxn>
            </a:cxnLst>
            <a:rect l="T18" t="T19" r="T20" b="T21"/>
            <a:pathLst>
              <a:path w="2540" h="2585">
                <a:moveTo>
                  <a:pt x="0" y="2585"/>
                </a:moveTo>
                <a:cubicBezTo>
                  <a:pt x="140" y="2335"/>
                  <a:pt x="281" y="2086"/>
                  <a:pt x="409" y="1905"/>
                </a:cubicBezTo>
                <a:cubicBezTo>
                  <a:pt x="537" y="1724"/>
                  <a:pt x="559" y="1625"/>
                  <a:pt x="771" y="1497"/>
                </a:cubicBezTo>
                <a:cubicBezTo>
                  <a:pt x="983" y="1369"/>
                  <a:pt x="1475" y="1315"/>
                  <a:pt x="1679" y="1134"/>
                </a:cubicBezTo>
                <a:cubicBezTo>
                  <a:pt x="1883" y="953"/>
                  <a:pt x="1853" y="597"/>
                  <a:pt x="1996" y="408"/>
                </a:cubicBezTo>
                <a:cubicBezTo>
                  <a:pt x="2139" y="219"/>
                  <a:pt x="2339" y="109"/>
                  <a:pt x="2540" y="0"/>
                </a:cubicBezTo>
              </a:path>
            </a:pathLst>
          </a:custGeom>
          <a:noFill/>
          <a:ln w="9525">
            <a:solidFill>
              <a:srgbClr val="C0C0C0"/>
            </a:solidFill>
            <a:round/>
            <a:headEnd/>
            <a:tailEnd/>
          </a:ln>
        </p:spPr>
        <p:txBody>
          <a:bodyP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00" name="Freeform 21">
            <a:extLst>
              <a:ext uri="{FF2B5EF4-FFF2-40B4-BE49-F238E27FC236}">
                <a16:creationId xmlns:a16="http://schemas.microsoft.com/office/drawing/2014/main" id="{EB725036-C556-41D1-94B9-90F6EDA76730}"/>
              </a:ext>
            </a:extLst>
          </p:cNvPr>
          <p:cNvSpPr>
            <a:spLocks/>
          </p:cNvSpPr>
          <p:nvPr/>
        </p:nvSpPr>
        <p:spPr bwMode="auto">
          <a:xfrm>
            <a:off x="6207584" y="2772969"/>
            <a:ext cx="1799123" cy="1430127"/>
          </a:xfrm>
          <a:custGeom>
            <a:avLst/>
            <a:gdLst>
              <a:gd name="T0" fmla="*/ 0 w 2132"/>
              <a:gd name="T1" fmla="*/ 2147483647 h 1451"/>
              <a:gd name="T2" fmla="*/ 2147483647 w 2132"/>
              <a:gd name="T3" fmla="*/ 2147483647 h 1451"/>
              <a:gd name="T4" fmla="*/ 2147483647 w 2132"/>
              <a:gd name="T5" fmla="*/ 2147483647 h 1451"/>
              <a:gd name="T6" fmla="*/ 2147483647 w 2132"/>
              <a:gd name="T7" fmla="*/ 2147483647 h 1451"/>
              <a:gd name="T8" fmla="*/ 2147483647 w 2132"/>
              <a:gd name="T9" fmla="*/ 2147483647 h 1451"/>
              <a:gd name="T10" fmla="*/ 2147483647 w 2132"/>
              <a:gd name="T11" fmla="*/ 0 h 1451"/>
              <a:gd name="T12" fmla="*/ 0 60000 65536"/>
              <a:gd name="T13" fmla="*/ 0 60000 65536"/>
              <a:gd name="T14" fmla="*/ 0 60000 65536"/>
              <a:gd name="T15" fmla="*/ 0 60000 65536"/>
              <a:gd name="T16" fmla="*/ 0 60000 65536"/>
              <a:gd name="T17" fmla="*/ 0 60000 65536"/>
              <a:gd name="T18" fmla="*/ 0 w 2132"/>
              <a:gd name="T19" fmla="*/ 0 h 1451"/>
              <a:gd name="T20" fmla="*/ 2132 w 2132"/>
              <a:gd name="T21" fmla="*/ 1451 h 1451"/>
            </a:gdLst>
            <a:ahLst/>
            <a:cxnLst>
              <a:cxn ang="T12">
                <a:pos x="T0" y="T1"/>
              </a:cxn>
              <a:cxn ang="T13">
                <a:pos x="T2" y="T3"/>
              </a:cxn>
              <a:cxn ang="T14">
                <a:pos x="T4" y="T5"/>
              </a:cxn>
              <a:cxn ang="T15">
                <a:pos x="T6" y="T7"/>
              </a:cxn>
              <a:cxn ang="T16">
                <a:pos x="T8" y="T9"/>
              </a:cxn>
              <a:cxn ang="T17">
                <a:pos x="T10" y="T11"/>
              </a:cxn>
            </a:cxnLst>
            <a:rect l="T18" t="T19" r="T20" b="T21"/>
            <a:pathLst>
              <a:path w="2132" h="1451">
                <a:moveTo>
                  <a:pt x="0" y="1451"/>
                </a:moveTo>
                <a:cubicBezTo>
                  <a:pt x="197" y="1402"/>
                  <a:pt x="394" y="1353"/>
                  <a:pt x="545" y="1270"/>
                </a:cubicBezTo>
                <a:cubicBezTo>
                  <a:pt x="696" y="1187"/>
                  <a:pt x="772" y="1073"/>
                  <a:pt x="908" y="952"/>
                </a:cubicBezTo>
                <a:cubicBezTo>
                  <a:pt x="1044" y="831"/>
                  <a:pt x="1202" y="657"/>
                  <a:pt x="1361" y="544"/>
                </a:cubicBezTo>
                <a:cubicBezTo>
                  <a:pt x="1520" y="431"/>
                  <a:pt x="1731" y="363"/>
                  <a:pt x="1860" y="272"/>
                </a:cubicBezTo>
                <a:cubicBezTo>
                  <a:pt x="1989" y="181"/>
                  <a:pt x="2060" y="90"/>
                  <a:pt x="2132" y="0"/>
                </a:cubicBezTo>
              </a:path>
            </a:pathLst>
          </a:custGeom>
          <a:noFill/>
          <a:ln w="9525">
            <a:solidFill>
              <a:srgbClr val="C0C0C0"/>
            </a:solidFill>
            <a:round/>
            <a:headEnd/>
            <a:tailEnd/>
          </a:ln>
        </p:spPr>
        <p:txBody>
          <a:bodyP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01" name="Freeform 22">
            <a:extLst>
              <a:ext uri="{FF2B5EF4-FFF2-40B4-BE49-F238E27FC236}">
                <a16:creationId xmlns:a16="http://schemas.microsoft.com/office/drawing/2014/main" id="{F7DFDE9F-804C-42FE-9291-358D4A1FEF6A}"/>
              </a:ext>
            </a:extLst>
          </p:cNvPr>
          <p:cNvSpPr>
            <a:spLocks/>
          </p:cNvSpPr>
          <p:nvPr/>
        </p:nvSpPr>
        <p:spPr bwMode="auto">
          <a:xfrm>
            <a:off x="6207584" y="3578260"/>
            <a:ext cx="2450148" cy="723043"/>
          </a:xfrm>
          <a:custGeom>
            <a:avLst/>
            <a:gdLst>
              <a:gd name="T0" fmla="*/ 0 w 2903"/>
              <a:gd name="T1" fmla="*/ 2147483647 h 733"/>
              <a:gd name="T2" fmla="*/ 2147483647 w 2903"/>
              <a:gd name="T3" fmla="*/ 2147483647 h 733"/>
              <a:gd name="T4" fmla="*/ 2147483647 w 2903"/>
              <a:gd name="T5" fmla="*/ 2147483647 h 733"/>
              <a:gd name="T6" fmla="*/ 2147483647 w 2903"/>
              <a:gd name="T7" fmla="*/ 2147483647 h 733"/>
              <a:gd name="T8" fmla="*/ 2147483647 w 2903"/>
              <a:gd name="T9" fmla="*/ 2147483647 h 733"/>
              <a:gd name="T10" fmla="*/ 2147483647 w 2903"/>
              <a:gd name="T11" fmla="*/ 2147483647 h 733"/>
              <a:gd name="T12" fmla="*/ 0 60000 65536"/>
              <a:gd name="T13" fmla="*/ 0 60000 65536"/>
              <a:gd name="T14" fmla="*/ 0 60000 65536"/>
              <a:gd name="T15" fmla="*/ 0 60000 65536"/>
              <a:gd name="T16" fmla="*/ 0 60000 65536"/>
              <a:gd name="T17" fmla="*/ 0 60000 65536"/>
              <a:gd name="T18" fmla="*/ 0 w 2903"/>
              <a:gd name="T19" fmla="*/ 0 h 733"/>
              <a:gd name="T20" fmla="*/ 2903 w 2903"/>
              <a:gd name="T21" fmla="*/ 733 h 733"/>
            </a:gdLst>
            <a:ahLst/>
            <a:cxnLst>
              <a:cxn ang="T12">
                <a:pos x="T0" y="T1"/>
              </a:cxn>
              <a:cxn ang="T13">
                <a:pos x="T2" y="T3"/>
              </a:cxn>
              <a:cxn ang="T14">
                <a:pos x="T4" y="T5"/>
              </a:cxn>
              <a:cxn ang="T15">
                <a:pos x="T6" y="T7"/>
              </a:cxn>
              <a:cxn ang="T16">
                <a:pos x="T8" y="T9"/>
              </a:cxn>
              <a:cxn ang="T17">
                <a:pos x="T10" y="T11"/>
              </a:cxn>
            </a:cxnLst>
            <a:rect l="T18" t="T19" r="T20" b="T21"/>
            <a:pathLst>
              <a:path w="2903" h="733">
                <a:moveTo>
                  <a:pt x="0" y="634"/>
                </a:moveTo>
                <a:cubicBezTo>
                  <a:pt x="182" y="630"/>
                  <a:pt x="364" y="626"/>
                  <a:pt x="545" y="634"/>
                </a:cubicBezTo>
                <a:cubicBezTo>
                  <a:pt x="726" y="642"/>
                  <a:pt x="908" y="733"/>
                  <a:pt x="1089" y="680"/>
                </a:cubicBezTo>
                <a:cubicBezTo>
                  <a:pt x="1270" y="627"/>
                  <a:pt x="1414" y="423"/>
                  <a:pt x="1633" y="317"/>
                </a:cubicBezTo>
                <a:cubicBezTo>
                  <a:pt x="1852" y="211"/>
                  <a:pt x="2192" y="90"/>
                  <a:pt x="2404" y="45"/>
                </a:cubicBezTo>
                <a:cubicBezTo>
                  <a:pt x="2616" y="0"/>
                  <a:pt x="2759" y="22"/>
                  <a:pt x="2903" y="45"/>
                </a:cubicBezTo>
              </a:path>
            </a:pathLst>
          </a:custGeom>
          <a:noFill/>
          <a:ln w="9525">
            <a:solidFill>
              <a:srgbClr val="C0C0C0"/>
            </a:solidFill>
            <a:round/>
            <a:headEnd/>
            <a:tailEnd/>
          </a:ln>
        </p:spPr>
        <p:txBody>
          <a:bodyP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02" name="Text Box 23">
            <a:extLst>
              <a:ext uri="{FF2B5EF4-FFF2-40B4-BE49-F238E27FC236}">
                <a16:creationId xmlns:a16="http://schemas.microsoft.com/office/drawing/2014/main" id="{5A85BB29-861F-4C88-8326-D663248C1817}"/>
              </a:ext>
            </a:extLst>
          </p:cNvPr>
          <p:cNvSpPr txBox="1">
            <a:spLocks noChangeArrowheads="1"/>
          </p:cNvSpPr>
          <p:nvPr/>
        </p:nvSpPr>
        <p:spPr bwMode="auto">
          <a:xfrm>
            <a:off x="5020243" y="5368066"/>
            <a:ext cx="575558" cy="282878"/>
          </a:xfrm>
          <a:prstGeom prst="rect">
            <a:avLst/>
          </a:prstGeom>
          <a:noFill/>
          <a:ln w="9525">
            <a:noFill/>
            <a:miter lim="800000"/>
            <a:headEnd/>
            <a:tailEnd/>
          </a:ln>
        </p:spPr>
        <p:txBody>
          <a:bodyPr lIns="82040" tIns="41020" rIns="82040" bIns="41020">
            <a:spAutoFit/>
          </a:bodyPr>
          <a:lstStyle/>
          <a:p>
            <a:pPr marL="0" marR="0" lvl="0" indent="0" defTabSz="820007" eaLnBrk="1" fontAlgn="base" latinLnBrk="0" hangingPunct="1">
              <a:lnSpc>
                <a:spcPct val="100000"/>
              </a:lnSpc>
              <a:spcBef>
                <a:spcPct val="50000"/>
              </a:spcBef>
              <a:spcAft>
                <a:spcPct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Verdana"/>
                <a:cs typeface="Arial" charset="0"/>
              </a:rPr>
              <a:t>t=0</a:t>
            </a:r>
          </a:p>
        </p:txBody>
      </p:sp>
      <p:sp>
        <p:nvSpPr>
          <p:cNvPr id="103" name="Text Box 24">
            <a:extLst>
              <a:ext uri="{FF2B5EF4-FFF2-40B4-BE49-F238E27FC236}">
                <a16:creationId xmlns:a16="http://schemas.microsoft.com/office/drawing/2014/main" id="{19F54A8B-7084-45E3-BC8C-03685FB53CE4}"/>
              </a:ext>
            </a:extLst>
          </p:cNvPr>
          <p:cNvSpPr txBox="1">
            <a:spLocks noChangeArrowheads="1"/>
          </p:cNvSpPr>
          <p:nvPr/>
        </p:nvSpPr>
        <p:spPr bwMode="auto">
          <a:xfrm>
            <a:off x="7049791" y="5055035"/>
            <a:ext cx="574552" cy="282878"/>
          </a:xfrm>
          <a:prstGeom prst="rect">
            <a:avLst/>
          </a:prstGeom>
          <a:noFill/>
          <a:ln w="9525">
            <a:noFill/>
            <a:miter lim="800000"/>
            <a:headEnd/>
            <a:tailEnd/>
          </a:ln>
        </p:spPr>
        <p:txBody>
          <a:bodyPr lIns="82040" tIns="41020" rIns="82040" bIns="41020">
            <a:spAutoFit/>
          </a:bodyPr>
          <a:lstStyle/>
          <a:p>
            <a:pPr marL="0" marR="0" lvl="0" indent="0" defTabSz="820007" eaLnBrk="1" fontAlgn="base" latinLnBrk="0" hangingPunct="1">
              <a:lnSpc>
                <a:spcPct val="100000"/>
              </a:lnSpc>
              <a:spcBef>
                <a:spcPct val="50000"/>
              </a:spcBef>
              <a:spcAft>
                <a:spcPct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Verdana"/>
                <a:cs typeface="Arial" charset="0"/>
              </a:rPr>
              <a:t>t=1</a:t>
            </a:r>
          </a:p>
        </p:txBody>
      </p:sp>
      <p:sp>
        <p:nvSpPr>
          <p:cNvPr id="104" name="Text Box 25">
            <a:extLst>
              <a:ext uri="{FF2B5EF4-FFF2-40B4-BE49-F238E27FC236}">
                <a16:creationId xmlns:a16="http://schemas.microsoft.com/office/drawing/2014/main" id="{175DFCFD-4683-40B4-8113-A0515480359D}"/>
              </a:ext>
            </a:extLst>
          </p:cNvPr>
          <p:cNvSpPr txBox="1">
            <a:spLocks noChangeArrowheads="1"/>
          </p:cNvSpPr>
          <p:nvPr/>
        </p:nvSpPr>
        <p:spPr bwMode="auto">
          <a:xfrm>
            <a:off x="8006707" y="4829161"/>
            <a:ext cx="574552" cy="282878"/>
          </a:xfrm>
          <a:prstGeom prst="rect">
            <a:avLst/>
          </a:prstGeom>
          <a:noFill/>
          <a:ln w="9525">
            <a:noFill/>
            <a:miter lim="800000"/>
            <a:headEnd/>
            <a:tailEnd/>
          </a:ln>
        </p:spPr>
        <p:txBody>
          <a:bodyPr lIns="82040" tIns="41020" rIns="82040" bIns="41020">
            <a:spAutoFit/>
          </a:bodyPr>
          <a:lstStyle/>
          <a:p>
            <a:pPr marL="0" marR="0" lvl="0" indent="0" defTabSz="820007" eaLnBrk="1" fontAlgn="base" latinLnBrk="0" hangingPunct="1">
              <a:lnSpc>
                <a:spcPct val="100000"/>
              </a:lnSpc>
              <a:spcBef>
                <a:spcPct val="50000"/>
              </a:spcBef>
              <a:spcAft>
                <a:spcPct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Verdana"/>
                <a:cs typeface="Arial" charset="0"/>
              </a:rPr>
              <a:t>t=2</a:t>
            </a:r>
          </a:p>
        </p:txBody>
      </p:sp>
      <p:pic>
        <p:nvPicPr>
          <p:cNvPr id="105" name="Picture 27">
            <a:extLst>
              <a:ext uri="{FF2B5EF4-FFF2-40B4-BE49-F238E27FC236}">
                <a16:creationId xmlns:a16="http://schemas.microsoft.com/office/drawing/2014/main" id="{662BB8B1-F916-4D84-A2D6-9E1FD4D809D0}"/>
              </a:ext>
            </a:extLst>
          </p:cNvPr>
          <p:cNvPicPr>
            <a:picLocks noChangeAspect="1" noChangeArrowheads="1"/>
          </p:cNvPicPr>
          <p:nvPr/>
        </p:nvPicPr>
        <p:blipFill>
          <a:blip r:embed="rId8" cstate="print">
            <a:lum contrast="40000"/>
          </a:blip>
          <a:srcRect/>
          <a:stretch>
            <a:fillRect/>
          </a:stretch>
        </p:blipFill>
        <p:spPr bwMode="auto">
          <a:xfrm>
            <a:off x="5020243" y="5031710"/>
            <a:ext cx="295829" cy="224647"/>
          </a:xfrm>
          <a:prstGeom prst="rect">
            <a:avLst/>
          </a:prstGeom>
          <a:noFill/>
          <a:ln w="9525">
            <a:noFill/>
            <a:round/>
            <a:headEnd/>
            <a:tailEnd/>
          </a:ln>
        </p:spPr>
      </p:pic>
      <p:sp>
        <p:nvSpPr>
          <p:cNvPr id="109" name="Text Box 32">
            <a:extLst>
              <a:ext uri="{FF2B5EF4-FFF2-40B4-BE49-F238E27FC236}">
                <a16:creationId xmlns:a16="http://schemas.microsoft.com/office/drawing/2014/main" id="{B5B9A1E2-9A2C-4CF4-9326-8C37ED4E4485}"/>
              </a:ext>
            </a:extLst>
          </p:cNvPr>
          <p:cNvSpPr txBox="1">
            <a:spLocks noChangeArrowheads="1"/>
          </p:cNvSpPr>
          <p:nvPr/>
        </p:nvSpPr>
        <p:spPr bwMode="auto">
          <a:xfrm>
            <a:off x="7633399" y="2463620"/>
            <a:ext cx="1175267" cy="282878"/>
          </a:xfrm>
          <a:prstGeom prst="rect">
            <a:avLst/>
          </a:prstGeom>
          <a:noFill/>
          <a:ln w="9525">
            <a:noFill/>
            <a:miter lim="800000"/>
            <a:headEnd/>
            <a:tailEnd/>
          </a:ln>
        </p:spPr>
        <p:txBody>
          <a:bodyPr lIns="82040" tIns="41020" rIns="82040" bIns="41020">
            <a:spAutoFit/>
          </a:bodyPr>
          <a:lstStyle/>
          <a:p>
            <a:pPr marL="0" marR="0" lvl="0" indent="0" defTabSz="820007" eaLnBrk="1" fontAlgn="base" latinLnBrk="0" hangingPunct="1">
              <a:lnSpc>
                <a:spcPct val="100000"/>
              </a:lnSpc>
              <a:spcBef>
                <a:spcPct val="50000"/>
              </a:spcBef>
              <a:spcAft>
                <a:spcPct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Verdana"/>
                <a:cs typeface="Arial" charset="0"/>
              </a:rPr>
              <a:t>Scenario 1</a:t>
            </a:r>
            <a:r>
              <a:rPr kumimoji="0" lang="en-GB" sz="900" b="0" i="0" u="none" strike="noStrike" kern="0" cap="none" spc="0" normalizeH="0" baseline="30000" noProof="0" dirty="0">
                <a:ln>
                  <a:noFill/>
                </a:ln>
                <a:solidFill>
                  <a:prstClr val="black"/>
                </a:solidFill>
                <a:effectLst/>
                <a:uLnTx/>
                <a:uFillTx/>
                <a:latin typeface="Verdana"/>
                <a:cs typeface="Arial" charset="0"/>
              </a:rPr>
              <a:t>n</a:t>
            </a:r>
          </a:p>
        </p:txBody>
      </p:sp>
      <p:sp>
        <p:nvSpPr>
          <p:cNvPr id="110" name="Freeform 46">
            <a:extLst>
              <a:ext uri="{FF2B5EF4-FFF2-40B4-BE49-F238E27FC236}">
                <a16:creationId xmlns:a16="http://schemas.microsoft.com/office/drawing/2014/main" id="{279BF142-5A2C-4B86-AC24-CF8BEF0966DA}"/>
              </a:ext>
            </a:extLst>
          </p:cNvPr>
          <p:cNvSpPr>
            <a:spLocks/>
          </p:cNvSpPr>
          <p:nvPr/>
        </p:nvSpPr>
        <p:spPr bwMode="auto">
          <a:xfrm>
            <a:off x="5790002" y="3063905"/>
            <a:ext cx="434687" cy="549954"/>
          </a:xfrm>
          <a:custGeom>
            <a:avLst/>
            <a:gdLst>
              <a:gd name="T0" fmla="*/ 0 w 472"/>
              <a:gd name="T1" fmla="*/ 2147483647 h 616"/>
              <a:gd name="T2" fmla="*/ 2147483647 w 472"/>
              <a:gd name="T3" fmla="*/ 2147483647 h 616"/>
              <a:gd name="T4" fmla="*/ 2147483647 w 472"/>
              <a:gd name="T5" fmla="*/ 0 h 616"/>
              <a:gd name="T6" fmla="*/ 0 60000 65536"/>
              <a:gd name="T7" fmla="*/ 0 60000 65536"/>
              <a:gd name="T8" fmla="*/ 0 60000 65536"/>
              <a:gd name="T9" fmla="*/ 0 w 472"/>
              <a:gd name="T10" fmla="*/ 0 h 616"/>
              <a:gd name="T11" fmla="*/ 472 w 472"/>
              <a:gd name="T12" fmla="*/ 616 h 616"/>
            </a:gdLst>
            <a:ahLst/>
            <a:cxnLst>
              <a:cxn ang="T6">
                <a:pos x="T0" y="T1"/>
              </a:cxn>
              <a:cxn ang="T7">
                <a:pos x="T2" y="T3"/>
              </a:cxn>
              <a:cxn ang="T8">
                <a:pos x="T4" y="T5"/>
              </a:cxn>
            </a:cxnLst>
            <a:rect l="T9" t="T10" r="T11" b="T12"/>
            <a:pathLst>
              <a:path w="472" h="616">
                <a:moveTo>
                  <a:pt x="0" y="616"/>
                </a:moveTo>
                <a:cubicBezTo>
                  <a:pt x="144" y="503"/>
                  <a:pt x="289" y="391"/>
                  <a:pt x="368" y="288"/>
                </a:cubicBezTo>
                <a:cubicBezTo>
                  <a:pt x="447" y="185"/>
                  <a:pt x="452" y="51"/>
                  <a:pt x="472"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2" name="Freeform 47">
            <a:extLst>
              <a:ext uri="{FF2B5EF4-FFF2-40B4-BE49-F238E27FC236}">
                <a16:creationId xmlns:a16="http://schemas.microsoft.com/office/drawing/2014/main" id="{583A72F3-D076-48B1-8157-82F1DB0B2864}"/>
              </a:ext>
            </a:extLst>
          </p:cNvPr>
          <p:cNvSpPr>
            <a:spLocks/>
          </p:cNvSpPr>
          <p:nvPr/>
        </p:nvSpPr>
        <p:spPr bwMode="auto">
          <a:xfrm>
            <a:off x="6642271" y="2633639"/>
            <a:ext cx="474936" cy="756187"/>
          </a:xfrm>
          <a:custGeom>
            <a:avLst/>
            <a:gdLst>
              <a:gd name="T0" fmla="*/ 0 w 472"/>
              <a:gd name="T1" fmla="*/ 2147483647 h 616"/>
              <a:gd name="T2" fmla="*/ 2147483647 w 472"/>
              <a:gd name="T3" fmla="*/ 2147483647 h 616"/>
              <a:gd name="T4" fmla="*/ 2147483647 w 472"/>
              <a:gd name="T5" fmla="*/ 0 h 616"/>
              <a:gd name="T6" fmla="*/ 0 60000 65536"/>
              <a:gd name="T7" fmla="*/ 0 60000 65536"/>
              <a:gd name="T8" fmla="*/ 0 60000 65536"/>
              <a:gd name="T9" fmla="*/ 0 w 472"/>
              <a:gd name="T10" fmla="*/ 0 h 616"/>
              <a:gd name="T11" fmla="*/ 472 w 472"/>
              <a:gd name="T12" fmla="*/ 616 h 616"/>
            </a:gdLst>
            <a:ahLst/>
            <a:cxnLst>
              <a:cxn ang="T6">
                <a:pos x="T0" y="T1"/>
              </a:cxn>
              <a:cxn ang="T7">
                <a:pos x="T2" y="T3"/>
              </a:cxn>
              <a:cxn ang="T8">
                <a:pos x="T4" y="T5"/>
              </a:cxn>
            </a:cxnLst>
            <a:rect l="T9" t="T10" r="T11" b="T12"/>
            <a:pathLst>
              <a:path w="472" h="616">
                <a:moveTo>
                  <a:pt x="0" y="616"/>
                </a:moveTo>
                <a:cubicBezTo>
                  <a:pt x="144" y="503"/>
                  <a:pt x="289" y="391"/>
                  <a:pt x="368" y="288"/>
                </a:cubicBezTo>
                <a:cubicBezTo>
                  <a:pt x="447" y="185"/>
                  <a:pt x="452" y="51"/>
                  <a:pt x="472"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3" name="Freeform 58">
            <a:extLst>
              <a:ext uri="{FF2B5EF4-FFF2-40B4-BE49-F238E27FC236}">
                <a16:creationId xmlns:a16="http://schemas.microsoft.com/office/drawing/2014/main" id="{C42845C1-E4D5-4585-8BF2-4A0B8A22461A}"/>
              </a:ext>
            </a:extLst>
          </p:cNvPr>
          <p:cNvSpPr>
            <a:spLocks/>
          </p:cNvSpPr>
          <p:nvPr/>
        </p:nvSpPr>
        <p:spPr bwMode="auto">
          <a:xfrm>
            <a:off x="6707676" y="3465323"/>
            <a:ext cx="652031" cy="72427"/>
          </a:xfrm>
          <a:custGeom>
            <a:avLst/>
            <a:gdLst>
              <a:gd name="T0" fmla="*/ 0 w 712"/>
              <a:gd name="T1" fmla="*/ 2147483647 h 73"/>
              <a:gd name="T2" fmla="*/ 2147483647 w 712"/>
              <a:gd name="T3" fmla="*/ 2147483647 h 73"/>
              <a:gd name="T4" fmla="*/ 2147483647 w 712"/>
              <a:gd name="T5" fmla="*/ 2147483647 h 73"/>
              <a:gd name="T6" fmla="*/ 0 60000 65536"/>
              <a:gd name="T7" fmla="*/ 0 60000 65536"/>
              <a:gd name="T8" fmla="*/ 0 60000 65536"/>
              <a:gd name="T9" fmla="*/ 0 w 712"/>
              <a:gd name="T10" fmla="*/ 0 h 73"/>
              <a:gd name="T11" fmla="*/ 712 w 712"/>
              <a:gd name="T12" fmla="*/ 73 h 73"/>
            </a:gdLst>
            <a:ahLst/>
            <a:cxnLst>
              <a:cxn ang="T6">
                <a:pos x="T0" y="T1"/>
              </a:cxn>
              <a:cxn ang="T7">
                <a:pos x="T2" y="T3"/>
              </a:cxn>
              <a:cxn ang="T8">
                <a:pos x="T4" y="T5"/>
              </a:cxn>
            </a:cxnLst>
            <a:rect l="T9" t="T10" r="T11" b="T12"/>
            <a:pathLst>
              <a:path w="712" h="73">
                <a:moveTo>
                  <a:pt x="0" y="73"/>
                </a:moveTo>
                <a:cubicBezTo>
                  <a:pt x="160" y="37"/>
                  <a:pt x="321" y="2"/>
                  <a:pt x="440" y="1"/>
                </a:cubicBezTo>
                <a:cubicBezTo>
                  <a:pt x="559" y="0"/>
                  <a:pt x="667" y="54"/>
                  <a:pt x="712" y="65"/>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4" name="Freeform 59">
            <a:extLst>
              <a:ext uri="{FF2B5EF4-FFF2-40B4-BE49-F238E27FC236}">
                <a16:creationId xmlns:a16="http://schemas.microsoft.com/office/drawing/2014/main" id="{A51C269F-55A9-44DA-A099-5B916375CFFC}"/>
              </a:ext>
            </a:extLst>
          </p:cNvPr>
          <p:cNvSpPr>
            <a:spLocks/>
          </p:cNvSpPr>
          <p:nvPr/>
        </p:nvSpPr>
        <p:spPr bwMode="auto">
          <a:xfrm>
            <a:off x="6675477" y="4389688"/>
            <a:ext cx="539334" cy="304439"/>
          </a:xfrm>
          <a:custGeom>
            <a:avLst/>
            <a:gdLst>
              <a:gd name="T0" fmla="*/ 0 w 472"/>
              <a:gd name="T1" fmla="*/ 2147483647 h 616"/>
              <a:gd name="T2" fmla="*/ 2147483647 w 472"/>
              <a:gd name="T3" fmla="*/ 2147483647 h 616"/>
              <a:gd name="T4" fmla="*/ 2147483647 w 472"/>
              <a:gd name="T5" fmla="*/ 0 h 616"/>
              <a:gd name="T6" fmla="*/ 0 60000 65536"/>
              <a:gd name="T7" fmla="*/ 0 60000 65536"/>
              <a:gd name="T8" fmla="*/ 0 60000 65536"/>
              <a:gd name="T9" fmla="*/ 0 w 472"/>
              <a:gd name="T10" fmla="*/ 0 h 616"/>
              <a:gd name="T11" fmla="*/ 472 w 472"/>
              <a:gd name="T12" fmla="*/ 616 h 616"/>
            </a:gdLst>
            <a:ahLst/>
            <a:cxnLst>
              <a:cxn ang="T6">
                <a:pos x="T0" y="T1"/>
              </a:cxn>
              <a:cxn ang="T7">
                <a:pos x="T2" y="T3"/>
              </a:cxn>
              <a:cxn ang="T8">
                <a:pos x="T4" y="T5"/>
              </a:cxn>
            </a:cxnLst>
            <a:rect l="T9" t="T10" r="T11" b="T12"/>
            <a:pathLst>
              <a:path w="472" h="616">
                <a:moveTo>
                  <a:pt x="0" y="616"/>
                </a:moveTo>
                <a:cubicBezTo>
                  <a:pt x="144" y="503"/>
                  <a:pt x="289" y="391"/>
                  <a:pt x="368" y="288"/>
                </a:cubicBezTo>
                <a:cubicBezTo>
                  <a:pt x="447" y="185"/>
                  <a:pt x="452" y="51"/>
                  <a:pt x="472"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5" name="Freeform 60">
            <a:extLst>
              <a:ext uri="{FF2B5EF4-FFF2-40B4-BE49-F238E27FC236}">
                <a16:creationId xmlns:a16="http://schemas.microsoft.com/office/drawing/2014/main" id="{5ABB1672-0765-476C-8F42-C68A9DC22628}"/>
              </a:ext>
            </a:extLst>
          </p:cNvPr>
          <p:cNvSpPr>
            <a:spLocks/>
          </p:cNvSpPr>
          <p:nvPr/>
        </p:nvSpPr>
        <p:spPr bwMode="auto">
          <a:xfrm>
            <a:off x="5870500" y="3759941"/>
            <a:ext cx="668131" cy="33145"/>
          </a:xfrm>
          <a:custGeom>
            <a:avLst/>
            <a:gdLst>
              <a:gd name="T0" fmla="*/ 0 w 712"/>
              <a:gd name="T1" fmla="*/ 2147483647 h 73"/>
              <a:gd name="T2" fmla="*/ 2147483647 w 712"/>
              <a:gd name="T3" fmla="*/ 2147483647 h 73"/>
              <a:gd name="T4" fmla="*/ 2147483647 w 712"/>
              <a:gd name="T5" fmla="*/ 2147483647 h 73"/>
              <a:gd name="T6" fmla="*/ 0 60000 65536"/>
              <a:gd name="T7" fmla="*/ 0 60000 65536"/>
              <a:gd name="T8" fmla="*/ 0 60000 65536"/>
              <a:gd name="T9" fmla="*/ 0 w 712"/>
              <a:gd name="T10" fmla="*/ 0 h 73"/>
              <a:gd name="T11" fmla="*/ 712 w 712"/>
              <a:gd name="T12" fmla="*/ 73 h 73"/>
            </a:gdLst>
            <a:ahLst/>
            <a:cxnLst>
              <a:cxn ang="T6">
                <a:pos x="T0" y="T1"/>
              </a:cxn>
              <a:cxn ang="T7">
                <a:pos x="T2" y="T3"/>
              </a:cxn>
              <a:cxn ang="T8">
                <a:pos x="T4" y="T5"/>
              </a:cxn>
            </a:cxnLst>
            <a:rect l="T9" t="T10" r="T11" b="T12"/>
            <a:pathLst>
              <a:path w="712" h="73">
                <a:moveTo>
                  <a:pt x="0" y="73"/>
                </a:moveTo>
                <a:cubicBezTo>
                  <a:pt x="160" y="37"/>
                  <a:pt x="321" y="2"/>
                  <a:pt x="440" y="1"/>
                </a:cubicBezTo>
                <a:cubicBezTo>
                  <a:pt x="559" y="0"/>
                  <a:pt x="667" y="54"/>
                  <a:pt x="712" y="65"/>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6" name="Freeform 62">
            <a:extLst>
              <a:ext uri="{FF2B5EF4-FFF2-40B4-BE49-F238E27FC236}">
                <a16:creationId xmlns:a16="http://schemas.microsoft.com/office/drawing/2014/main" id="{26255E12-0642-4A45-80F7-5EE16B988759}"/>
              </a:ext>
            </a:extLst>
          </p:cNvPr>
          <p:cNvSpPr>
            <a:spLocks/>
          </p:cNvSpPr>
          <p:nvPr/>
        </p:nvSpPr>
        <p:spPr bwMode="auto">
          <a:xfrm>
            <a:off x="6675477" y="4846347"/>
            <a:ext cx="587633" cy="112937"/>
          </a:xfrm>
          <a:custGeom>
            <a:avLst/>
            <a:gdLst>
              <a:gd name="T0" fmla="*/ 0 w 584"/>
              <a:gd name="T1" fmla="*/ 2147483647 h 92"/>
              <a:gd name="T2" fmla="*/ 2147483647 w 584"/>
              <a:gd name="T3" fmla="*/ 2147483647 h 92"/>
              <a:gd name="T4" fmla="*/ 2147483647 w 584"/>
              <a:gd name="T5" fmla="*/ 2147483647 h 92"/>
              <a:gd name="T6" fmla="*/ 0 60000 65536"/>
              <a:gd name="T7" fmla="*/ 0 60000 65536"/>
              <a:gd name="T8" fmla="*/ 0 60000 65536"/>
              <a:gd name="T9" fmla="*/ 0 w 584"/>
              <a:gd name="T10" fmla="*/ 0 h 92"/>
              <a:gd name="T11" fmla="*/ 584 w 584"/>
              <a:gd name="T12" fmla="*/ 92 h 92"/>
            </a:gdLst>
            <a:ahLst/>
            <a:cxnLst>
              <a:cxn ang="T6">
                <a:pos x="T0" y="T1"/>
              </a:cxn>
              <a:cxn ang="T7">
                <a:pos x="T2" y="T3"/>
              </a:cxn>
              <a:cxn ang="T8">
                <a:pos x="T4" y="T5"/>
              </a:cxn>
            </a:cxnLst>
            <a:rect l="T9" t="T10" r="T11" b="T12"/>
            <a:pathLst>
              <a:path w="584" h="92">
                <a:moveTo>
                  <a:pt x="0" y="20"/>
                </a:moveTo>
                <a:cubicBezTo>
                  <a:pt x="111" y="10"/>
                  <a:pt x="223" y="0"/>
                  <a:pt x="320" y="12"/>
                </a:cubicBezTo>
                <a:cubicBezTo>
                  <a:pt x="417" y="24"/>
                  <a:pt x="540" y="79"/>
                  <a:pt x="584" y="92"/>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7" name="Freeform 63">
            <a:extLst>
              <a:ext uri="{FF2B5EF4-FFF2-40B4-BE49-F238E27FC236}">
                <a16:creationId xmlns:a16="http://schemas.microsoft.com/office/drawing/2014/main" id="{BD9C6FF7-9AA1-4DB3-9FA1-5ADF5D25FE8B}"/>
              </a:ext>
            </a:extLst>
          </p:cNvPr>
          <p:cNvSpPr>
            <a:spLocks/>
          </p:cNvSpPr>
          <p:nvPr/>
        </p:nvSpPr>
        <p:spPr bwMode="auto">
          <a:xfrm>
            <a:off x="7593150" y="3957581"/>
            <a:ext cx="281742" cy="520492"/>
          </a:xfrm>
          <a:custGeom>
            <a:avLst/>
            <a:gdLst>
              <a:gd name="T0" fmla="*/ 0 w 280"/>
              <a:gd name="T1" fmla="*/ 2147483647 h 424"/>
              <a:gd name="T2" fmla="*/ 2147483647 w 280"/>
              <a:gd name="T3" fmla="*/ 2147483647 h 424"/>
              <a:gd name="T4" fmla="*/ 2147483647 w 280"/>
              <a:gd name="T5" fmla="*/ 0 h 424"/>
              <a:gd name="T6" fmla="*/ 0 60000 65536"/>
              <a:gd name="T7" fmla="*/ 0 60000 65536"/>
              <a:gd name="T8" fmla="*/ 0 60000 65536"/>
              <a:gd name="T9" fmla="*/ 0 w 280"/>
              <a:gd name="T10" fmla="*/ 0 h 424"/>
              <a:gd name="T11" fmla="*/ 280 w 280"/>
              <a:gd name="T12" fmla="*/ 424 h 424"/>
            </a:gdLst>
            <a:ahLst/>
            <a:cxnLst>
              <a:cxn ang="T6">
                <a:pos x="T0" y="T1"/>
              </a:cxn>
              <a:cxn ang="T7">
                <a:pos x="T2" y="T3"/>
              </a:cxn>
              <a:cxn ang="T8">
                <a:pos x="T4" y="T5"/>
              </a:cxn>
            </a:cxnLst>
            <a:rect l="T9" t="T10" r="T11" b="T12"/>
            <a:pathLst>
              <a:path w="280" h="424">
                <a:moveTo>
                  <a:pt x="0" y="424"/>
                </a:moveTo>
                <a:cubicBezTo>
                  <a:pt x="72" y="379"/>
                  <a:pt x="145" y="335"/>
                  <a:pt x="192" y="264"/>
                </a:cubicBezTo>
                <a:cubicBezTo>
                  <a:pt x="239" y="193"/>
                  <a:pt x="265" y="44"/>
                  <a:pt x="280"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8" name="Freeform 64">
            <a:extLst>
              <a:ext uri="{FF2B5EF4-FFF2-40B4-BE49-F238E27FC236}">
                <a16:creationId xmlns:a16="http://schemas.microsoft.com/office/drawing/2014/main" id="{4C852044-6A55-4632-87A1-E1D0E97CCFF8}"/>
              </a:ext>
            </a:extLst>
          </p:cNvPr>
          <p:cNvSpPr>
            <a:spLocks/>
          </p:cNvSpPr>
          <p:nvPr/>
        </p:nvSpPr>
        <p:spPr bwMode="auto">
          <a:xfrm>
            <a:off x="7689747" y="4370047"/>
            <a:ext cx="507135" cy="294618"/>
          </a:xfrm>
          <a:custGeom>
            <a:avLst/>
            <a:gdLst>
              <a:gd name="T0" fmla="*/ 0 w 504"/>
              <a:gd name="T1" fmla="*/ 2147483647 h 240"/>
              <a:gd name="T2" fmla="*/ 2147483647 w 504"/>
              <a:gd name="T3" fmla="*/ 2147483647 h 240"/>
              <a:gd name="T4" fmla="*/ 2147483647 w 504"/>
              <a:gd name="T5" fmla="*/ 0 h 240"/>
              <a:gd name="T6" fmla="*/ 0 60000 65536"/>
              <a:gd name="T7" fmla="*/ 0 60000 65536"/>
              <a:gd name="T8" fmla="*/ 0 60000 65536"/>
              <a:gd name="T9" fmla="*/ 0 w 504"/>
              <a:gd name="T10" fmla="*/ 0 h 240"/>
              <a:gd name="T11" fmla="*/ 504 w 504"/>
              <a:gd name="T12" fmla="*/ 240 h 240"/>
            </a:gdLst>
            <a:ahLst/>
            <a:cxnLst>
              <a:cxn ang="T6">
                <a:pos x="T0" y="T1"/>
              </a:cxn>
              <a:cxn ang="T7">
                <a:pos x="T2" y="T3"/>
              </a:cxn>
              <a:cxn ang="T8">
                <a:pos x="T4" y="T5"/>
              </a:cxn>
            </a:cxnLst>
            <a:rect l="T9" t="T10" r="T11" b="T12"/>
            <a:pathLst>
              <a:path w="504" h="240">
                <a:moveTo>
                  <a:pt x="0" y="240"/>
                </a:moveTo>
                <a:cubicBezTo>
                  <a:pt x="86" y="168"/>
                  <a:pt x="172" y="96"/>
                  <a:pt x="256" y="56"/>
                </a:cubicBezTo>
                <a:cubicBezTo>
                  <a:pt x="340" y="16"/>
                  <a:pt x="463" y="9"/>
                  <a:pt x="504"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19" name="Freeform 65">
            <a:extLst>
              <a:ext uri="{FF2B5EF4-FFF2-40B4-BE49-F238E27FC236}">
                <a16:creationId xmlns:a16="http://schemas.microsoft.com/office/drawing/2014/main" id="{C6C523A4-3BC4-4F15-9522-F62C01FD908A}"/>
              </a:ext>
            </a:extLst>
          </p:cNvPr>
          <p:cNvSpPr>
            <a:spLocks/>
          </p:cNvSpPr>
          <p:nvPr/>
        </p:nvSpPr>
        <p:spPr bwMode="auto">
          <a:xfrm>
            <a:off x="5717554" y="2965699"/>
            <a:ext cx="220362" cy="667802"/>
          </a:xfrm>
          <a:custGeom>
            <a:avLst/>
            <a:gdLst>
              <a:gd name="T0" fmla="*/ 0 w 219"/>
              <a:gd name="T1" fmla="*/ 2147483647 h 544"/>
              <a:gd name="T2" fmla="*/ 2147483647 w 219"/>
              <a:gd name="T3" fmla="*/ 2147483647 h 544"/>
              <a:gd name="T4" fmla="*/ 2147483647 w 219"/>
              <a:gd name="T5" fmla="*/ 0 h 544"/>
              <a:gd name="T6" fmla="*/ 0 60000 65536"/>
              <a:gd name="T7" fmla="*/ 0 60000 65536"/>
              <a:gd name="T8" fmla="*/ 0 60000 65536"/>
              <a:gd name="T9" fmla="*/ 0 w 219"/>
              <a:gd name="T10" fmla="*/ 0 h 544"/>
              <a:gd name="T11" fmla="*/ 219 w 219"/>
              <a:gd name="T12" fmla="*/ 544 h 544"/>
            </a:gdLst>
            <a:ahLst/>
            <a:cxnLst>
              <a:cxn ang="T6">
                <a:pos x="T0" y="T1"/>
              </a:cxn>
              <a:cxn ang="T7">
                <a:pos x="T2" y="T3"/>
              </a:cxn>
              <a:cxn ang="T8">
                <a:pos x="T4" y="T5"/>
              </a:cxn>
            </a:cxnLst>
            <a:rect l="T9" t="T10" r="T11" b="T12"/>
            <a:pathLst>
              <a:path w="219" h="544">
                <a:moveTo>
                  <a:pt x="0" y="544"/>
                </a:moveTo>
                <a:cubicBezTo>
                  <a:pt x="74" y="437"/>
                  <a:pt x="149" y="331"/>
                  <a:pt x="184" y="240"/>
                </a:cubicBezTo>
                <a:cubicBezTo>
                  <a:pt x="219" y="149"/>
                  <a:pt x="204" y="40"/>
                  <a:pt x="208"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20" name="Freeform 66">
            <a:extLst>
              <a:ext uri="{FF2B5EF4-FFF2-40B4-BE49-F238E27FC236}">
                <a16:creationId xmlns:a16="http://schemas.microsoft.com/office/drawing/2014/main" id="{8D261833-8CD2-45D0-A762-F0198B5ED8C4}"/>
              </a:ext>
            </a:extLst>
          </p:cNvPr>
          <p:cNvSpPr>
            <a:spLocks/>
          </p:cNvSpPr>
          <p:nvPr/>
        </p:nvSpPr>
        <p:spPr bwMode="auto">
          <a:xfrm>
            <a:off x="8221032" y="3789403"/>
            <a:ext cx="619832" cy="128896"/>
          </a:xfrm>
          <a:custGeom>
            <a:avLst/>
            <a:gdLst>
              <a:gd name="T0" fmla="*/ 0 w 616"/>
              <a:gd name="T1" fmla="*/ 2147483647 h 105"/>
              <a:gd name="T2" fmla="*/ 2147483647 w 616"/>
              <a:gd name="T3" fmla="*/ 2147483647 h 105"/>
              <a:gd name="T4" fmla="*/ 2147483647 w 616"/>
              <a:gd name="T5" fmla="*/ 2147483647 h 105"/>
              <a:gd name="T6" fmla="*/ 0 60000 65536"/>
              <a:gd name="T7" fmla="*/ 0 60000 65536"/>
              <a:gd name="T8" fmla="*/ 0 60000 65536"/>
              <a:gd name="T9" fmla="*/ 0 w 616"/>
              <a:gd name="T10" fmla="*/ 0 h 105"/>
              <a:gd name="T11" fmla="*/ 616 w 616"/>
              <a:gd name="T12" fmla="*/ 105 h 105"/>
            </a:gdLst>
            <a:ahLst/>
            <a:cxnLst>
              <a:cxn ang="T6">
                <a:pos x="T0" y="T1"/>
              </a:cxn>
              <a:cxn ang="T7">
                <a:pos x="T2" y="T3"/>
              </a:cxn>
              <a:cxn ang="T8">
                <a:pos x="T4" y="T5"/>
              </a:cxn>
            </a:cxnLst>
            <a:rect l="T9" t="T10" r="T11" b="T12"/>
            <a:pathLst>
              <a:path w="616" h="105">
                <a:moveTo>
                  <a:pt x="0" y="105"/>
                </a:moveTo>
                <a:cubicBezTo>
                  <a:pt x="76" y="69"/>
                  <a:pt x="153" y="34"/>
                  <a:pt x="256" y="17"/>
                </a:cubicBezTo>
                <a:cubicBezTo>
                  <a:pt x="359" y="0"/>
                  <a:pt x="556" y="4"/>
                  <a:pt x="616" y="1"/>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121" name="Freeform 67">
            <a:extLst>
              <a:ext uri="{FF2B5EF4-FFF2-40B4-BE49-F238E27FC236}">
                <a16:creationId xmlns:a16="http://schemas.microsoft.com/office/drawing/2014/main" id="{BF0519D7-83CF-48F7-BECC-B9C0C68C21E8}"/>
              </a:ext>
            </a:extLst>
          </p:cNvPr>
          <p:cNvSpPr>
            <a:spLocks/>
          </p:cNvSpPr>
          <p:nvPr/>
        </p:nvSpPr>
        <p:spPr bwMode="auto">
          <a:xfrm>
            <a:off x="8140534" y="3437089"/>
            <a:ext cx="515185" cy="343721"/>
          </a:xfrm>
          <a:custGeom>
            <a:avLst/>
            <a:gdLst>
              <a:gd name="T0" fmla="*/ 0 w 512"/>
              <a:gd name="T1" fmla="*/ 2147483647 h 280"/>
              <a:gd name="T2" fmla="*/ 2147483647 w 512"/>
              <a:gd name="T3" fmla="*/ 2147483647 h 280"/>
              <a:gd name="T4" fmla="*/ 2147483647 w 512"/>
              <a:gd name="T5" fmla="*/ 0 h 280"/>
              <a:gd name="T6" fmla="*/ 0 60000 65536"/>
              <a:gd name="T7" fmla="*/ 0 60000 65536"/>
              <a:gd name="T8" fmla="*/ 0 60000 65536"/>
              <a:gd name="T9" fmla="*/ 0 w 512"/>
              <a:gd name="T10" fmla="*/ 0 h 280"/>
              <a:gd name="T11" fmla="*/ 512 w 512"/>
              <a:gd name="T12" fmla="*/ 280 h 280"/>
            </a:gdLst>
            <a:ahLst/>
            <a:cxnLst>
              <a:cxn ang="T6">
                <a:pos x="T0" y="T1"/>
              </a:cxn>
              <a:cxn ang="T7">
                <a:pos x="T2" y="T3"/>
              </a:cxn>
              <a:cxn ang="T8">
                <a:pos x="T4" y="T5"/>
              </a:cxn>
            </a:cxnLst>
            <a:rect l="T9" t="T10" r="T11" b="T12"/>
            <a:pathLst>
              <a:path w="512" h="280">
                <a:moveTo>
                  <a:pt x="0" y="280"/>
                </a:moveTo>
                <a:cubicBezTo>
                  <a:pt x="117" y="239"/>
                  <a:pt x="235" y="199"/>
                  <a:pt x="320" y="152"/>
                </a:cubicBezTo>
                <a:cubicBezTo>
                  <a:pt x="405" y="105"/>
                  <a:pt x="480" y="25"/>
                  <a:pt x="512" y="0"/>
                </a:cubicBezTo>
              </a:path>
            </a:pathLst>
          </a:custGeom>
          <a:noFill/>
          <a:ln w="9525">
            <a:solidFill>
              <a:srgbClr val="86BC25"/>
            </a:solidFill>
            <a:round/>
            <a:headEnd/>
            <a:tailEnd/>
          </a:ln>
        </p:spPr>
        <p:txBody>
          <a:bodyPr wrap="none" lIns="36000" tIns="36000" rIns="36000" bIns="36000" anchor="ctr"/>
          <a:lstStyle/>
          <a:p>
            <a:pPr marL="0" marR="0" lvl="0" indent="0" defTabSz="820007"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srgbClr val="000066"/>
              </a:solidFill>
              <a:effectLst/>
              <a:uLnTx/>
              <a:uFillTx/>
              <a:latin typeface="Verdana"/>
              <a:cs typeface="Arial" charset="0"/>
            </a:endParaRPr>
          </a:p>
        </p:txBody>
      </p:sp>
      <p:sp>
        <p:nvSpPr>
          <p:cNvPr id="65" name="Rectangle 64">
            <a:extLst>
              <a:ext uri="{FF2B5EF4-FFF2-40B4-BE49-F238E27FC236}">
                <a16:creationId xmlns:a16="http://schemas.microsoft.com/office/drawing/2014/main" id="{170B7C97-7FCD-41C6-9D5D-5BD30C53951C}"/>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3</a:t>
            </a:r>
          </a:p>
        </p:txBody>
      </p:sp>
    </p:spTree>
    <p:extLst>
      <p:ext uri="{BB962C8B-B14F-4D97-AF65-F5344CB8AC3E}">
        <p14:creationId xmlns:p14="http://schemas.microsoft.com/office/powerpoint/2010/main" val="152757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1026" name="Picture 1">
            <a:extLst>
              <a:ext uri="{FF2B5EF4-FFF2-40B4-BE49-F238E27FC236}">
                <a16:creationId xmlns:a16="http://schemas.microsoft.com/office/drawing/2014/main" id="{C1CBDB8F-E990-4C24-A372-2CB4BF0EF9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86920" cy="678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0318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6287" y="133622"/>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4: Model Risk Management </a:t>
            </a:r>
          </a:p>
        </p:txBody>
      </p:sp>
      <p:grpSp>
        <p:nvGrpSpPr>
          <p:cNvPr id="4" name="Group 3">
            <a:extLst>
              <a:ext uri="{FF2B5EF4-FFF2-40B4-BE49-F238E27FC236}">
                <a16:creationId xmlns:a16="http://schemas.microsoft.com/office/drawing/2014/main" id="{77592CCD-259E-4905-B50F-DA2CC46DFCFF}"/>
              </a:ext>
            </a:extLst>
          </p:cNvPr>
          <p:cNvGrpSpPr/>
          <p:nvPr/>
        </p:nvGrpSpPr>
        <p:grpSpPr>
          <a:xfrm>
            <a:off x="1927918" y="5495333"/>
            <a:ext cx="8464399" cy="1129413"/>
            <a:chOff x="6606132" y="5447402"/>
            <a:chExt cx="4015011" cy="1258258"/>
          </a:xfrm>
        </p:grpSpPr>
        <p:sp>
          <p:nvSpPr>
            <p:cNvPr id="45" name="Oval 44">
              <a:extLst>
                <a:ext uri="{FF2B5EF4-FFF2-40B4-BE49-F238E27FC236}">
                  <a16:creationId xmlns:a16="http://schemas.microsoft.com/office/drawing/2014/main" id="{8E1DEEED-B1FA-4B32-9931-0C2EBE54E346}"/>
                </a:ext>
              </a:extLst>
            </p:cNvPr>
            <p:cNvSpPr/>
            <p:nvPr/>
          </p:nvSpPr>
          <p:spPr bwMode="gray">
            <a:xfrm>
              <a:off x="6606132" y="5447402"/>
              <a:ext cx="1281691" cy="1256487"/>
            </a:xfrm>
            <a:prstGeom prst="trapezoid">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tegrity </a:t>
              </a:r>
            </a:p>
          </p:txBody>
        </p:sp>
        <p:sp>
          <p:nvSpPr>
            <p:cNvPr id="46" name="Oval 45">
              <a:extLst>
                <a:ext uri="{FF2B5EF4-FFF2-40B4-BE49-F238E27FC236}">
                  <a16:creationId xmlns:a16="http://schemas.microsoft.com/office/drawing/2014/main" id="{A8911ADE-9082-4A9A-9F9A-8655EFB53F07}"/>
                </a:ext>
              </a:extLst>
            </p:cNvPr>
            <p:cNvSpPr/>
            <p:nvPr/>
          </p:nvSpPr>
          <p:spPr bwMode="gray">
            <a:xfrm>
              <a:off x="7972792" y="5447404"/>
              <a:ext cx="1281691" cy="1256487"/>
            </a:xfrm>
            <a:prstGeom prst="trapezoid">
              <a:avLst/>
            </a:prstGeom>
            <a:solidFill>
              <a:sysClr val="window" lastClr="FFFFFF">
                <a:lumMod val="95000"/>
              </a:sysClr>
            </a:solidFill>
            <a:ln w="19050" algn="ctr">
              <a:noFill/>
              <a:miter lim="800000"/>
              <a:headEnd/>
              <a:tailEnd/>
            </a:ln>
          </p:spPr>
          <p:txBody>
            <a:bodyPr wrap="square" lIns="88900" tIns="88900" rIns="88900" bIns="88900" rtlCol="0" anchor="ctr"/>
            <a:lstStyle/>
            <a:p>
              <a:pPr lvl="0" algn="ctr">
                <a:lnSpc>
                  <a:spcPct val="106000"/>
                </a:lnSpc>
                <a:defRPr/>
              </a:pPr>
              <a:r>
                <a:rPr lang="en-US" sz="1200" b="1" kern="0" dirty="0">
                  <a:solidFill>
                    <a:prstClr val="black"/>
                  </a:solidFill>
                  <a:latin typeface="Arial" panose="020B0604020202020204" pitchFamily="34" charset="0"/>
                  <a:cs typeface="Arial" panose="020B0604020202020204" pitchFamily="34" charset="0"/>
                </a:rPr>
                <a:t>Conceptual soundness </a:t>
              </a:r>
            </a:p>
            <a:p>
              <a:pPr lvl="0" algn="ctr">
                <a:lnSpc>
                  <a:spcPct val="106000"/>
                </a:lnSpc>
                <a:defRPr/>
              </a:pPr>
              <a:r>
                <a:rPr lang="en-US" sz="1200" b="1" kern="0" dirty="0">
                  <a:solidFill>
                    <a:prstClr val="black"/>
                  </a:solidFill>
                  <a:latin typeface="Arial" panose="020B0604020202020204" pitchFamily="34" charset="0"/>
                  <a:cs typeface="Arial" panose="020B0604020202020204" pitchFamily="34" charset="0"/>
                </a:rPr>
                <a:t>and stability</a:t>
              </a:r>
            </a:p>
          </p:txBody>
        </p:sp>
        <p:sp>
          <p:nvSpPr>
            <p:cNvPr id="47" name="Oval 46">
              <a:extLst>
                <a:ext uri="{FF2B5EF4-FFF2-40B4-BE49-F238E27FC236}">
                  <a16:creationId xmlns:a16="http://schemas.microsoft.com/office/drawing/2014/main" id="{B87476C1-D7DC-4DF0-874E-BFD6A69181EE}"/>
                </a:ext>
              </a:extLst>
            </p:cNvPr>
            <p:cNvSpPr/>
            <p:nvPr/>
          </p:nvSpPr>
          <p:spPr bwMode="gray">
            <a:xfrm>
              <a:off x="9339452" y="5449173"/>
              <a:ext cx="1281691" cy="1256487"/>
            </a:xfrm>
            <a:prstGeom prst="trapezoid">
              <a:avLst/>
            </a:prstGeom>
            <a:solidFill>
              <a:sysClr val="window" lastClr="FFFFFF">
                <a:lumMod val="95000"/>
              </a:sysClr>
            </a:solidFill>
            <a:ln w="19050" algn="ctr">
              <a:noFill/>
              <a:miter lim="800000"/>
              <a:headEnd/>
              <a:tailEnd/>
            </a:ln>
          </p:spPr>
          <p:txBody>
            <a:bodyPr wrap="square" lIns="88900" tIns="88900" rIns="88900" bIns="88900" rtlCol="0" anchor="ctr"/>
            <a:lstStyle/>
            <a:p>
              <a:pPr lvl="0" algn="ctr" defTabSz="914293">
                <a:defRPr/>
              </a:pPr>
              <a:r>
                <a:rPr lang="en-GB" sz="1200" b="1" kern="0" dirty="0">
                  <a:latin typeface="Arial" panose="020B0604020202020204" pitchFamily="34" charset="0"/>
                  <a:cs typeface="Arial" panose="020B0604020202020204" pitchFamily="34" charset="0"/>
                </a:rPr>
                <a:t>Ongoing </a:t>
              </a:r>
            </a:p>
            <a:p>
              <a:pPr lvl="0" algn="ctr" defTabSz="914293">
                <a:defRPr/>
              </a:pPr>
              <a:r>
                <a:rPr lang="en-GB" sz="1200" b="1" kern="0" dirty="0">
                  <a:latin typeface="Arial" panose="020B0604020202020204" pitchFamily="34" charset="0"/>
                  <a:cs typeface="Arial" panose="020B0604020202020204" pitchFamily="34" charset="0"/>
                </a:rPr>
                <a:t>Model Monitoring</a:t>
              </a:r>
            </a:p>
          </p:txBody>
        </p:sp>
      </p:grpSp>
      <p:grpSp>
        <p:nvGrpSpPr>
          <p:cNvPr id="5" name="Group 4">
            <a:extLst>
              <a:ext uri="{FF2B5EF4-FFF2-40B4-BE49-F238E27FC236}">
                <a16:creationId xmlns:a16="http://schemas.microsoft.com/office/drawing/2014/main" id="{A77A5B1D-0B8C-4508-9DA9-19704EAE587E}"/>
              </a:ext>
            </a:extLst>
          </p:cNvPr>
          <p:cNvGrpSpPr/>
          <p:nvPr/>
        </p:nvGrpSpPr>
        <p:grpSpPr>
          <a:xfrm>
            <a:off x="2057174" y="3026239"/>
            <a:ext cx="7993711" cy="1804437"/>
            <a:chOff x="2405483" y="3072363"/>
            <a:chExt cx="7993711" cy="1677872"/>
          </a:xfrm>
        </p:grpSpPr>
        <p:sp>
          <p:nvSpPr>
            <p:cNvPr id="51" name="Rectangle: Rounded Corners 50">
              <a:extLst>
                <a:ext uri="{FF2B5EF4-FFF2-40B4-BE49-F238E27FC236}">
                  <a16:creationId xmlns:a16="http://schemas.microsoft.com/office/drawing/2014/main" id="{2882A36E-C2B9-40C4-B9D3-FD4CEB00AC12}"/>
                </a:ext>
              </a:extLst>
            </p:cNvPr>
            <p:cNvSpPr/>
            <p:nvPr/>
          </p:nvSpPr>
          <p:spPr bwMode="gray">
            <a:xfrm>
              <a:off x="2405483" y="3072363"/>
              <a:ext cx="1440000" cy="518464"/>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Model Development</a:t>
              </a:r>
            </a:p>
          </p:txBody>
        </p:sp>
        <p:sp>
          <p:nvSpPr>
            <p:cNvPr id="52" name="Rectangle: Rounded Corners 51">
              <a:extLst>
                <a:ext uri="{FF2B5EF4-FFF2-40B4-BE49-F238E27FC236}">
                  <a16:creationId xmlns:a16="http://schemas.microsoft.com/office/drawing/2014/main" id="{67C708B9-E023-4596-912F-A37ABCA6F32C}"/>
                </a:ext>
              </a:extLst>
            </p:cNvPr>
            <p:cNvSpPr/>
            <p:nvPr/>
          </p:nvSpPr>
          <p:spPr bwMode="gray">
            <a:xfrm>
              <a:off x="4568417" y="3134101"/>
              <a:ext cx="1440000" cy="428255"/>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Model Validation</a:t>
              </a:r>
            </a:p>
          </p:txBody>
        </p:sp>
        <p:sp>
          <p:nvSpPr>
            <p:cNvPr id="53" name="Arrow: Striped Right 52">
              <a:extLst>
                <a:ext uri="{FF2B5EF4-FFF2-40B4-BE49-F238E27FC236}">
                  <a16:creationId xmlns:a16="http://schemas.microsoft.com/office/drawing/2014/main" id="{33E2A43A-DF57-4BD3-8020-5D96B1CAE513}"/>
                </a:ext>
              </a:extLst>
            </p:cNvPr>
            <p:cNvSpPr/>
            <p:nvPr/>
          </p:nvSpPr>
          <p:spPr bwMode="gray">
            <a:xfrm>
              <a:off x="6143643" y="3127802"/>
              <a:ext cx="396000" cy="407585"/>
            </a:xfrm>
            <a:prstGeom prst="stripedRightArrow">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54" name="Rectangle: Rounded Corners 53">
              <a:extLst>
                <a:ext uri="{FF2B5EF4-FFF2-40B4-BE49-F238E27FC236}">
                  <a16:creationId xmlns:a16="http://schemas.microsoft.com/office/drawing/2014/main" id="{F74BB39E-3679-4257-9F8C-EE6952AFC26C}"/>
                </a:ext>
              </a:extLst>
            </p:cNvPr>
            <p:cNvSpPr/>
            <p:nvPr/>
          </p:nvSpPr>
          <p:spPr bwMode="gray">
            <a:xfrm>
              <a:off x="6722225" y="3134101"/>
              <a:ext cx="1440000" cy="428255"/>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Approval Decision</a:t>
              </a:r>
            </a:p>
          </p:txBody>
        </p:sp>
        <p:sp>
          <p:nvSpPr>
            <p:cNvPr id="55" name="Rectangle: Rounded Corners 54">
              <a:extLst>
                <a:ext uri="{FF2B5EF4-FFF2-40B4-BE49-F238E27FC236}">
                  <a16:creationId xmlns:a16="http://schemas.microsoft.com/office/drawing/2014/main" id="{0B47A598-4304-4C4D-B131-7D0010A41170}"/>
                </a:ext>
              </a:extLst>
            </p:cNvPr>
            <p:cNvSpPr/>
            <p:nvPr/>
          </p:nvSpPr>
          <p:spPr bwMode="gray">
            <a:xfrm>
              <a:off x="6728243" y="3909888"/>
              <a:ext cx="1440000" cy="428255"/>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Rejection Decision</a:t>
              </a:r>
            </a:p>
          </p:txBody>
        </p:sp>
        <p:sp>
          <p:nvSpPr>
            <p:cNvPr id="56" name="Arrow: Striped Right 55">
              <a:extLst>
                <a:ext uri="{FF2B5EF4-FFF2-40B4-BE49-F238E27FC236}">
                  <a16:creationId xmlns:a16="http://schemas.microsoft.com/office/drawing/2014/main" id="{B7DFBE8B-F5D6-4CFA-9A4B-6F68B93856D1}"/>
                </a:ext>
              </a:extLst>
            </p:cNvPr>
            <p:cNvSpPr/>
            <p:nvPr/>
          </p:nvSpPr>
          <p:spPr bwMode="gray">
            <a:xfrm>
              <a:off x="8297451" y="3134745"/>
              <a:ext cx="396000" cy="407585"/>
            </a:xfrm>
            <a:prstGeom prst="stripedRightArrow">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57" name="Rectangle: Rounded Corners 56">
              <a:extLst>
                <a:ext uri="{FF2B5EF4-FFF2-40B4-BE49-F238E27FC236}">
                  <a16:creationId xmlns:a16="http://schemas.microsoft.com/office/drawing/2014/main" id="{EB84AF79-D3EF-4A21-A499-3732A4E68BCE}"/>
                </a:ext>
              </a:extLst>
            </p:cNvPr>
            <p:cNvSpPr/>
            <p:nvPr/>
          </p:nvSpPr>
          <p:spPr bwMode="gray">
            <a:xfrm>
              <a:off x="8932094" y="3115909"/>
              <a:ext cx="1440000" cy="428255"/>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Internal Audit</a:t>
              </a:r>
            </a:p>
          </p:txBody>
        </p:sp>
        <p:sp>
          <p:nvSpPr>
            <p:cNvPr id="58" name="Rectangle: Rounded Corners 57">
              <a:extLst>
                <a:ext uri="{FF2B5EF4-FFF2-40B4-BE49-F238E27FC236}">
                  <a16:creationId xmlns:a16="http://schemas.microsoft.com/office/drawing/2014/main" id="{D179174A-1C83-4082-AFE1-52A074F99BE1}"/>
                </a:ext>
              </a:extLst>
            </p:cNvPr>
            <p:cNvSpPr/>
            <p:nvPr/>
          </p:nvSpPr>
          <p:spPr bwMode="gray">
            <a:xfrm>
              <a:off x="8959194" y="4321980"/>
              <a:ext cx="1440000" cy="428255"/>
            </a:xfrm>
            <a:prstGeom prst="roundRect">
              <a:avLst/>
            </a:prstGeom>
            <a:solidFill>
              <a:sysClr val="window" lastClr="FFFFFF"/>
            </a:solidFill>
            <a:ln w="19050">
              <a:solidFill>
                <a:schemeClr val="tx1"/>
              </a:solidFill>
            </a:ln>
          </p:spPr>
          <p:txBody>
            <a:bodyPr wrap="square" lIns="91440" tIns="0" rIns="91440" bIns="0" rtlCol="0" anchor="ctr">
              <a:spAutoFit/>
            </a:bodyPr>
            <a:lstStyle/>
            <a:p>
              <a:pPr marL="0" marR="0" lvl="0" indent="0" algn="ctr" defTabSz="914400" eaLnBrk="1" fontAlgn="base" latinLnBrk="0" hangingPunct="1">
                <a:lnSpc>
                  <a:spcPct val="130000"/>
                </a:lnSpc>
                <a:spcBef>
                  <a:spcPct val="0"/>
                </a:spcBef>
                <a:spcAft>
                  <a:spcPct val="0"/>
                </a:spcAft>
                <a:buClrTx/>
                <a:buSzTx/>
                <a:buFontTx/>
                <a:buNone/>
                <a:tabLst/>
                <a:defRPr/>
              </a:pPr>
              <a:r>
                <a:rPr kumimoji="0" lang="en-IN" sz="900" b="1"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Ongoing Monitoring</a:t>
              </a:r>
            </a:p>
          </p:txBody>
        </p:sp>
        <p:cxnSp>
          <p:nvCxnSpPr>
            <p:cNvPr id="59" name="Connector: Curved 58">
              <a:extLst>
                <a:ext uri="{FF2B5EF4-FFF2-40B4-BE49-F238E27FC236}">
                  <a16:creationId xmlns:a16="http://schemas.microsoft.com/office/drawing/2014/main" id="{7E4C4578-94DE-4C1A-A4E9-FD5F68D92F36}"/>
                </a:ext>
              </a:extLst>
            </p:cNvPr>
            <p:cNvCxnSpPr>
              <a:cxnSpLocks/>
              <a:stCxn id="55" idx="1"/>
              <a:endCxn id="51" idx="2"/>
            </p:cNvCxnSpPr>
            <p:nvPr/>
          </p:nvCxnSpPr>
          <p:spPr>
            <a:xfrm rot="10800000">
              <a:off x="3125483" y="3590827"/>
              <a:ext cx="3602760" cy="533189"/>
            </a:xfrm>
            <a:prstGeom prst="curvedConnector2">
              <a:avLst/>
            </a:prstGeom>
            <a:noFill/>
            <a:ln w="9525" cap="flat" cmpd="sng" algn="ctr">
              <a:solidFill>
                <a:srgbClr val="323232"/>
              </a:solidFill>
              <a:prstDash val="solid"/>
              <a:tailEnd type="triangle"/>
            </a:ln>
            <a:effectLst/>
          </p:spPr>
        </p:cxnSp>
        <p:sp>
          <p:nvSpPr>
            <p:cNvPr id="60" name="Arrow: Striped Right 59">
              <a:extLst>
                <a:ext uri="{FF2B5EF4-FFF2-40B4-BE49-F238E27FC236}">
                  <a16:creationId xmlns:a16="http://schemas.microsoft.com/office/drawing/2014/main" id="{FD8FC113-5929-41A2-9F10-3B17A7DCA1CF}"/>
                </a:ext>
              </a:extLst>
            </p:cNvPr>
            <p:cNvSpPr/>
            <p:nvPr/>
          </p:nvSpPr>
          <p:spPr bwMode="gray">
            <a:xfrm>
              <a:off x="3989835" y="3144434"/>
              <a:ext cx="396000" cy="407585"/>
            </a:xfrm>
            <a:prstGeom prst="stripedRightArrow">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61" name="Arrow: Striped Right 60">
              <a:extLst>
                <a:ext uri="{FF2B5EF4-FFF2-40B4-BE49-F238E27FC236}">
                  <a16:creationId xmlns:a16="http://schemas.microsoft.com/office/drawing/2014/main" id="{42FFACC3-92A6-4F5D-9438-8C375BE01744}"/>
                </a:ext>
              </a:extLst>
            </p:cNvPr>
            <p:cNvSpPr/>
            <p:nvPr/>
          </p:nvSpPr>
          <p:spPr bwMode="gray">
            <a:xfrm rot="1662817">
              <a:off x="6118344" y="3611563"/>
              <a:ext cx="396000" cy="407585"/>
            </a:xfrm>
            <a:prstGeom prst="stripedRightArrow">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62" name="Arrow: Striped Right 61">
              <a:extLst>
                <a:ext uri="{FF2B5EF4-FFF2-40B4-BE49-F238E27FC236}">
                  <a16:creationId xmlns:a16="http://schemas.microsoft.com/office/drawing/2014/main" id="{F3379764-C291-49D5-9520-E7B8836D2684}"/>
                </a:ext>
              </a:extLst>
            </p:cNvPr>
            <p:cNvSpPr/>
            <p:nvPr/>
          </p:nvSpPr>
          <p:spPr bwMode="gray">
            <a:xfrm rot="5400000">
              <a:off x="9444584" y="3737897"/>
              <a:ext cx="469221" cy="343981"/>
            </a:xfrm>
            <a:prstGeom prst="stripedRightArrow">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cxnSp>
          <p:nvCxnSpPr>
            <p:cNvPr id="63" name="Connector: Curved 62">
              <a:extLst>
                <a:ext uri="{FF2B5EF4-FFF2-40B4-BE49-F238E27FC236}">
                  <a16:creationId xmlns:a16="http://schemas.microsoft.com/office/drawing/2014/main" id="{B53DD93F-0C8C-44C3-BA96-23459CC6ACBD}"/>
                </a:ext>
              </a:extLst>
            </p:cNvPr>
            <p:cNvCxnSpPr>
              <a:cxnSpLocks/>
              <a:stCxn id="58" idx="1"/>
              <a:endCxn id="51" idx="2"/>
            </p:cNvCxnSpPr>
            <p:nvPr/>
          </p:nvCxnSpPr>
          <p:spPr>
            <a:xfrm rot="10800000">
              <a:off x="3125484" y="3590828"/>
              <a:ext cx="5833711" cy="945281"/>
            </a:xfrm>
            <a:prstGeom prst="curvedConnector2">
              <a:avLst/>
            </a:prstGeom>
            <a:noFill/>
            <a:ln w="9525" cap="flat" cmpd="sng" algn="ctr">
              <a:solidFill>
                <a:srgbClr val="323232"/>
              </a:solidFill>
              <a:prstDash val="solid"/>
              <a:tailEnd type="triangle"/>
            </a:ln>
            <a:effectLst/>
          </p:spPr>
        </p:cxnSp>
      </p:grpSp>
      <p:sp>
        <p:nvSpPr>
          <p:cNvPr id="24" name="Rectangle 23">
            <a:extLst>
              <a:ext uri="{FF2B5EF4-FFF2-40B4-BE49-F238E27FC236}">
                <a16:creationId xmlns:a16="http://schemas.microsoft.com/office/drawing/2014/main" id="{3B3B2715-203A-4F18-BDFB-F540E4BE0F20}"/>
              </a:ext>
            </a:extLst>
          </p:cNvPr>
          <p:cNvSpPr/>
          <p:nvPr/>
        </p:nvSpPr>
        <p:spPr>
          <a:xfrm>
            <a:off x="1927918" y="846300"/>
            <a:ext cx="8491190" cy="269380"/>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algn="ctr"/>
            <a:r>
              <a:rPr lang="en-GB" sz="1400" b="1" kern="0" dirty="0">
                <a:solidFill>
                  <a:srgbClr val="FFFFFF"/>
                </a:solidFill>
                <a:latin typeface="Arial" panose="020B0604020202020204" pitchFamily="34" charset="0"/>
                <a:cs typeface="Arial" panose="020B0604020202020204" pitchFamily="34" charset="0"/>
              </a:rPr>
              <a:t>Models required for </a:t>
            </a:r>
            <a:r>
              <a:rPr lang="en-GB" sz="1400" b="1" kern="0">
                <a:solidFill>
                  <a:srgbClr val="FFFFFF"/>
                </a:solidFill>
                <a:latin typeface="Arial" panose="020B0604020202020204" pitchFamily="34" charset="0"/>
                <a:cs typeface="Arial" panose="020B0604020202020204" pitchFamily="34" charset="0"/>
              </a:rPr>
              <a:t>IRRBB </a:t>
            </a:r>
            <a:endParaRPr lang="en-GB" sz="1400" b="1" kern="0" dirty="0">
              <a:solidFill>
                <a:srgbClr val="FFFFFF"/>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FDBAD6D0-6299-4B6F-B6BF-315B4F9B0A0A}"/>
              </a:ext>
            </a:extLst>
          </p:cNvPr>
          <p:cNvGrpSpPr/>
          <p:nvPr/>
        </p:nvGrpSpPr>
        <p:grpSpPr>
          <a:xfrm>
            <a:off x="1909849" y="1194375"/>
            <a:ext cx="8510079" cy="1206705"/>
            <a:chOff x="2138675" y="1146444"/>
            <a:chExt cx="8510079" cy="1253998"/>
          </a:xfrm>
        </p:grpSpPr>
        <p:sp>
          <p:nvSpPr>
            <p:cNvPr id="25" name="Oval 24">
              <a:extLst>
                <a:ext uri="{FF2B5EF4-FFF2-40B4-BE49-F238E27FC236}">
                  <a16:creationId xmlns:a16="http://schemas.microsoft.com/office/drawing/2014/main" id="{0441A0E5-91F9-4F62-B6DF-3CC06260C53D}"/>
                </a:ext>
              </a:extLst>
            </p:cNvPr>
            <p:cNvSpPr/>
            <p:nvPr/>
          </p:nvSpPr>
          <p:spPr bwMode="gray">
            <a:xfrm>
              <a:off x="3854290" y="1176486"/>
              <a:ext cx="1612707" cy="1200746"/>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terest rate forecasting models</a:t>
              </a:r>
            </a:p>
          </p:txBody>
        </p:sp>
        <p:sp>
          <p:nvSpPr>
            <p:cNvPr id="26" name="Oval 25">
              <a:extLst>
                <a:ext uri="{FF2B5EF4-FFF2-40B4-BE49-F238E27FC236}">
                  <a16:creationId xmlns:a16="http://schemas.microsoft.com/office/drawing/2014/main" id="{38E738B1-2DD3-4F15-8020-43202D161506}"/>
                </a:ext>
              </a:extLst>
            </p:cNvPr>
            <p:cNvSpPr/>
            <p:nvPr/>
          </p:nvSpPr>
          <p:spPr bwMode="gray">
            <a:xfrm>
              <a:off x="9036047" y="1175744"/>
              <a:ext cx="1612707" cy="1200746"/>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X &amp; Volatility forecasting models </a:t>
              </a:r>
            </a:p>
          </p:txBody>
        </p:sp>
        <p:sp>
          <p:nvSpPr>
            <p:cNvPr id="27" name="Oval 26">
              <a:extLst>
                <a:ext uri="{FF2B5EF4-FFF2-40B4-BE49-F238E27FC236}">
                  <a16:creationId xmlns:a16="http://schemas.microsoft.com/office/drawing/2014/main" id="{8E4CB485-BB05-4589-B48D-9F95CA672302}"/>
                </a:ext>
              </a:extLst>
            </p:cNvPr>
            <p:cNvSpPr/>
            <p:nvPr/>
          </p:nvSpPr>
          <p:spPr bwMode="gray">
            <a:xfrm>
              <a:off x="2138675" y="1199696"/>
              <a:ext cx="1612707" cy="1200746"/>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alance sheet projection models</a:t>
              </a:r>
            </a:p>
          </p:txBody>
        </p:sp>
        <p:sp>
          <p:nvSpPr>
            <p:cNvPr id="29" name="Oval 28">
              <a:extLst>
                <a:ext uri="{FF2B5EF4-FFF2-40B4-BE49-F238E27FC236}">
                  <a16:creationId xmlns:a16="http://schemas.microsoft.com/office/drawing/2014/main" id="{86724729-DCFE-45FF-9F65-9A1AF19AC7E9}"/>
                </a:ext>
              </a:extLst>
            </p:cNvPr>
            <p:cNvSpPr/>
            <p:nvPr/>
          </p:nvSpPr>
          <p:spPr bwMode="gray">
            <a:xfrm>
              <a:off x="5569905" y="1146444"/>
              <a:ext cx="1612708" cy="1200746"/>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IN" sz="1100" b="1" kern="0" dirty="0">
                  <a:solidFill>
                    <a:prstClr val="black"/>
                  </a:solidFill>
                  <a:latin typeface="Arial" panose="020B0604020202020204" pitchFamily="34" charset="0"/>
                  <a:cs typeface="Arial" panose="020B0604020202020204" pitchFamily="34" charset="0"/>
                </a:rPr>
                <a:t>Behavioural models </a:t>
              </a:r>
              <a:endPar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80EE9B50-2D8C-4477-AD22-858505B8D7C4}"/>
                </a:ext>
              </a:extLst>
            </p:cNvPr>
            <p:cNvSpPr/>
            <p:nvPr/>
          </p:nvSpPr>
          <p:spPr bwMode="gray">
            <a:xfrm>
              <a:off x="7285521" y="1153387"/>
              <a:ext cx="1612708" cy="1200746"/>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dels for embedded optionality's</a:t>
              </a:r>
            </a:p>
          </p:txBody>
        </p:sp>
      </p:grpSp>
      <p:sp>
        <p:nvSpPr>
          <p:cNvPr id="31" name="Rectangle 30">
            <a:extLst>
              <a:ext uri="{FF2B5EF4-FFF2-40B4-BE49-F238E27FC236}">
                <a16:creationId xmlns:a16="http://schemas.microsoft.com/office/drawing/2014/main" id="{562B3D8B-A017-4B13-A3D4-E6B9180A0441}"/>
              </a:ext>
            </a:extLst>
          </p:cNvPr>
          <p:cNvSpPr/>
          <p:nvPr/>
        </p:nvSpPr>
        <p:spPr>
          <a:xfrm>
            <a:off x="1927918" y="2584204"/>
            <a:ext cx="8491190" cy="269380"/>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algn="ctr"/>
            <a:r>
              <a:rPr lang="en-GB" sz="1400" b="1" kern="0" dirty="0">
                <a:solidFill>
                  <a:srgbClr val="FFFFFF"/>
                </a:solidFill>
                <a:latin typeface="Arial" panose="020B0604020202020204" pitchFamily="34" charset="0"/>
                <a:cs typeface="Arial" panose="020B0604020202020204" pitchFamily="34" charset="0"/>
              </a:rPr>
              <a:t>Model risk management cycle </a:t>
            </a:r>
          </a:p>
        </p:txBody>
      </p:sp>
      <p:sp>
        <p:nvSpPr>
          <p:cNvPr id="32" name="Rectangle 31">
            <a:extLst>
              <a:ext uri="{FF2B5EF4-FFF2-40B4-BE49-F238E27FC236}">
                <a16:creationId xmlns:a16="http://schemas.microsoft.com/office/drawing/2014/main" id="{4A3B9600-494C-4B8D-BDFE-4C257031D931}"/>
              </a:ext>
            </a:extLst>
          </p:cNvPr>
          <p:cNvSpPr/>
          <p:nvPr/>
        </p:nvSpPr>
        <p:spPr>
          <a:xfrm>
            <a:off x="1914523" y="5029200"/>
            <a:ext cx="8491190" cy="269380"/>
          </a:xfrm>
          <a:prstGeom prst="rect">
            <a:avLst/>
          </a:prstGeom>
          <a:solidFill>
            <a:srgbClr val="002060"/>
          </a:solidFill>
          <a:ln w="12700" algn="ctr">
            <a:solidFill>
              <a:sysClr val="window" lastClr="FFFFFF"/>
            </a:solidFill>
            <a:miter lim="800000"/>
            <a:headEnd/>
            <a:tailEnd/>
          </a:ln>
        </p:spPr>
        <p:txBody>
          <a:bodyPr wrap="square" lIns="0" tIns="0" rIns="0" bIns="0" anchor="ctr"/>
          <a:lstStyle/>
          <a:p>
            <a:pPr algn="ctr"/>
            <a:r>
              <a:rPr lang="en-GB" sz="1400" b="1" kern="0" dirty="0">
                <a:solidFill>
                  <a:srgbClr val="FFFFFF"/>
                </a:solidFill>
                <a:latin typeface="Arial" panose="020B0604020202020204" pitchFamily="34" charset="0"/>
                <a:cs typeface="Arial" panose="020B0604020202020204" pitchFamily="34" charset="0"/>
              </a:rPr>
              <a:t>Three pillars of model validation </a:t>
            </a:r>
          </a:p>
        </p:txBody>
      </p:sp>
    </p:spTree>
    <p:extLst>
      <p:ext uri="{BB962C8B-B14F-4D97-AF65-F5344CB8AC3E}">
        <p14:creationId xmlns:p14="http://schemas.microsoft.com/office/powerpoint/2010/main" val="633645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4: Model Risk Management </a:t>
            </a:r>
          </a:p>
        </p:txBody>
      </p:sp>
      <p:sp>
        <p:nvSpPr>
          <p:cNvPr id="26" name="Rectangle 25">
            <a:extLst>
              <a:ext uri="{FF2B5EF4-FFF2-40B4-BE49-F238E27FC236}">
                <a16:creationId xmlns:a16="http://schemas.microsoft.com/office/drawing/2014/main" id="{DD14CBED-85FF-4763-BC3D-3665FA99B975}"/>
              </a:ext>
            </a:extLst>
          </p:cNvPr>
          <p:cNvSpPr/>
          <p:nvPr/>
        </p:nvSpPr>
        <p:spPr>
          <a:xfrm>
            <a:off x="6496223" y="5311791"/>
            <a:ext cx="1079014" cy="527656"/>
          </a:xfrm>
          <a:prstGeom prst="rect">
            <a:avLst/>
          </a:prstGeom>
          <a:solidFill>
            <a:srgbClr val="FF8B8B"/>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igh Risk</a:t>
            </a:r>
          </a:p>
        </p:txBody>
      </p:sp>
      <p:sp>
        <p:nvSpPr>
          <p:cNvPr id="27" name="Rectangle 26">
            <a:extLst>
              <a:ext uri="{FF2B5EF4-FFF2-40B4-BE49-F238E27FC236}">
                <a16:creationId xmlns:a16="http://schemas.microsoft.com/office/drawing/2014/main" id="{A98D67C4-6BB9-4137-B1A3-A0E08B5ACAD1}"/>
              </a:ext>
            </a:extLst>
          </p:cNvPr>
          <p:cNvSpPr/>
          <p:nvPr/>
        </p:nvSpPr>
        <p:spPr>
          <a:xfrm>
            <a:off x="7920669" y="5311790"/>
            <a:ext cx="1077431" cy="527656"/>
          </a:xfrm>
          <a:prstGeom prst="rect">
            <a:avLst/>
          </a:prstGeom>
          <a:solidFill>
            <a:srgbClr val="FFC000"/>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dium Risk</a:t>
            </a:r>
          </a:p>
        </p:txBody>
      </p:sp>
      <p:sp>
        <p:nvSpPr>
          <p:cNvPr id="28" name="Rectangle 27">
            <a:extLst>
              <a:ext uri="{FF2B5EF4-FFF2-40B4-BE49-F238E27FC236}">
                <a16:creationId xmlns:a16="http://schemas.microsoft.com/office/drawing/2014/main" id="{B6618856-F41E-44D0-B4DE-66AC592C9350}"/>
              </a:ext>
            </a:extLst>
          </p:cNvPr>
          <p:cNvSpPr/>
          <p:nvPr/>
        </p:nvSpPr>
        <p:spPr>
          <a:xfrm>
            <a:off x="9322858" y="5303854"/>
            <a:ext cx="1079014" cy="527656"/>
          </a:xfrm>
          <a:prstGeom prst="rect">
            <a:avLst/>
          </a:prstGeom>
          <a:solidFill>
            <a:srgbClr val="FFFF00"/>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w Risk</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EA551B8A-CDE3-4187-851F-AC775894ACF7}"/>
              </a:ext>
            </a:extLst>
          </p:cNvPr>
          <p:cNvSpPr/>
          <p:nvPr/>
        </p:nvSpPr>
        <p:spPr>
          <a:xfrm>
            <a:off x="2061278" y="5205609"/>
            <a:ext cx="4262229" cy="1481938"/>
          </a:xfrm>
          <a:prstGeom prst="rect">
            <a:avLst/>
          </a:prstGeom>
          <a:solidFill>
            <a:schemeClr val="bg1">
              <a:alpha val="60000"/>
            </a:schemeClr>
          </a:solidFill>
          <a:ln w="25400" cap="flat" cmpd="sng" algn="ctr">
            <a:noFill/>
            <a:prstDash val="lgDash"/>
          </a:ln>
          <a:effectLst/>
        </p:spPr>
        <p:txBody>
          <a:bodyPr rtlCol="0" anchor="ctr"/>
          <a:lstStyle/>
          <a:p>
            <a:pPr marL="171450" marR="0" lvl="0" indent="-171450" algn="just" defTabSz="914293" fontAlgn="auto">
              <a:spcBef>
                <a:spcPts val="0"/>
              </a:spcBef>
              <a:spcAft>
                <a:spcPts val="600"/>
              </a:spcAft>
              <a:buClrTx/>
              <a:buSzTx/>
              <a:buFont typeface="Arial" panose="020B0604020202020204" pitchFamily="34" charset="0"/>
              <a:buChar char="•"/>
              <a:tabLst/>
              <a:defRPr/>
            </a:pPr>
            <a:r>
              <a:rPr lang="en-US" sz="1100" kern="0" dirty="0">
                <a:solidFill>
                  <a:prstClr val="black"/>
                </a:solidFill>
                <a:latin typeface="Arial" panose="020B0604020202020204" pitchFamily="34" charset="0"/>
                <a:cs typeface="Arial" panose="020B0604020202020204" pitchFamily="34" charset="0"/>
              </a:rPr>
              <a:t>Document detailed developmental evidence &amp; analysis for IMS </a:t>
            </a:r>
          </a:p>
          <a:p>
            <a:pPr marL="171450" marR="0" lvl="0" indent="-171450" algn="just" defTabSz="914293" fontAlgn="auto">
              <a:spcBef>
                <a:spcPts val="0"/>
              </a:spcBef>
              <a:spcAft>
                <a:spcPts val="600"/>
              </a:spcAft>
              <a:buClrTx/>
              <a:buSzTx/>
              <a:buFont typeface="Arial" panose="020B0604020202020204" pitchFamily="34" charset="0"/>
              <a:buChar char="•"/>
              <a:tabLst/>
              <a:defRPr/>
            </a:pPr>
            <a:r>
              <a:rPr lang="en-US" sz="1100" kern="0" dirty="0">
                <a:solidFill>
                  <a:prstClr val="black"/>
                </a:solidFill>
                <a:latin typeface="Arial" panose="020B0604020202020204" pitchFamily="34" charset="0"/>
                <a:cs typeface="Arial" panose="020B0604020202020204" pitchFamily="34" charset="0"/>
              </a:rPr>
              <a:t>Establish back testing thresholds for ongoing model monitoring </a:t>
            </a:r>
          </a:p>
          <a:p>
            <a:pPr marL="171450" marR="0" lvl="0" indent="-171450" algn="just" defTabSz="914293" fontAlgn="auto">
              <a:spcBef>
                <a:spcPts val="0"/>
              </a:spcBef>
              <a:spcAft>
                <a:spcPts val="600"/>
              </a:spcAft>
              <a:buClrTx/>
              <a:buSzTx/>
              <a:buFont typeface="Arial" panose="020B0604020202020204" pitchFamily="34" charset="0"/>
              <a:buChar char="•"/>
              <a:tabLst/>
              <a:defRPr/>
            </a:pPr>
            <a:r>
              <a:rPr lang="en-US" sz="1100" kern="0" dirty="0">
                <a:solidFill>
                  <a:prstClr val="black"/>
                </a:solidFill>
                <a:latin typeface="Arial" panose="020B0604020202020204" pitchFamily="34" charset="0"/>
                <a:cs typeface="Arial" panose="020B0604020202020204" pitchFamily="34" charset="0"/>
              </a:rPr>
              <a:t>Draft policies &amp; set frequency for re-calibration &amp; re-validation of IMS models</a:t>
            </a:r>
          </a:p>
          <a:p>
            <a:pPr marL="171450" marR="0" lvl="0" indent="-171450" algn="just" defTabSz="914293" fontAlgn="auto">
              <a:spcBef>
                <a:spcPts val="0"/>
              </a:spcBef>
              <a:spcAft>
                <a:spcPts val="600"/>
              </a:spcAft>
              <a:buClrTx/>
              <a:buSzTx/>
              <a:buFont typeface="Arial" panose="020B0604020202020204" pitchFamily="34" charset="0"/>
              <a:buChar char="•"/>
              <a:tabLst/>
              <a:defRPr/>
            </a:pPr>
            <a:r>
              <a:rPr lang="en-US" sz="1100" kern="0" dirty="0">
                <a:solidFill>
                  <a:prstClr val="black"/>
                </a:solidFill>
                <a:latin typeface="Arial" panose="020B0604020202020204" pitchFamily="34" charset="0"/>
                <a:cs typeface="Arial" panose="020B0604020202020204" pitchFamily="34" charset="0"/>
              </a:rPr>
              <a:t>Articulate policies for model transition, including change and version control authorizations.</a:t>
            </a:r>
          </a:p>
        </p:txBody>
      </p:sp>
      <p:sp>
        <p:nvSpPr>
          <p:cNvPr id="33" name="Rectangle 32">
            <a:extLst>
              <a:ext uri="{FF2B5EF4-FFF2-40B4-BE49-F238E27FC236}">
                <a16:creationId xmlns:a16="http://schemas.microsoft.com/office/drawing/2014/main" id="{98AA9603-6A31-423D-9C6D-79FBABF71838}"/>
              </a:ext>
            </a:extLst>
          </p:cNvPr>
          <p:cNvSpPr/>
          <p:nvPr/>
        </p:nvSpPr>
        <p:spPr>
          <a:xfrm>
            <a:off x="6496223" y="5917900"/>
            <a:ext cx="1079014" cy="527656"/>
          </a:xfrm>
          <a:prstGeom prst="rect">
            <a:avLst/>
          </a:prstGeom>
          <a:solidFill>
            <a:srgbClr val="86BC25"/>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trict Usage</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702C8E0-3679-41D8-AD7B-E281AB0FB9D3}"/>
              </a:ext>
            </a:extLst>
          </p:cNvPr>
          <p:cNvSpPr/>
          <p:nvPr/>
        </p:nvSpPr>
        <p:spPr>
          <a:xfrm>
            <a:off x="7920669" y="5917900"/>
            <a:ext cx="1077431" cy="527656"/>
          </a:xfrm>
          <a:prstGeom prst="rect">
            <a:avLst/>
          </a:prstGeom>
          <a:solidFill>
            <a:srgbClr val="86BC25">
              <a:lumMod val="60000"/>
              <a:lumOff val="40000"/>
            </a:srgbClr>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rrective Action</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53AFA658-CC48-4F95-ADA2-76302EB0AD9D}"/>
              </a:ext>
            </a:extLst>
          </p:cNvPr>
          <p:cNvSpPr/>
          <p:nvPr/>
        </p:nvSpPr>
        <p:spPr>
          <a:xfrm>
            <a:off x="9322858" y="5917900"/>
            <a:ext cx="1079014" cy="527656"/>
          </a:xfrm>
          <a:prstGeom prst="rect">
            <a:avLst/>
          </a:prstGeom>
          <a:solidFill>
            <a:srgbClr val="86BC25">
              <a:lumMod val="40000"/>
              <a:lumOff val="60000"/>
            </a:srgbClr>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nitor</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385BAF6A-6041-4D09-8B43-4AF7A5758279}"/>
              </a:ext>
            </a:extLst>
          </p:cNvPr>
          <p:cNvSpPr/>
          <p:nvPr/>
        </p:nvSpPr>
        <p:spPr>
          <a:xfrm>
            <a:off x="1976487" y="3043578"/>
            <a:ext cx="4083300" cy="1584677"/>
          </a:xfrm>
          <a:prstGeom prst="rect">
            <a:avLst/>
          </a:prstGeom>
          <a:solidFill>
            <a:schemeClr val="bg1">
              <a:alpha val="60000"/>
            </a:schemeClr>
          </a:solidFill>
          <a:ln w="25400" cap="flat" cmpd="sng" algn="ctr">
            <a:noFill/>
            <a:prstDash val="lgDash"/>
          </a:ln>
          <a:effectLst/>
        </p:spPr>
        <p:txBody>
          <a:bodyPr rtlCol="0" anchor="ctr"/>
          <a:lstStyle/>
          <a:p>
            <a:pPr marL="171450" indent="-171450" algn="just" defTabSz="914293">
              <a:lnSpc>
                <a:spcPct val="100000"/>
              </a:lnSpc>
              <a:spcAft>
                <a:spcPts val="600"/>
              </a:spcAft>
              <a:buFont typeface="Arial" panose="020B0604020202020204" pitchFamily="34" charset="0"/>
              <a:buChar char="•"/>
            </a:pPr>
            <a:r>
              <a:rPr lang="en-US" sz="1100" kern="0" dirty="0">
                <a:solidFill>
                  <a:prstClr val="black"/>
                </a:solidFill>
                <a:latin typeface="Arial" panose="020B0604020202020204" pitchFamily="34" charset="0"/>
                <a:cs typeface="Arial" panose="020B0604020202020204" pitchFamily="34" charset="0"/>
              </a:rPr>
              <a:t>Assess modelling assumptions, limitations &amp; methodologies</a:t>
            </a:r>
          </a:p>
          <a:p>
            <a:pPr marL="171450" indent="-171450" algn="just" defTabSz="914293">
              <a:lnSpc>
                <a:spcPct val="100000"/>
              </a:lnSpc>
              <a:spcAft>
                <a:spcPts val="600"/>
              </a:spcAft>
              <a:buFont typeface="Arial" panose="020B0604020202020204" pitchFamily="34" charset="0"/>
              <a:buChar char="•"/>
            </a:pPr>
            <a:r>
              <a:rPr lang="en-US" sz="1100" kern="0" dirty="0">
                <a:solidFill>
                  <a:prstClr val="black"/>
                </a:solidFill>
                <a:latin typeface="Arial" panose="020B0604020202020204" pitchFamily="34" charset="0"/>
                <a:cs typeface="Arial" panose="020B0604020202020204" pitchFamily="34" charset="0"/>
              </a:rPr>
              <a:t>Assess segmentation, variable selection &amp; pricing techniques for instruments</a:t>
            </a:r>
          </a:p>
          <a:p>
            <a:pPr marL="171450" indent="-171450" algn="just" defTabSz="914293">
              <a:lnSpc>
                <a:spcPct val="100000"/>
              </a:lnSpc>
              <a:spcAft>
                <a:spcPts val="600"/>
              </a:spcAft>
              <a:buFont typeface="Arial" panose="020B0604020202020204" pitchFamily="34" charset="0"/>
              <a:buChar char="•"/>
            </a:pPr>
            <a:r>
              <a:rPr lang="en-US" sz="1100" kern="0" dirty="0">
                <a:solidFill>
                  <a:prstClr val="black"/>
                </a:solidFill>
                <a:latin typeface="Arial" panose="020B0604020202020204" pitchFamily="34" charset="0"/>
                <a:cs typeface="Arial" panose="020B0604020202020204" pitchFamily="34" charset="0"/>
              </a:rPr>
              <a:t>Assess stability of NMDs, early redemptions and prepayments</a:t>
            </a:r>
          </a:p>
          <a:p>
            <a:pPr marL="171450" indent="-171450" algn="just" defTabSz="914293">
              <a:lnSpc>
                <a:spcPct val="100000"/>
              </a:lnSpc>
              <a:spcAft>
                <a:spcPts val="600"/>
              </a:spcAft>
              <a:buFont typeface="Arial" panose="020B0604020202020204" pitchFamily="34" charset="0"/>
              <a:buChar char="•"/>
            </a:pPr>
            <a:r>
              <a:rPr lang="en-US" sz="1100" kern="0" dirty="0">
                <a:solidFill>
                  <a:prstClr val="black"/>
                </a:solidFill>
                <a:latin typeface="Arial" panose="020B0604020202020204" pitchFamily="34" charset="0"/>
                <a:cs typeface="Arial" panose="020B0604020202020204" pitchFamily="34" charset="0"/>
              </a:rPr>
              <a:t>Usage of conceptual, statistical and performance tests </a:t>
            </a:r>
          </a:p>
        </p:txBody>
      </p:sp>
      <p:sp>
        <p:nvSpPr>
          <p:cNvPr id="40" name="Rectangle 39">
            <a:extLst>
              <a:ext uri="{FF2B5EF4-FFF2-40B4-BE49-F238E27FC236}">
                <a16:creationId xmlns:a16="http://schemas.microsoft.com/office/drawing/2014/main" id="{216FCCAD-1C59-4DB2-956E-26A2A2561611}"/>
              </a:ext>
            </a:extLst>
          </p:cNvPr>
          <p:cNvSpPr/>
          <p:nvPr/>
        </p:nvSpPr>
        <p:spPr>
          <a:xfrm>
            <a:off x="1917225" y="2719851"/>
            <a:ext cx="8484647" cy="288000"/>
          </a:xfrm>
          <a:prstGeom prst="rect">
            <a:avLst/>
          </a:prstGeom>
          <a:solidFill>
            <a:srgbClr val="002060"/>
          </a:solidFill>
          <a:ln w="25400" cap="flat" cmpd="sng" algn="ctr">
            <a:noFill/>
            <a:prstDash val="lgDash"/>
          </a:ln>
          <a:effectLst/>
        </p:spPr>
        <p:txBody>
          <a:bodyPr rtlCol="0" anchor="ctr"/>
          <a:lstStyle/>
          <a:p>
            <a:pPr algn="ctr" defTabSz="914293"/>
            <a:r>
              <a:rPr lang="en-GB" sz="1400" b="1" kern="0" dirty="0">
                <a:solidFill>
                  <a:schemeClr val="bg1"/>
                </a:solidFill>
                <a:latin typeface="Arial" panose="020B0604020202020204" pitchFamily="34" charset="0"/>
                <a:cs typeface="Arial" panose="020B0604020202020204" pitchFamily="34" charset="0"/>
              </a:rPr>
              <a:t>Conceptual Soundness Assessment &amp; Stability Analysis </a:t>
            </a:r>
          </a:p>
        </p:txBody>
      </p:sp>
      <p:grpSp>
        <p:nvGrpSpPr>
          <p:cNvPr id="5" name="Group 4">
            <a:extLst>
              <a:ext uri="{FF2B5EF4-FFF2-40B4-BE49-F238E27FC236}">
                <a16:creationId xmlns:a16="http://schemas.microsoft.com/office/drawing/2014/main" id="{4B0C9BD9-BB8F-4179-92D1-D15D3645E05E}"/>
              </a:ext>
            </a:extLst>
          </p:cNvPr>
          <p:cNvGrpSpPr/>
          <p:nvPr/>
        </p:nvGrpSpPr>
        <p:grpSpPr>
          <a:xfrm>
            <a:off x="6445690" y="3249946"/>
            <a:ext cx="3956182" cy="1273270"/>
            <a:chOff x="6634304" y="3314661"/>
            <a:chExt cx="3956182" cy="1027334"/>
          </a:xfrm>
        </p:grpSpPr>
        <p:sp>
          <p:nvSpPr>
            <p:cNvPr id="38" name="Rectangle 37">
              <a:extLst>
                <a:ext uri="{FF2B5EF4-FFF2-40B4-BE49-F238E27FC236}">
                  <a16:creationId xmlns:a16="http://schemas.microsoft.com/office/drawing/2014/main" id="{FEA97BE2-84A3-4CC3-95AC-DCD86871E944}"/>
                </a:ext>
              </a:extLst>
            </p:cNvPr>
            <p:cNvSpPr/>
            <p:nvPr/>
          </p:nvSpPr>
          <p:spPr>
            <a:xfrm>
              <a:off x="6634304" y="3314661"/>
              <a:ext cx="1101786" cy="1027334"/>
            </a:xfrm>
            <a:prstGeom prst="rect">
              <a:avLst/>
            </a:prstGeom>
            <a:solidFill>
              <a:srgbClr val="F0EEBD"/>
            </a:solidFill>
            <a:ln w="25400" cap="flat" cmpd="sng" algn="ctr">
              <a:noFill/>
              <a:prstDash val="lgDash"/>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nceptual Soundness</a:t>
              </a:r>
              <a:endParaRPr kumimoji="0" lang="en-GB"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726147A0-7B56-4179-9055-E7AB6516E3BE}"/>
                </a:ext>
              </a:extLst>
            </p:cNvPr>
            <p:cNvSpPr/>
            <p:nvPr/>
          </p:nvSpPr>
          <p:spPr>
            <a:xfrm>
              <a:off x="8057167" y="3314661"/>
              <a:ext cx="1101786" cy="1027332"/>
            </a:xfrm>
            <a:prstGeom prst="rect">
              <a:avLst/>
            </a:prstGeom>
            <a:solidFill>
              <a:srgbClr val="F9F8E4"/>
            </a:solidFill>
            <a:ln w="25400" cap="flat" cmpd="sng" algn="ctr">
              <a:noFill/>
              <a:prstDash val="lgDash"/>
            </a:ln>
            <a:effectLst/>
          </p:spPr>
          <p:txBody>
            <a:bodyPr rtlCol="0" anchor="ctr"/>
            <a:lstStyle/>
            <a:p>
              <a:pPr algn="ctr" defTabSz="914293">
                <a:defRPr/>
              </a:pPr>
              <a:r>
                <a:rPr lang="en-GB" sz="1000" b="1" kern="0" dirty="0">
                  <a:solidFill>
                    <a:prstClr val="black"/>
                  </a:solidFill>
                  <a:latin typeface="Arial" panose="020B0604020202020204" pitchFamily="34" charset="0"/>
                  <a:cs typeface="Arial" panose="020B0604020202020204" pitchFamily="34" charset="0"/>
                </a:rPr>
                <a:t>Stability Analysis</a:t>
              </a:r>
            </a:p>
          </p:txBody>
        </p:sp>
        <p:sp>
          <p:nvSpPr>
            <p:cNvPr id="42" name="Rectangle 41">
              <a:extLst>
                <a:ext uri="{FF2B5EF4-FFF2-40B4-BE49-F238E27FC236}">
                  <a16:creationId xmlns:a16="http://schemas.microsoft.com/office/drawing/2014/main" id="{4537A498-E82A-4C24-897F-83026723C333}"/>
                </a:ext>
              </a:extLst>
            </p:cNvPr>
            <p:cNvSpPr/>
            <p:nvPr/>
          </p:nvSpPr>
          <p:spPr>
            <a:xfrm>
              <a:off x="9488700" y="3314661"/>
              <a:ext cx="1101786" cy="1027332"/>
            </a:xfrm>
            <a:prstGeom prst="rect">
              <a:avLst/>
            </a:prstGeom>
            <a:solidFill>
              <a:schemeClr val="bg1">
                <a:lumMod val="95000"/>
              </a:schemeClr>
            </a:solidFill>
            <a:ln w="25400" cap="flat" cmpd="sng" algn="ctr">
              <a:noFill/>
              <a:prstDash val="lgDash"/>
            </a:ln>
            <a:effectLst/>
          </p:spPr>
          <p:txBody>
            <a:bodyPr rtlCol="0" anchor="ctr"/>
            <a:lstStyle/>
            <a:p>
              <a:pPr algn="ctr" defTabSz="914293">
                <a:defRPr/>
              </a:pPr>
              <a:r>
                <a:rPr lang="en-GB" sz="1000" b="1" kern="0" dirty="0">
                  <a:solidFill>
                    <a:prstClr val="black"/>
                  </a:solidFill>
                  <a:latin typeface="Arial" panose="020B0604020202020204" pitchFamily="34" charset="0"/>
                  <a:cs typeface="Arial" panose="020B0604020202020204" pitchFamily="34" charset="0"/>
                </a:rPr>
                <a:t>Back-testing Analysis</a:t>
              </a:r>
            </a:p>
          </p:txBody>
        </p:sp>
      </p:grpSp>
      <p:grpSp>
        <p:nvGrpSpPr>
          <p:cNvPr id="4" name="Group 3">
            <a:extLst>
              <a:ext uri="{FF2B5EF4-FFF2-40B4-BE49-F238E27FC236}">
                <a16:creationId xmlns:a16="http://schemas.microsoft.com/office/drawing/2014/main" id="{E33321B0-7CBE-4E8D-8C8C-7F11108FC4B4}"/>
              </a:ext>
            </a:extLst>
          </p:cNvPr>
          <p:cNvGrpSpPr/>
          <p:nvPr/>
        </p:nvGrpSpPr>
        <p:grpSpPr>
          <a:xfrm>
            <a:off x="1920431" y="1439992"/>
            <a:ext cx="8484647" cy="979431"/>
            <a:chOff x="6599364" y="1468308"/>
            <a:chExt cx="4015011" cy="1258258"/>
          </a:xfrm>
        </p:grpSpPr>
        <p:sp>
          <p:nvSpPr>
            <p:cNvPr id="22" name="Oval 21">
              <a:extLst>
                <a:ext uri="{FF2B5EF4-FFF2-40B4-BE49-F238E27FC236}">
                  <a16:creationId xmlns:a16="http://schemas.microsoft.com/office/drawing/2014/main" id="{27F8FFD8-774B-464D-AF4D-B2694DE4AC9E}"/>
                </a:ext>
              </a:extLst>
            </p:cNvPr>
            <p:cNvSpPr/>
            <p:nvPr/>
          </p:nvSpPr>
          <p:spPr bwMode="gray">
            <a:xfrm>
              <a:off x="6599364" y="1468308"/>
              <a:ext cx="1281691" cy="1256487"/>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liable </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Sources </a:t>
              </a:r>
            </a:p>
          </p:txBody>
        </p:sp>
        <p:sp>
          <p:nvSpPr>
            <p:cNvPr id="23" name="Oval 22">
              <a:extLst>
                <a:ext uri="{FF2B5EF4-FFF2-40B4-BE49-F238E27FC236}">
                  <a16:creationId xmlns:a16="http://schemas.microsoft.com/office/drawing/2014/main" id="{0974035B-6602-47F8-BC11-191C17935507}"/>
                </a:ext>
              </a:extLst>
            </p:cNvPr>
            <p:cNvSpPr/>
            <p:nvPr/>
          </p:nvSpPr>
          <p:spPr bwMode="gray">
            <a:xfrm>
              <a:off x="7966024" y="1468310"/>
              <a:ext cx="1281691" cy="1256487"/>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utomated </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Inputs</a:t>
              </a:r>
            </a:p>
          </p:txBody>
        </p:sp>
        <p:sp>
          <p:nvSpPr>
            <p:cNvPr id="24" name="Oval 23">
              <a:extLst>
                <a:ext uri="{FF2B5EF4-FFF2-40B4-BE49-F238E27FC236}">
                  <a16:creationId xmlns:a16="http://schemas.microsoft.com/office/drawing/2014/main" id="{000CCA1A-678A-44EB-BC96-1948736D36A4}"/>
                </a:ext>
              </a:extLst>
            </p:cNvPr>
            <p:cNvSpPr/>
            <p:nvPr/>
          </p:nvSpPr>
          <p:spPr bwMode="gray">
            <a:xfrm>
              <a:off x="9332684" y="1470079"/>
              <a:ext cx="1281691" cy="1256487"/>
            </a:xfrm>
            <a:prstGeom prst="ellipse">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eriodic Review of </a:t>
              </a:r>
            </a:p>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IN" sz="105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ata Mapping</a:t>
              </a:r>
            </a:p>
          </p:txBody>
        </p:sp>
      </p:grpSp>
      <p:sp>
        <p:nvSpPr>
          <p:cNvPr id="43" name="Rectangle 42">
            <a:extLst>
              <a:ext uri="{FF2B5EF4-FFF2-40B4-BE49-F238E27FC236}">
                <a16:creationId xmlns:a16="http://schemas.microsoft.com/office/drawing/2014/main" id="{9D5D192A-4A4A-4039-817B-30DCAAD67D76}"/>
              </a:ext>
            </a:extLst>
          </p:cNvPr>
          <p:cNvSpPr/>
          <p:nvPr/>
        </p:nvSpPr>
        <p:spPr>
          <a:xfrm>
            <a:off x="1917226" y="990600"/>
            <a:ext cx="8484647" cy="288000"/>
          </a:xfrm>
          <a:prstGeom prst="rect">
            <a:avLst/>
          </a:prstGeom>
          <a:solidFill>
            <a:srgbClr val="002060"/>
          </a:solidFill>
          <a:ln w="25400" cap="flat" cmpd="sng" algn="ctr">
            <a:noFill/>
            <a:prstDash val="lgDash"/>
          </a:ln>
          <a:effectLst/>
        </p:spPr>
        <p:txBody>
          <a:bodyPr rtlCol="0" anchor="ctr"/>
          <a:lstStyle/>
          <a:p>
            <a:pPr algn="ctr" defTabSz="914293"/>
            <a:r>
              <a:rPr lang="en-GB" sz="1400" b="1" kern="0" dirty="0">
                <a:solidFill>
                  <a:schemeClr val="bg1"/>
                </a:solidFill>
                <a:latin typeface="Arial" panose="020B0604020202020204" pitchFamily="34" charset="0"/>
                <a:cs typeface="Arial" panose="020B0604020202020204" pitchFamily="34" charset="0"/>
              </a:rPr>
              <a:t>Data Integrity </a:t>
            </a:r>
          </a:p>
        </p:txBody>
      </p:sp>
      <p:sp>
        <p:nvSpPr>
          <p:cNvPr id="44" name="Rectangle 43">
            <a:extLst>
              <a:ext uri="{FF2B5EF4-FFF2-40B4-BE49-F238E27FC236}">
                <a16:creationId xmlns:a16="http://schemas.microsoft.com/office/drawing/2014/main" id="{6ECA1CEB-D581-47AA-8320-8C68625C98C9}"/>
              </a:ext>
            </a:extLst>
          </p:cNvPr>
          <p:cNvSpPr/>
          <p:nvPr/>
        </p:nvSpPr>
        <p:spPr>
          <a:xfrm>
            <a:off x="1937062" y="4765312"/>
            <a:ext cx="8484647" cy="288000"/>
          </a:xfrm>
          <a:prstGeom prst="rect">
            <a:avLst/>
          </a:prstGeom>
          <a:solidFill>
            <a:srgbClr val="002060"/>
          </a:solidFill>
          <a:ln w="25400" cap="flat" cmpd="sng" algn="ctr">
            <a:noFill/>
            <a:prstDash val="lgDash"/>
          </a:ln>
          <a:effectLst/>
        </p:spPr>
        <p:txBody>
          <a:bodyPr rtlCol="0" anchor="ctr"/>
          <a:lstStyle/>
          <a:p>
            <a:pPr algn="ctr" defTabSz="914293"/>
            <a:r>
              <a:rPr lang="en-GB" sz="1400" b="1" kern="0" dirty="0">
                <a:solidFill>
                  <a:schemeClr val="bg1"/>
                </a:solidFill>
                <a:latin typeface="Arial" panose="020B0604020202020204" pitchFamily="34" charset="0"/>
                <a:cs typeface="Arial" panose="020B0604020202020204" pitchFamily="34" charset="0"/>
              </a:rPr>
              <a:t>Ongoing model monitoring </a:t>
            </a:r>
          </a:p>
        </p:txBody>
      </p:sp>
    </p:spTree>
    <p:extLst>
      <p:ext uri="{BB962C8B-B14F-4D97-AF65-F5344CB8AC3E}">
        <p14:creationId xmlns:p14="http://schemas.microsoft.com/office/powerpoint/2010/main" val="3498122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7"/>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5: Capital Adequacy Assessment (ICAAP) </a:t>
            </a:r>
          </a:p>
        </p:txBody>
      </p:sp>
      <p:sp>
        <p:nvSpPr>
          <p:cNvPr id="21" name="Text Placeholder 2">
            <a:extLst>
              <a:ext uri="{FF2B5EF4-FFF2-40B4-BE49-F238E27FC236}">
                <a16:creationId xmlns:a16="http://schemas.microsoft.com/office/drawing/2014/main" id="{4DD53312-AB6C-4E07-A913-E5C3C92ACC10}"/>
              </a:ext>
            </a:extLst>
          </p:cNvPr>
          <p:cNvSpPr txBox="1">
            <a:spLocks/>
          </p:cNvSpPr>
          <p:nvPr/>
        </p:nvSpPr>
        <p:spPr>
          <a:xfrm>
            <a:off x="2429925" y="1386640"/>
            <a:ext cx="839152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Arial" panose="020B0604020202020204" pitchFamily="34" charset="0"/>
                <a:ea typeface="+mn-ea"/>
                <a:cs typeface="Arial" panose="020B060402020202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Arial" panose="020B0604020202020204" pitchFamily="34" charset="0"/>
                <a:ea typeface="+mn-ea"/>
                <a:cs typeface="Arial" panose="020B060402020202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Arial" panose="020B0604020202020204" pitchFamily="34" charset="0"/>
                <a:ea typeface="+mn-ea"/>
                <a:cs typeface="Arial" panose="020B060402020202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Arial" panose="020B0604020202020204" pitchFamily="34" charset="0"/>
                <a:ea typeface="+mn-ea"/>
                <a:cs typeface="Arial" panose="020B060402020202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endParaRPr kumimoji="0" lang="en-GB" sz="1000" b="1" i="0" u="none" strike="noStrike" kern="1200" cap="none" spc="0" normalizeH="0" baseline="0" noProof="0" dirty="0">
              <a:ln>
                <a:noFill/>
              </a:ln>
              <a:solidFill>
                <a:srgbClr val="C19859">
                  <a:lumMod val="75000"/>
                </a:srgbClr>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BD3F259C-CF3C-4086-9446-7AD517DBBF00}"/>
              </a:ext>
            </a:extLst>
          </p:cNvPr>
          <p:cNvGrpSpPr/>
          <p:nvPr/>
        </p:nvGrpSpPr>
        <p:grpSpPr>
          <a:xfrm>
            <a:off x="1967160" y="2124818"/>
            <a:ext cx="10072438" cy="4504581"/>
            <a:chOff x="364524" y="1608029"/>
            <a:chExt cx="8403237" cy="3261058"/>
          </a:xfrm>
        </p:grpSpPr>
        <p:sp>
          <p:nvSpPr>
            <p:cNvPr id="23" name="Text Placeholder 5">
              <a:extLst>
                <a:ext uri="{FF2B5EF4-FFF2-40B4-BE49-F238E27FC236}">
                  <a16:creationId xmlns:a16="http://schemas.microsoft.com/office/drawing/2014/main" id="{D743DBE5-DFF3-483D-A751-278CE50DE4ED}"/>
                </a:ext>
              </a:extLst>
            </p:cNvPr>
            <p:cNvSpPr txBox="1">
              <a:spLocks/>
            </p:cNvSpPr>
            <p:nvPr>
              <p:custDataLst>
                <p:tags r:id="rId1"/>
              </p:custDataLst>
            </p:nvPr>
          </p:nvSpPr>
          <p:spPr>
            <a:xfrm>
              <a:off x="364524" y="1608029"/>
              <a:ext cx="3605213" cy="3261058"/>
            </a:xfrm>
            <a:prstGeom prst="homePlate">
              <a:avLst>
                <a:gd name="adj" fmla="val 8173"/>
              </a:avLst>
            </a:prstGeom>
            <a:solidFill>
              <a:schemeClr val="bg2">
                <a:lumMod val="20000"/>
                <a:lumOff val="80000"/>
                <a:alpha val="47843"/>
              </a:schemeClr>
            </a:solidFill>
            <a:ln w="12700">
              <a:solidFill>
                <a:schemeClr val="tx1"/>
              </a:solid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Text Placeholder 5">
              <a:extLst>
                <a:ext uri="{FF2B5EF4-FFF2-40B4-BE49-F238E27FC236}">
                  <a16:creationId xmlns:a16="http://schemas.microsoft.com/office/drawing/2014/main" id="{E59D15B9-A0B1-4F81-A0E5-FD553BA1A6A1}"/>
                </a:ext>
              </a:extLst>
            </p:cNvPr>
            <p:cNvSpPr txBox="1">
              <a:spLocks/>
            </p:cNvSpPr>
            <p:nvPr/>
          </p:nvSpPr>
          <p:spPr>
            <a:xfrm flipH="1">
              <a:off x="5162548" y="1608029"/>
              <a:ext cx="3605213" cy="3261058"/>
            </a:xfrm>
            <a:prstGeom prst="homePlate">
              <a:avLst>
                <a:gd name="adj" fmla="val 8173"/>
              </a:avLst>
            </a:prstGeom>
            <a:noFill/>
            <a:ln w="12700">
              <a:solidFill>
                <a:schemeClr val="tx1"/>
              </a:solidFill>
            </a:ln>
          </p:spPr>
          <p:txBody>
            <a:bodyPr wrap="square" lIns="27432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600"/>
                </a:spcBef>
                <a:spcAft>
                  <a:spcPts val="0"/>
                </a:spcAft>
                <a:buClrTx/>
                <a:buSzTx/>
                <a:buFont typeface="Arial" charset="0"/>
                <a:buNone/>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Oval 24">
              <a:extLst>
                <a:ext uri="{FF2B5EF4-FFF2-40B4-BE49-F238E27FC236}">
                  <a16:creationId xmlns:a16="http://schemas.microsoft.com/office/drawing/2014/main" id="{82F9AFB2-5274-4918-9F81-0C30D3615DC4}"/>
                </a:ext>
              </a:extLst>
            </p:cNvPr>
            <p:cNvSpPr>
              <a:spLocks noChangeArrowheads="1"/>
            </p:cNvSpPr>
            <p:nvPr>
              <p:custDataLst>
                <p:tags r:id="rId2"/>
              </p:custDataLst>
            </p:nvPr>
          </p:nvSpPr>
          <p:spPr bwMode="auto">
            <a:xfrm>
              <a:off x="3656971" y="2789754"/>
              <a:ext cx="1830056" cy="1548000"/>
            </a:xfrm>
            <a:prstGeom prst="ellipse">
              <a:avLst/>
            </a:prstGeom>
            <a:solidFill>
              <a:srgbClr val="002060"/>
            </a:solidFill>
            <a:ln w="6350" algn="ctr">
              <a:noFill/>
              <a:round/>
              <a:headEnd/>
              <a:tailEnd/>
            </a:ln>
          </p:spPr>
          <p:txBody>
            <a:bodyPr lIns="88900" tIns="88900" rIns="0" bIns="889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Verdana"/>
                  <a:ea typeface="ＭＳ Ｐゴシック" pitchFamily="50" charset="-128"/>
                </a:rPr>
                <a:t>Factors to Consider for Assessment of Capital Adequacy</a:t>
              </a:r>
            </a:p>
          </p:txBody>
        </p:sp>
      </p:grpSp>
      <p:sp>
        <p:nvSpPr>
          <p:cNvPr id="43" name="Rectangle: Diagonal Corners Rounded 42">
            <a:extLst>
              <a:ext uri="{FF2B5EF4-FFF2-40B4-BE49-F238E27FC236}">
                <a16:creationId xmlns:a16="http://schemas.microsoft.com/office/drawing/2014/main" id="{28F12DB3-5E17-4A2E-8CD7-E7FE6CFEEA1A}"/>
              </a:ext>
            </a:extLst>
          </p:cNvPr>
          <p:cNvSpPr/>
          <p:nvPr/>
        </p:nvSpPr>
        <p:spPr bwMode="gray">
          <a:xfrm>
            <a:off x="2106572" y="2360326"/>
            <a:ext cx="3710986" cy="691449"/>
          </a:xfrm>
          <a:prstGeom prst="round2DiagRect">
            <a:avLst/>
          </a:prstGeom>
          <a:solidFill>
            <a:sysClr val="window" lastClr="FFFFFF"/>
          </a:solidFill>
          <a:ln w="19050" algn="ctr">
            <a:noFill/>
            <a:miter lim="800000"/>
            <a:headEnd/>
            <a:tailEnd/>
          </a:ln>
        </p:spPr>
        <p:txBody>
          <a:bodyPr wrap="square" lIns="88900" tIns="88900" rIns="72000" bIns="88900" rtlCol="0" anchor="ctr"/>
          <a:lstStyle/>
          <a:p>
            <a:pPr marL="1588" lvl="1" indent="-1588" defTabSz="957263">
              <a:lnSpc>
                <a:spcPct val="130000"/>
              </a:lnSpc>
              <a:buSzPct val="100000"/>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ize and tenor of internal limits</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n IRRBB exposures</a:t>
            </a:r>
            <a:r>
              <a:rPr lang="en-GB" sz="1100" kern="0" dirty="0">
                <a:solidFill>
                  <a:prstClr val="black"/>
                </a:solidFill>
                <a:latin typeface="Arial" panose="020B0604020202020204" pitchFamily="34" charset="0"/>
                <a:cs typeface="Arial" panose="020B0604020202020204" pitchFamily="34" charset="0"/>
              </a:rPr>
              <a:t> and are they </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reached during assessments ?</a:t>
            </a:r>
          </a:p>
        </p:txBody>
      </p:sp>
      <p:sp>
        <p:nvSpPr>
          <p:cNvPr id="45" name="Rectangle: Diagonal Corners Rounded 44">
            <a:extLst>
              <a:ext uri="{FF2B5EF4-FFF2-40B4-BE49-F238E27FC236}">
                <a16:creationId xmlns:a16="http://schemas.microsoft.com/office/drawing/2014/main" id="{85F7B22A-DCDA-44ED-9213-DCC940BA1809}"/>
              </a:ext>
            </a:extLst>
          </p:cNvPr>
          <p:cNvSpPr/>
          <p:nvPr/>
        </p:nvSpPr>
        <p:spPr bwMode="gray">
          <a:xfrm>
            <a:off x="2090974" y="3418978"/>
            <a:ext cx="3712860" cy="691449"/>
          </a:xfrm>
          <a:prstGeom prst="round2DiagRect">
            <a:avLst/>
          </a:prstGeom>
          <a:solidFill>
            <a:sysClr val="window" lastClr="FFFFFF"/>
          </a:solidFill>
          <a:ln w="19050" algn="ctr">
            <a:noFill/>
            <a:miter lim="800000"/>
            <a:headEnd/>
            <a:tailEnd/>
          </a:ln>
        </p:spPr>
        <p:txBody>
          <a:bodyPr rot="0" spcFirstLastPara="0" vertOverflow="overflow" horzOverflow="overflow" vert="horz" wrap="square" lIns="88900" tIns="88900" rIns="72000" bIns="88900" numCol="1" spcCol="0" rtlCol="0" fromWordArt="0" anchor="ctr" anchorCtr="0" forceAA="0" compatLnSpc="1">
            <a:prstTxWarp prst="textNoShape">
              <a:avLst/>
            </a:prstTxWarp>
            <a:noAutofit/>
          </a:bodyPr>
          <a:lstStyle/>
          <a:p>
            <a:pPr marL="1588" marR="0" lvl="1" indent="-1588" defTabSz="957263" eaLnBrk="1" fontAlgn="auto" latinLnBrk="0" hangingPunct="1">
              <a:lnSpc>
                <a:spcPct val="130000"/>
              </a:lnSpc>
              <a:spcBef>
                <a:spcPts val="0"/>
              </a:spcBef>
              <a:spcAft>
                <a:spcPts val="0"/>
              </a:spcAft>
              <a:buClrTx/>
              <a:buSzPct val="100000"/>
              <a:buFontTx/>
              <a:buNone/>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effectiveness and expected cost of hedging open positions ?</a:t>
            </a:r>
            <a:endPar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6" name="Rectangle: Diagonal Corners Rounded 45">
            <a:extLst>
              <a:ext uri="{FF2B5EF4-FFF2-40B4-BE49-F238E27FC236}">
                <a16:creationId xmlns:a16="http://schemas.microsoft.com/office/drawing/2014/main" id="{115A3267-EED6-48B2-84D8-827EB8743749}"/>
              </a:ext>
            </a:extLst>
          </p:cNvPr>
          <p:cNvSpPr/>
          <p:nvPr/>
        </p:nvSpPr>
        <p:spPr bwMode="gray">
          <a:xfrm>
            <a:off x="2101873" y="4480585"/>
            <a:ext cx="3712860" cy="691449"/>
          </a:xfrm>
          <a:prstGeom prst="round2DiagRect">
            <a:avLst/>
          </a:prstGeom>
          <a:solidFill>
            <a:sysClr val="window" lastClr="FFFFFF"/>
          </a:solidFill>
          <a:ln w="19050" algn="ctr">
            <a:noFill/>
            <a:miter lim="800000"/>
            <a:headEnd/>
            <a:tailEnd/>
          </a:ln>
        </p:spPr>
        <p:txBody>
          <a:bodyPr rot="0" spcFirstLastPara="0" vertOverflow="overflow" horzOverflow="overflow" vert="horz" wrap="square" lIns="88900" tIns="88900" rIns="72000" bIns="88900" numCol="1" spcCol="0" rtlCol="0" fromWordArt="0" anchor="ctr" anchorCtr="0" forceAA="0" compatLnSpc="1">
            <a:prstTxWarp prst="textNoShape">
              <a:avLst/>
            </a:prstTxWarp>
            <a:noAutofit/>
          </a:bodyPr>
          <a:lstStyle/>
          <a:p>
            <a:pPr marL="1588" marR="0" lvl="1" indent="-1588" defTabSz="957263" eaLnBrk="1" fontAlgn="auto" latinLnBrk="0" hangingPunct="1">
              <a:lnSpc>
                <a:spcPct val="130000"/>
              </a:lnSpc>
              <a:spcBef>
                <a:spcPts val="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ensitivity of internal measures </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f IRRBB to key modelling assumptions?</a:t>
            </a:r>
          </a:p>
        </p:txBody>
      </p:sp>
      <p:sp>
        <p:nvSpPr>
          <p:cNvPr id="47" name="Rectangle: Diagonal Corners Rounded 46">
            <a:extLst>
              <a:ext uri="{FF2B5EF4-FFF2-40B4-BE49-F238E27FC236}">
                <a16:creationId xmlns:a16="http://schemas.microsoft.com/office/drawing/2014/main" id="{12EBFA2B-5618-46EC-9684-7C00BE6D844C}"/>
              </a:ext>
            </a:extLst>
          </p:cNvPr>
          <p:cNvSpPr/>
          <p:nvPr/>
        </p:nvSpPr>
        <p:spPr bwMode="gray">
          <a:xfrm>
            <a:off x="2090973" y="5547204"/>
            <a:ext cx="3712860" cy="691449"/>
          </a:xfrm>
          <a:prstGeom prst="round2DiagRect">
            <a:avLst/>
          </a:prstGeom>
          <a:solidFill>
            <a:sysClr val="window" lastClr="FFFFFF"/>
          </a:solidFill>
          <a:ln w="19050" algn="ctr">
            <a:noFill/>
            <a:miter lim="800000"/>
            <a:headEnd/>
            <a:tailEnd/>
          </a:ln>
        </p:spPr>
        <p:txBody>
          <a:bodyPr rot="0" spcFirstLastPara="0" vertOverflow="overflow" horzOverflow="overflow" vert="horz" wrap="square" lIns="88900" tIns="88900" rIns="72000" bIns="88900" numCol="1" spcCol="0" rtlCol="0" fromWordArt="0" anchor="ctr" anchorCtr="0" forceAA="0" compatLnSpc="1">
            <a:prstTxWarp prst="textNoShape">
              <a:avLst/>
            </a:prstTxWarp>
            <a:noAutofit/>
          </a:bodyPr>
          <a:lstStyle/>
          <a:p>
            <a:pPr marL="1588" marR="0" lvl="1" indent="-1588" defTabSz="957263" eaLnBrk="1" fontAlgn="auto" latinLnBrk="0" hangingPunct="1">
              <a:lnSpc>
                <a:spcPct val="130000"/>
              </a:lnSpc>
              <a:spcBef>
                <a:spcPts val="135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act of shock and stress scenarios</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n positions priced off different interest rate indices (basis risk) ?</a:t>
            </a:r>
          </a:p>
        </p:txBody>
      </p:sp>
      <p:sp>
        <p:nvSpPr>
          <p:cNvPr id="48" name="Rectangle: Diagonal Corners Rounded 47">
            <a:extLst>
              <a:ext uri="{FF2B5EF4-FFF2-40B4-BE49-F238E27FC236}">
                <a16:creationId xmlns:a16="http://schemas.microsoft.com/office/drawing/2014/main" id="{CBB2BEF8-A294-4FAD-9C29-91BB30540BB9}"/>
              </a:ext>
            </a:extLst>
          </p:cNvPr>
          <p:cNvSpPr/>
          <p:nvPr/>
        </p:nvSpPr>
        <p:spPr bwMode="gray">
          <a:xfrm>
            <a:off x="8201366" y="2360326"/>
            <a:ext cx="3710986" cy="691449"/>
          </a:xfrm>
          <a:prstGeom prst="round2DiagRect">
            <a:avLst/>
          </a:prstGeom>
          <a:solidFill>
            <a:schemeClr val="bg1">
              <a:lumMod val="65000"/>
              <a:alpha val="47059"/>
            </a:schemeClr>
          </a:solidFill>
          <a:ln w="19050" algn="ctr">
            <a:noFill/>
            <a:miter lim="800000"/>
            <a:headEnd/>
            <a:tailEnd/>
          </a:ln>
        </p:spPr>
        <p:txBody>
          <a:bodyPr wrap="square" lIns="88900" tIns="88900" rIns="72000" bIns="88900" rtlCol="0" anchor="ctr"/>
          <a:lstStyle/>
          <a:p>
            <a:pPr marL="0" marR="0" lvl="0" indent="0" algn="just" defTabSz="957263" eaLnBrk="1" fontAlgn="auto" latinLnBrk="0" hangingPunct="1">
              <a:lnSpc>
                <a:spcPct val="130000"/>
              </a:lnSpc>
              <a:spcBef>
                <a:spcPts val="135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act of economic value and NII of mismatched positions</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n different currencies?</a:t>
            </a:r>
          </a:p>
        </p:txBody>
      </p:sp>
      <p:sp>
        <p:nvSpPr>
          <p:cNvPr id="49" name="Rectangle: Diagonal Corners Rounded 48">
            <a:extLst>
              <a:ext uri="{FF2B5EF4-FFF2-40B4-BE49-F238E27FC236}">
                <a16:creationId xmlns:a16="http://schemas.microsoft.com/office/drawing/2014/main" id="{6380BC44-03A3-4639-A468-BFAB5216472C}"/>
              </a:ext>
            </a:extLst>
          </p:cNvPr>
          <p:cNvSpPr/>
          <p:nvPr/>
        </p:nvSpPr>
        <p:spPr bwMode="gray">
          <a:xfrm>
            <a:off x="8201366" y="3422619"/>
            <a:ext cx="3710986" cy="691449"/>
          </a:xfrm>
          <a:prstGeom prst="round2DiagRect">
            <a:avLst/>
          </a:prstGeom>
          <a:solidFill>
            <a:schemeClr val="bg1">
              <a:lumMod val="65000"/>
              <a:alpha val="47059"/>
            </a:schemeClr>
          </a:solidFill>
          <a:ln w="19050" algn="ctr">
            <a:noFill/>
            <a:miter lim="800000"/>
            <a:headEnd/>
            <a:tailEnd/>
          </a:ln>
        </p:spPr>
        <p:txBody>
          <a:bodyPr rot="0" spcFirstLastPara="0" vertOverflow="overflow" horzOverflow="overflow" vert="horz" wrap="square" lIns="88900" tIns="88900" rIns="0" bIns="88900" numCol="1" spcCol="0" rtlCol="0" fromWordArt="0" anchor="ctr" anchorCtr="0" forceAA="0" compatLnSpc="1">
            <a:prstTxWarp prst="textNoShape">
              <a:avLst/>
            </a:prstTxWarp>
            <a:noAutofit/>
          </a:bodyPr>
          <a:lstStyle/>
          <a:p>
            <a:pPr marL="0" marR="0" lvl="0" indent="0" algn="just" defTabSz="957263" eaLnBrk="1" fontAlgn="auto" latinLnBrk="0" hangingPunct="1">
              <a:lnSpc>
                <a:spcPct val="130000"/>
              </a:lnSpc>
              <a:spcBef>
                <a:spcPts val="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act of embedded losses </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rom a capital adequacy perspective?</a:t>
            </a:r>
          </a:p>
        </p:txBody>
      </p:sp>
      <p:sp>
        <p:nvSpPr>
          <p:cNvPr id="50" name="Rectangle: Diagonal Corners Rounded 49">
            <a:extLst>
              <a:ext uri="{FF2B5EF4-FFF2-40B4-BE49-F238E27FC236}">
                <a16:creationId xmlns:a16="http://schemas.microsoft.com/office/drawing/2014/main" id="{20ADA8D3-9484-493A-86C5-4A2979C87BF6}"/>
              </a:ext>
            </a:extLst>
          </p:cNvPr>
          <p:cNvSpPr/>
          <p:nvPr/>
        </p:nvSpPr>
        <p:spPr bwMode="gray">
          <a:xfrm>
            <a:off x="8201366" y="4484912"/>
            <a:ext cx="3712860" cy="691449"/>
          </a:xfrm>
          <a:prstGeom prst="round2DiagRect">
            <a:avLst/>
          </a:prstGeom>
          <a:solidFill>
            <a:schemeClr val="bg1">
              <a:lumMod val="65000"/>
              <a:alpha val="47059"/>
            </a:schemeClr>
          </a:solidFill>
          <a:ln w="19050" algn="ctr">
            <a:noFill/>
            <a:miter lim="800000"/>
            <a:headEnd/>
            <a:tailEnd/>
          </a:ln>
        </p:spPr>
        <p:txBody>
          <a:bodyPr rot="0" spcFirstLastPara="0" vertOverflow="overflow" horzOverflow="overflow" vert="horz" wrap="square" lIns="88900" tIns="88900" rIns="72000" bIns="88900" numCol="1" spcCol="0" rtlCol="0" fromWordArt="0" anchor="ctr" anchorCtr="0" forceAA="0" compatLnSpc="1">
            <a:prstTxWarp prst="textNoShape">
              <a:avLst/>
            </a:prstTxWarp>
            <a:noAutofit/>
          </a:bodyPr>
          <a:lstStyle/>
          <a:p>
            <a:pPr marL="1588" marR="0" lvl="1" indent="-1588" defTabSz="957263" eaLnBrk="1" fontAlgn="auto" latinLnBrk="0" hangingPunct="1">
              <a:lnSpc>
                <a:spcPct val="130000"/>
              </a:lnSpc>
              <a:spcBef>
                <a:spcPts val="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oss organisational distribution of capital </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nd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verall capital adequacy </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n consolidated basis?</a:t>
            </a:r>
          </a:p>
        </p:txBody>
      </p:sp>
      <p:sp>
        <p:nvSpPr>
          <p:cNvPr id="52" name="Rectangle: Diagonal Corners Rounded 51">
            <a:extLst>
              <a:ext uri="{FF2B5EF4-FFF2-40B4-BE49-F238E27FC236}">
                <a16:creationId xmlns:a16="http://schemas.microsoft.com/office/drawing/2014/main" id="{0C7D1C5B-767A-4452-980B-189DFCBCAA4A}"/>
              </a:ext>
            </a:extLst>
          </p:cNvPr>
          <p:cNvSpPr/>
          <p:nvPr/>
        </p:nvSpPr>
        <p:spPr bwMode="gray">
          <a:xfrm>
            <a:off x="8216963" y="5547204"/>
            <a:ext cx="3712860" cy="691449"/>
          </a:xfrm>
          <a:prstGeom prst="round2DiagRect">
            <a:avLst/>
          </a:prstGeom>
          <a:solidFill>
            <a:schemeClr val="bg1">
              <a:lumMod val="65000"/>
              <a:alpha val="47059"/>
            </a:schemeClr>
          </a:solidFill>
          <a:ln w="19050" algn="ctr">
            <a:noFill/>
            <a:miter lim="800000"/>
            <a:headEnd/>
            <a:tailEnd/>
          </a:ln>
        </p:spPr>
        <p:txBody>
          <a:bodyPr rot="0" spcFirstLastPara="0" vertOverflow="overflow" horzOverflow="overflow" vert="horz" wrap="square" lIns="88900" tIns="88900" rIns="72000" bIns="88900" numCol="1" spcCol="0" rtlCol="0" fromWordArt="0" anchor="ctr" anchorCtr="0" forceAA="0" compatLnSpc="1">
            <a:prstTxWarp prst="textNoShape">
              <a:avLst/>
            </a:prstTxWarp>
            <a:noAutofit/>
          </a:bodyPr>
          <a:lstStyle/>
          <a:p>
            <a:pPr marL="0" marR="0" lvl="0" indent="0" algn="just" defTabSz="957263" eaLnBrk="1" fontAlgn="auto" latinLnBrk="0" hangingPunct="1">
              <a:lnSpc>
                <a:spcPct val="130000"/>
              </a:lnSpc>
              <a:spcBef>
                <a:spcPts val="0"/>
              </a:spcBef>
              <a:spcAft>
                <a:spcPts val="0"/>
              </a:spcAft>
              <a:buClrTx/>
              <a:buSzPct val="100000"/>
              <a:buFontTx/>
              <a:buNone/>
              <a:tabLst/>
              <a:defRPr/>
            </a:pP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are the </a:t>
            </a:r>
            <a:r>
              <a:rPr kumimoji="0" lang="en-GB"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ircumstances under which the risk might crystallise</a:t>
            </a:r>
            <a:r>
              <a:rPr kumimoji="0" lang="en-GB"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19" name="TextBox 19">
            <a:extLst>
              <a:ext uri="{FF2B5EF4-FFF2-40B4-BE49-F238E27FC236}">
                <a16:creationId xmlns:a16="http://schemas.microsoft.com/office/drawing/2014/main" id="{1B9AA2DB-61E0-49BA-AF23-C8B08B010241}"/>
              </a:ext>
            </a:extLst>
          </p:cNvPr>
          <p:cNvSpPr txBox="1">
            <a:spLocks noChangeArrowheads="1"/>
          </p:cNvSpPr>
          <p:nvPr/>
        </p:nvSpPr>
        <p:spPr bwMode="auto">
          <a:xfrm>
            <a:off x="1967160" y="964174"/>
            <a:ext cx="8811839" cy="895897"/>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defPPr>
              <a:defRPr lang="en-US"/>
            </a:defPPr>
            <a:lvl1pPr marR="0" lvl="0" indent="0" algn="ctr" defTabSz="457200" fontAlgn="auto">
              <a:lnSpc>
                <a:spcPct val="106000"/>
              </a:lnSpc>
              <a:spcBef>
                <a:spcPts val="0"/>
              </a:spcBef>
              <a:spcAft>
                <a:spcPts val="0"/>
              </a:spcAft>
              <a:buClrTx/>
              <a:buSzTx/>
              <a:buFont typeface="Wingdings 2" pitchFamily="18" charset="2"/>
              <a:buNone/>
              <a:tabLst/>
              <a:defRPr kumimoji="0"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lgn="just" defTabSz="914400">
              <a:spcAft>
                <a:spcPts val="600"/>
              </a:spcAft>
              <a:defRPr/>
            </a:pPr>
            <a:r>
              <a:rPr lang="en-US" i="1" dirty="0">
                <a:solidFill>
                  <a:srgbClr val="44546A"/>
                </a:solidFill>
              </a:rPr>
              <a:t>“Banks are responsible for evaluating the level of capital that they should hold, and for ensuring that this is sufficient to cover IRRBB and its related risks. The outcomes of the capital adequacy for IRRBB should be considered in a bank’s ICAAP and flow through to assessments of capital associated with business lines.” </a:t>
            </a:r>
          </a:p>
          <a:p>
            <a:pPr algn="just" defTabSz="914400">
              <a:spcAft>
                <a:spcPts val="600"/>
              </a:spcAft>
              <a:defRPr/>
            </a:pPr>
            <a:r>
              <a:rPr lang="en-US" i="1" dirty="0">
                <a:solidFill>
                  <a:srgbClr val="44546A"/>
                </a:solidFill>
              </a:rPr>
              <a:t>– </a:t>
            </a:r>
            <a:r>
              <a:rPr lang="en-US" sz="1200" b="1" kern="0" dirty="0">
                <a:solidFill>
                  <a:srgbClr val="44546A"/>
                </a:solidFill>
                <a:latin typeface="Arial" panose="020B0604020202020204" pitchFamily="34" charset="0"/>
                <a:cs typeface="Arial" panose="020B0604020202020204" pitchFamily="34" charset="0"/>
              </a:rPr>
              <a:t> </a:t>
            </a:r>
            <a:r>
              <a:rPr lang="en-US" sz="1200" b="0" kern="0" dirty="0">
                <a:solidFill>
                  <a:srgbClr val="44546A"/>
                </a:solidFill>
                <a:latin typeface="Arial" panose="020B0604020202020204" pitchFamily="34" charset="0"/>
                <a:cs typeface="Arial" panose="020B0604020202020204" pitchFamily="34" charset="0"/>
              </a:rPr>
              <a:t>Basel Committee on Banking Supervision </a:t>
            </a:r>
          </a:p>
        </p:txBody>
      </p:sp>
    </p:spTree>
    <p:extLst>
      <p:ext uri="{BB962C8B-B14F-4D97-AF65-F5344CB8AC3E}">
        <p14:creationId xmlns:p14="http://schemas.microsoft.com/office/powerpoint/2010/main" val="2852442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6: Reporting &amp; Disclosures</a:t>
            </a:r>
          </a:p>
        </p:txBody>
      </p:sp>
      <p:sp>
        <p:nvSpPr>
          <p:cNvPr id="40" name="TextBox 19">
            <a:extLst>
              <a:ext uri="{FF2B5EF4-FFF2-40B4-BE49-F238E27FC236}">
                <a16:creationId xmlns:a16="http://schemas.microsoft.com/office/drawing/2014/main" id="{179E3CA3-8533-4BB4-86DE-C6CCE02412C0}"/>
              </a:ext>
            </a:extLst>
          </p:cNvPr>
          <p:cNvSpPr txBox="1">
            <a:spLocks noChangeArrowheads="1"/>
          </p:cNvSpPr>
          <p:nvPr/>
        </p:nvSpPr>
        <p:spPr bwMode="auto">
          <a:xfrm>
            <a:off x="1891382" y="972453"/>
            <a:ext cx="8811839" cy="659253"/>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defPPr>
              <a:defRPr lang="en-US"/>
            </a:defPPr>
            <a:lvl1pPr marR="0" lvl="0" indent="0" algn="ctr" defTabSz="457200" fontAlgn="auto">
              <a:lnSpc>
                <a:spcPct val="106000"/>
              </a:lnSpc>
              <a:spcBef>
                <a:spcPts val="0"/>
              </a:spcBef>
              <a:spcAft>
                <a:spcPts val="0"/>
              </a:spcAft>
              <a:buClrTx/>
              <a:buSzTx/>
              <a:buFont typeface="Wingdings 2" pitchFamily="18" charset="2"/>
              <a:buNone/>
              <a:tabLst/>
              <a:defRPr kumimoji="0"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lgn="just" defTabSz="914400">
              <a:spcAft>
                <a:spcPts val="600"/>
              </a:spcAft>
              <a:defRPr/>
            </a:pPr>
            <a:r>
              <a:rPr lang="en-US" dirty="0">
                <a:solidFill>
                  <a:srgbClr val="44546A"/>
                </a:solidFill>
              </a:rPr>
              <a:t>The revised standards on IRRBB require extensive MIS reporting to internal management and detailed qualitative and quantitative public disclosures illustrating impact on EVE &amp; NII across supervisory interest rate scenarios </a:t>
            </a:r>
            <a:endParaRPr lang="en-US" kern="0" dirty="0">
              <a:solidFill>
                <a:srgbClr val="44546A"/>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D75B7F2D-BBDA-4913-8852-84F2F6315DDC}"/>
              </a:ext>
            </a:extLst>
          </p:cNvPr>
          <p:cNvSpPr/>
          <p:nvPr/>
        </p:nvSpPr>
        <p:spPr>
          <a:xfrm>
            <a:off x="1886301" y="4267200"/>
            <a:ext cx="1297163" cy="1045536"/>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nitoring</a:t>
            </a:r>
          </a:p>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trics </a:t>
            </a:r>
          </a:p>
        </p:txBody>
      </p:sp>
      <p:sp>
        <p:nvSpPr>
          <p:cNvPr id="68" name="Rectangle 67">
            <a:extLst>
              <a:ext uri="{FF2B5EF4-FFF2-40B4-BE49-F238E27FC236}">
                <a16:creationId xmlns:a16="http://schemas.microsoft.com/office/drawing/2014/main" id="{50E06F09-1FAE-4182-AA26-8EA7728ED40B}"/>
              </a:ext>
            </a:extLst>
          </p:cNvPr>
          <p:cNvSpPr/>
          <p:nvPr/>
        </p:nvSpPr>
        <p:spPr>
          <a:xfrm>
            <a:off x="3183464" y="4267200"/>
            <a:ext cx="3560641" cy="1045536"/>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urrent exposure v/s policy limits </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ults of periodic model reviews and audits</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ast modelling forecasts v/s actual results </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lang="en-US" sz="1100" kern="0" dirty="0">
                <a:solidFill>
                  <a:prstClr val="black"/>
                </a:solidFill>
                <a:latin typeface="Arial" panose="020B0604020202020204" pitchFamily="34" charset="0"/>
                <a:cs typeface="Arial" panose="020B0604020202020204" pitchFamily="34" charset="0"/>
              </a:rPr>
              <a:t>Focus on portfolios with significant MTM impact</a:t>
            </a:r>
            <a:endPar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 name="Rectangle 68">
            <a:extLst>
              <a:ext uri="{FF2B5EF4-FFF2-40B4-BE49-F238E27FC236}">
                <a16:creationId xmlns:a16="http://schemas.microsoft.com/office/drawing/2014/main" id="{991AF0AA-5A3D-4796-93A4-0402FE55BDB6}"/>
              </a:ext>
            </a:extLst>
          </p:cNvPr>
          <p:cNvSpPr/>
          <p:nvPr/>
        </p:nvSpPr>
        <p:spPr>
          <a:xfrm>
            <a:off x="1886301" y="2272129"/>
            <a:ext cx="1297163" cy="1905805"/>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algn="ctr" defTabSz="956955">
              <a:lnSpc>
                <a:spcPct val="105000"/>
              </a:lnSpc>
              <a:defRPr/>
            </a:pPr>
            <a:r>
              <a:rPr lang="en-US" sz="1100" b="1" kern="0" dirty="0">
                <a:solidFill>
                  <a:prstClr val="black"/>
                </a:solidFill>
                <a:latin typeface="Arial" panose="020B0604020202020204" pitchFamily="34" charset="0"/>
                <a:cs typeface="Arial" panose="020B0604020202020204" pitchFamily="34" charset="0"/>
              </a:rPr>
              <a:t>Minimum reporting requirements </a:t>
            </a:r>
          </a:p>
        </p:txBody>
      </p:sp>
      <p:sp>
        <p:nvSpPr>
          <p:cNvPr id="70" name="Rectangle 69">
            <a:extLst>
              <a:ext uri="{FF2B5EF4-FFF2-40B4-BE49-F238E27FC236}">
                <a16:creationId xmlns:a16="http://schemas.microsoft.com/office/drawing/2014/main" id="{04AC36F3-C99E-47A4-BB76-E14BED64CDFE}"/>
              </a:ext>
            </a:extLst>
          </p:cNvPr>
          <p:cNvSpPr/>
          <p:nvPr/>
        </p:nvSpPr>
        <p:spPr>
          <a:xfrm>
            <a:off x="3183464" y="2272129"/>
            <a:ext cx="3560641" cy="1905805"/>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Summaries of aggregate IRRBB exposures and explanatory text to highlight the key drivers of IRRBB</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Reports demonstrating compliance with IRRBB policies and limits</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Key modelling assumptions and stress test results (NMD, prepayments, currency aggregation etc.)</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Summaries of the reviews of IRRBB policies, procedures and adequacy of measurement systems and findings of internal/external auditors </a:t>
            </a:r>
          </a:p>
        </p:txBody>
      </p:sp>
      <p:sp>
        <p:nvSpPr>
          <p:cNvPr id="71" name="Rectangle 70">
            <a:extLst>
              <a:ext uri="{FF2B5EF4-FFF2-40B4-BE49-F238E27FC236}">
                <a16:creationId xmlns:a16="http://schemas.microsoft.com/office/drawing/2014/main" id="{CCC796BA-0C3B-47D2-9A88-2480B2097C71}"/>
              </a:ext>
            </a:extLst>
          </p:cNvPr>
          <p:cNvSpPr/>
          <p:nvPr/>
        </p:nvSpPr>
        <p:spPr>
          <a:xfrm>
            <a:off x="1886301" y="5427825"/>
            <a:ext cx="1297163" cy="1277775"/>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algn="ctr" defTabSz="956955">
              <a:lnSpc>
                <a:spcPct val="105000"/>
              </a:lnSpc>
              <a:defRPr/>
            </a:pPr>
            <a:r>
              <a:rPr lang="en-US" sz="1100" b="1" kern="0" dirty="0">
                <a:solidFill>
                  <a:prstClr val="black"/>
                </a:solidFill>
                <a:latin typeface="Arial" panose="020B0604020202020204" pitchFamily="34" charset="0"/>
                <a:cs typeface="Arial" panose="020B0604020202020204" pitchFamily="34" charset="0"/>
              </a:rPr>
              <a:t>Management review </a:t>
            </a:r>
          </a:p>
        </p:txBody>
      </p:sp>
      <p:sp>
        <p:nvSpPr>
          <p:cNvPr id="72" name="Rectangle 71">
            <a:extLst>
              <a:ext uri="{FF2B5EF4-FFF2-40B4-BE49-F238E27FC236}">
                <a16:creationId xmlns:a16="http://schemas.microsoft.com/office/drawing/2014/main" id="{2BFD3F71-0994-4468-A2F5-D1F59BBAD7F2}"/>
              </a:ext>
            </a:extLst>
          </p:cNvPr>
          <p:cNvSpPr/>
          <p:nvPr/>
        </p:nvSpPr>
        <p:spPr>
          <a:xfrm>
            <a:off x="3183464" y="5427825"/>
            <a:ext cx="3560641" cy="1277775"/>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Regular and detailed reviews </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Ensure that analysis and risk management activities related to IRRBB are conducted by competent staff with technical knowledge and experience </a:t>
            </a:r>
          </a:p>
        </p:txBody>
      </p:sp>
      <p:sp>
        <p:nvSpPr>
          <p:cNvPr id="73" name="Rectangle 72">
            <a:extLst>
              <a:ext uri="{FF2B5EF4-FFF2-40B4-BE49-F238E27FC236}">
                <a16:creationId xmlns:a16="http://schemas.microsoft.com/office/drawing/2014/main" id="{6048BFC7-7CA7-4CD5-941E-A796863F9BD5}"/>
              </a:ext>
            </a:extLst>
          </p:cNvPr>
          <p:cNvSpPr/>
          <p:nvPr/>
        </p:nvSpPr>
        <p:spPr>
          <a:xfrm>
            <a:off x="1886301" y="1829165"/>
            <a:ext cx="4857804" cy="353698"/>
          </a:xfrm>
          <a:prstGeom prst="rect">
            <a:avLst/>
          </a:prstGeom>
          <a:solidFill>
            <a:srgbClr val="002060"/>
          </a:solidFill>
          <a:ln w="12700" algn="ctr">
            <a:solidFill>
              <a:srgbClr val="53565A"/>
            </a:solidFill>
            <a:miter lim="800000"/>
            <a:headEnd/>
            <a:tailEnd type="none" w="sm" len="med"/>
          </a:ln>
        </p:spPr>
        <p:txBody>
          <a:bodyPr lIns="35988" tIns="35988" rIns="35988" bIns="35988" anchor="ctr" anchorCtr="1"/>
          <a:lstStyle/>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Verdana"/>
              </a:rPr>
              <a:t>Management Reporting </a:t>
            </a:r>
          </a:p>
        </p:txBody>
      </p:sp>
      <p:sp>
        <p:nvSpPr>
          <p:cNvPr id="74" name="Rectangle 73">
            <a:extLst>
              <a:ext uri="{FF2B5EF4-FFF2-40B4-BE49-F238E27FC236}">
                <a16:creationId xmlns:a16="http://schemas.microsoft.com/office/drawing/2014/main" id="{F61EAB8B-F852-473A-BE3D-30F1760C7A95}"/>
              </a:ext>
            </a:extLst>
          </p:cNvPr>
          <p:cNvSpPr/>
          <p:nvPr/>
        </p:nvSpPr>
        <p:spPr>
          <a:xfrm>
            <a:off x="7124142" y="1825334"/>
            <a:ext cx="4857804" cy="353035"/>
          </a:xfrm>
          <a:prstGeom prst="rect">
            <a:avLst/>
          </a:prstGeom>
          <a:solidFill>
            <a:srgbClr val="002060"/>
          </a:solidFill>
          <a:ln w="12700" algn="ctr">
            <a:solidFill>
              <a:srgbClr val="53565A"/>
            </a:solidFill>
            <a:miter lim="800000"/>
            <a:headEnd/>
            <a:tailEnd type="none" w="sm" len="med"/>
          </a:ln>
        </p:spPr>
        <p:txBody>
          <a:bodyPr lIns="35988" tIns="35988" rIns="35988" bIns="35988" anchor="ctr" anchorCtr="1"/>
          <a:lstStyle/>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Verdana"/>
              </a:rPr>
              <a:t>Public Disclosures</a:t>
            </a:r>
          </a:p>
        </p:txBody>
      </p:sp>
      <p:sp>
        <p:nvSpPr>
          <p:cNvPr id="87" name="Rectangle 86">
            <a:extLst>
              <a:ext uri="{FF2B5EF4-FFF2-40B4-BE49-F238E27FC236}">
                <a16:creationId xmlns:a16="http://schemas.microsoft.com/office/drawing/2014/main" id="{4034BADD-6C4E-48F3-9B39-3FE4AF712973}"/>
              </a:ext>
            </a:extLst>
          </p:cNvPr>
          <p:cNvSpPr/>
          <p:nvPr/>
        </p:nvSpPr>
        <p:spPr>
          <a:xfrm>
            <a:off x="7124142" y="4283052"/>
            <a:ext cx="1297163" cy="1355748"/>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antitative Disclosures </a:t>
            </a:r>
          </a:p>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l-GR"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Δ</a:t>
            </a: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VE)</a:t>
            </a:r>
          </a:p>
        </p:txBody>
      </p:sp>
      <p:sp>
        <p:nvSpPr>
          <p:cNvPr id="88" name="Rectangle 87">
            <a:extLst>
              <a:ext uri="{FF2B5EF4-FFF2-40B4-BE49-F238E27FC236}">
                <a16:creationId xmlns:a16="http://schemas.microsoft.com/office/drawing/2014/main" id="{F75CC6D2-43EF-4E8C-858A-FBC5D091D9A4}"/>
              </a:ext>
            </a:extLst>
          </p:cNvPr>
          <p:cNvSpPr/>
          <p:nvPr/>
        </p:nvSpPr>
        <p:spPr>
          <a:xfrm>
            <a:off x="8421305" y="4283052"/>
            <a:ext cx="3560641" cy="1355748"/>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indent="-120650" defTabSz="956955">
              <a:lnSpc>
                <a:spcPct val="105000"/>
              </a:lnSpc>
              <a:spcAft>
                <a:spcPts val="600"/>
              </a:spcAft>
              <a:buFont typeface="Wingdings" panose="05000000000000000000" pitchFamily="2" charset="2"/>
              <a:buChar cha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ssume run-off balance sheet </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lang="en-US" sz="1100" kern="0" dirty="0">
                <a:solidFill>
                  <a:prstClr val="black"/>
                </a:solidFill>
                <a:latin typeface="Arial" panose="020B0604020202020204" pitchFamily="34" charset="0"/>
                <a:cs typeface="Arial" panose="020B0604020202020204" pitchFamily="34" charset="0"/>
              </a:rPr>
              <a:t>Include cashflows from all interest rate sensitive assets, liabilities and off-BS items </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US" sz="11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isclose if cashflows discounted using risk-free rates or spread adjusted risk-free rates </a:t>
            </a:r>
          </a:p>
          <a:p>
            <a:pPr marL="120650" marR="0" lvl="0" indent="-120650" defTabSz="956955" eaLnBrk="1" fontAlgn="auto" latinLnBrk="0" hangingPunct="1">
              <a:lnSpc>
                <a:spcPct val="105000"/>
              </a:lnSpc>
              <a:spcBef>
                <a:spcPts val="0"/>
              </a:spcBef>
              <a:spcAft>
                <a:spcPts val="600"/>
              </a:spcAft>
              <a:buClrTx/>
              <a:buSzTx/>
              <a:buFont typeface="Wingdings" panose="05000000000000000000" pitchFamily="2" charset="2"/>
              <a:buChar char="§"/>
              <a:tabLst/>
              <a:defRPr/>
            </a:pPr>
            <a:r>
              <a:rPr lang="en-US" sz="1100" kern="0" dirty="0">
                <a:solidFill>
                  <a:prstClr val="black"/>
                </a:solidFill>
                <a:latin typeface="Arial" panose="020B0604020202020204" pitchFamily="34" charset="0"/>
                <a:cs typeface="Arial" panose="020B0604020202020204" pitchFamily="34" charset="0"/>
              </a:rPr>
              <a:t>Exclude own equity for computation </a:t>
            </a:r>
          </a:p>
        </p:txBody>
      </p:sp>
      <p:sp>
        <p:nvSpPr>
          <p:cNvPr id="89" name="Rectangle 88">
            <a:extLst>
              <a:ext uri="{FF2B5EF4-FFF2-40B4-BE49-F238E27FC236}">
                <a16:creationId xmlns:a16="http://schemas.microsoft.com/office/drawing/2014/main" id="{A3CAED92-B8AE-47AA-838F-D676CE1E46E2}"/>
              </a:ext>
            </a:extLst>
          </p:cNvPr>
          <p:cNvSpPr/>
          <p:nvPr/>
        </p:nvSpPr>
        <p:spPr>
          <a:xfrm>
            <a:off x="7124142" y="2287981"/>
            <a:ext cx="1297163" cy="1905805"/>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algn="ctr" defTabSz="956955">
              <a:lnSpc>
                <a:spcPct val="105000"/>
              </a:lnSpc>
              <a:defRPr/>
            </a:pPr>
            <a:r>
              <a:rPr lang="en-US" sz="1100" b="1" kern="0" dirty="0">
                <a:solidFill>
                  <a:prstClr val="black"/>
                </a:solidFill>
                <a:latin typeface="Arial" panose="020B0604020202020204" pitchFamily="34" charset="0"/>
                <a:cs typeface="Arial" panose="020B0604020202020204" pitchFamily="34" charset="0"/>
              </a:rPr>
              <a:t>Qualitative Disclosures </a:t>
            </a:r>
          </a:p>
        </p:txBody>
      </p:sp>
      <p:sp>
        <p:nvSpPr>
          <p:cNvPr id="90" name="Rectangle 89">
            <a:extLst>
              <a:ext uri="{FF2B5EF4-FFF2-40B4-BE49-F238E27FC236}">
                <a16:creationId xmlns:a16="http://schemas.microsoft.com/office/drawing/2014/main" id="{045A693C-7EBD-4602-BE43-D055ED917C52}"/>
              </a:ext>
            </a:extLst>
          </p:cNvPr>
          <p:cNvSpPr/>
          <p:nvPr/>
        </p:nvSpPr>
        <p:spPr>
          <a:xfrm>
            <a:off x="8421305" y="2287981"/>
            <a:ext cx="3560641" cy="1905805"/>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How the bank defines IRRBB for purposes of risk control and measurement.</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Description of the bank's overall IRRBB management and mitigation strategies (Role of ALCO, hedging, limits, audit etc.)</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Description of measures and scenarios used to calculate IRRBB and periodicity of calculation </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Description and rationale for modelling assumptions </a:t>
            </a:r>
          </a:p>
        </p:txBody>
      </p:sp>
      <p:sp>
        <p:nvSpPr>
          <p:cNvPr id="91" name="Rectangle 90">
            <a:extLst>
              <a:ext uri="{FF2B5EF4-FFF2-40B4-BE49-F238E27FC236}">
                <a16:creationId xmlns:a16="http://schemas.microsoft.com/office/drawing/2014/main" id="{37388E33-79F6-49E1-8366-1EBC085B26F5}"/>
              </a:ext>
            </a:extLst>
          </p:cNvPr>
          <p:cNvSpPr/>
          <p:nvPr/>
        </p:nvSpPr>
        <p:spPr>
          <a:xfrm>
            <a:off x="7124142" y="5791200"/>
            <a:ext cx="1297163" cy="930252"/>
          </a:xfrm>
          <a:prstGeom prst="rect">
            <a:avLst/>
          </a:prstGeom>
          <a:solidFill>
            <a:sysClr val="window" lastClr="FFFFFF">
              <a:lumMod val="85000"/>
            </a:sysClr>
          </a:solidFill>
          <a:ln w="12700" algn="ctr">
            <a:solidFill>
              <a:sysClr val="windowText" lastClr="000000"/>
            </a:solidFill>
            <a:miter lim="800000"/>
            <a:headEnd/>
            <a:tailEnd type="none" w="sm" len="med"/>
          </a:ln>
        </p:spPr>
        <p:txBody>
          <a:bodyPr lIns="35988" tIns="35988" rIns="35988" bIns="35988" anchor="ctr" anchorCtr="1"/>
          <a:lstStyle/>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antitative Disclosures </a:t>
            </a:r>
          </a:p>
          <a:p>
            <a:pPr marL="0" marR="0" lvl="0" indent="0" algn="ctr" defTabSz="956955" eaLnBrk="1" fontAlgn="auto" latinLnBrk="0" hangingPunct="1">
              <a:lnSpc>
                <a:spcPct val="105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r>
              <a:rPr kumimoji="0" lang="el-GR"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Δ</a:t>
            </a:r>
            <a:r>
              <a:rPr kumimoji="0" lang="en-IN"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II)</a:t>
            </a:r>
            <a:endParaRPr lang="en-US" sz="1100" b="1" kern="0" dirty="0">
              <a:solidFill>
                <a:prstClr val="black"/>
              </a:solidFill>
              <a:latin typeface="Arial" panose="020B0604020202020204" pitchFamily="34" charset="0"/>
              <a:cs typeface="Arial" panose="020B0604020202020204" pitchFamily="34" charset="0"/>
            </a:endParaRPr>
          </a:p>
        </p:txBody>
      </p:sp>
      <p:sp>
        <p:nvSpPr>
          <p:cNvPr id="92" name="Rectangle 91">
            <a:extLst>
              <a:ext uri="{FF2B5EF4-FFF2-40B4-BE49-F238E27FC236}">
                <a16:creationId xmlns:a16="http://schemas.microsoft.com/office/drawing/2014/main" id="{21869613-1574-4383-9FE6-E2AB3CA002AB}"/>
              </a:ext>
            </a:extLst>
          </p:cNvPr>
          <p:cNvSpPr/>
          <p:nvPr/>
        </p:nvSpPr>
        <p:spPr>
          <a:xfrm>
            <a:off x="8421305" y="5791200"/>
            <a:ext cx="3560641" cy="930252"/>
          </a:xfrm>
          <a:prstGeom prst="rect">
            <a:avLst/>
          </a:prstGeom>
          <a:noFill/>
          <a:ln w="12700" algn="ctr">
            <a:solidFill>
              <a:sysClr val="windowText" lastClr="000000"/>
            </a:solidFill>
            <a:miter lim="800000"/>
            <a:headEnd/>
            <a:tailEnd type="none" w="sm" len="med"/>
          </a:ln>
        </p:spPr>
        <p:txBody>
          <a:bodyPr lIns="91440" tIns="35988" rIns="35988" bIns="35988" anchor="ctr" anchorCtr="0"/>
          <a:lstStyle/>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Assume constant balance sheet </a:t>
            </a:r>
          </a:p>
          <a:p>
            <a:pPr marL="120650" indent="-120650" defTabSz="956955">
              <a:lnSpc>
                <a:spcPct val="105000"/>
              </a:lnSpc>
              <a:spcAft>
                <a:spcPts val="600"/>
              </a:spcAft>
              <a:buFont typeface="Wingdings" panose="05000000000000000000" pitchFamily="2" charset="2"/>
              <a:buChar char="§"/>
            </a:pPr>
            <a:r>
              <a:rPr lang="en-US" sz="1100" kern="0" dirty="0">
                <a:solidFill>
                  <a:prstClr val="black"/>
                </a:solidFill>
                <a:latin typeface="Arial" panose="020B0604020202020204" pitchFamily="34" charset="0"/>
                <a:cs typeface="Arial" panose="020B0604020202020204" pitchFamily="34" charset="0"/>
              </a:rPr>
              <a:t>Change in projected NII over a forward-looking rolling 12-month period compared with the bank's own best estimate 12-month projections</a:t>
            </a:r>
          </a:p>
        </p:txBody>
      </p:sp>
    </p:spTree>
    <p:extLst>
      <p:ext uri="{BB962C8B-B14F-4D97-AF65-F5344CB8AC3E}">
        <p14:creationId xmlns:p14="http://schemas.microsoft.com/office/powerpoint/2010/main" val="36511650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6: Reporting &amp; Disclosures</a:t>
            </a:r>
          </a:p>
        </p:txBody>
      </p:sp>
      <p:grpSp>
        <p:nvGrpSpPr>
          <p:cNvPr id="19" name="Group 18">
            <a:extLst>
              <a:ext uri="{FF2B5EF4-FFF2-40B4-BE49-F238E27FC236}">
                <a16:creationId xmlns:a16="http://schemas.microsoft.com/office/drawing/2014/main" id="{FB0E80A9-6E50-4A96-9167-28F34C134D27}"/>
              </a:ext>
            </a:extLst>
          </p:cNvPr>
          <p:cNvGrpSpPr/>
          <p:nvPr/>
        </p:nvGrpSpPr>
        <p:grpSpPr>
          <a:xfrm>
            <a:off x="1905000" y="1686911"/>
            <a:ext cx="10045636" cy="5018688"/>
            <a:chOff x="365761" y="1317288"/>
            <a:chExt cx="8468646" cy="5014908"/>
          </a:xfrm>
        </p:grpSpPr>
        <p:sp>
          <p:nvSpPr>
            <p:cNvPr id="20" name="Rectangle 19">
              <a:extLst>
                <a:ext uri="{FF2B5EF4-FFF2-40B4-BE49-F238E27FC236}">
                  <a16:creationId xmlns:a16="http://schemas.microsoft.com/office/drawing/2014/main" id="{865C0C48-4075-4336-A81A-D9AC29ECDA91}"/>
                </a:ext>
              </a:extLst>
            </p:cNvPr>
            <p:cNvSpPr/>
            <p:nvPr/>
          </p:nvSpPr>
          <p:spPr>
            <a:xfrm>
              <a:off x="365761" y="1317289"/>
              <a:ext cx="4128452" cy="216024"/>
            </a:xfrm>
            <a:prstGeom prst="rect">
              <a:avLst/>
            </a:prstGeom>
            <a:solidFill>
              <a:schemeClr val="bg1">
                <a:lumMod val="9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Verdana"/>
                  <a:ea typeface="+mn-ea"/>
                  <a:cs typeface="+mn-cs"/>
                </a:rPr>
                <a:t>Table A : Qualitative Disclosures</a:t>
              </a:r>
            </a:p>
          </p:txBody>
        </p:sp>
        <p:sp>
          <p:nvSpPr>
            <p:cNvPr id="26" name="Rectangle 25">
              <a:extLst>
                <a:ext uri="{FF2B5EF4-FFF2-40B4-BE49-F238E27FC236}">
                  <a16:creationId xmlns:a16="http://schemas.microsoft.com/office/drawing/2014/main" id="{0DF6B87C-8AC8-42FE-AFA8-0A0B6D6FE6CC}"/>
                </a:ext>
              </a:extLst>
            </p:cNvPr>
            <p:cNvSpPr/>
            <p:nvPr/>
          </p:nvSpPr>
          <p:spPr>
            <a:xfrm>
              <a:off x="365761" y="1536600"/>
              <a:ext cx="4128452" cy="4795596"/>
            </a:xfrm>
            <a:prstGeom prst="rect">
              <a:avLst/>
            </a:prstGeom>
            <a:noFill/>
            <a:ln w="12700" cap="flat" cmpd="sng" algn="ctr">
              <a:solidFill>
                <a:sysClr val="windowText" lastClr="000000"/>
              </a:solidFill>
              <a:prstDash val="solid"/>
              <a:miter lim="800000"/>
            </a:ln>
            <a:effectLst/>
          </p:spPr>
          <p:txBody>
            <a:bodyPr lIns="90000" rtlCol="0" anchor="t"/>
            <a:lstStyle/>
            <a:p>
              <a:pPr marL="0" marR="0" lvl="0" indent="0" defTabSz="914400" eaLnBrk="1" fontAlgn="auto" latinLnBrk="0" hangingPunct="1">
                <a:lnSpc>
                  <a:spcPct val="100000"/>
                </a:lnSpc>
                <a:spcBef>
                  <a:spcPts val="120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6ED1533C-4521-4EEE-A65E-E0DB0B7F6FC7}"/>
                </a:ext>
              </a:extLst>
            </p:cNvPr>
            <p:cNvSpPr/>
            <p:nvPr/>
          </p:nvSpPr>
          <p:spPr>
            <a:xfrm>
              <a:off x="5008333" y="1317288"/>
              <a:ext cx="3826074" cy="219311"/>
            </a:xfrm>
            <a:prstGeom prst="rect">
              <a:avLst/>
            </a:prstGeom>
            <a:solidFill>
              <a:schemeClr val="bg1">
                <a:lumMod val="9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0"/>
                </a:spcAft>
                <a:buClrTx/>
                <a:buSzTx/>
                <a:buFontTx/>
                <a:buNone/>
                <a:tabLst/>
                <a:defRPr/>
              </a:pPr>
              <a:r>
                <a:rPr kumimoji="0" lang="en-GB" sz="1000" b="1" i="0" u="none" strike="noStrike" kern="0" cap="none" spc="0" normalizeH="0" baseline="0" noProof="0" dirty="0">
                  <a:ln>
                    <a:noFill/>
                  </a:ln>
                  <a:solidFill>
                    <a:prstClr val="black"/>
                  </a:solidFill>
                  <a:effectLst/>
                  <a:uLnTx/>
                  <a:uFillTx/>
                  <a:latin typeface="Verdana"/>
                  <a:ea typeface="+mn-ea"/>
                  <a:cs typeface="+mn-cs"/>
                </a:rPr>
                <a:t>Table B: Quantitative Disclosures</a:t>
              </a:r>
            </a:p>
          </p:txBody>
        </p:sp>
        <p:sp>
          <p:nvSpPr>
            <p:cNvPr id="28" name="Rectangle 27">
              <a:extLst>
                <a:ext uri="{FF2B5EF4-FFF2-40B4-BE49-F238E27FC236}">
                  <a16:creationId xmlns:a16="http://schemas.microsoft.com/office/drawing/2014/main" id="{B43E4497-A34D-4B7E-A83D-CE143C0E6257}"/>
                </a:ext>
              </a:extLst>
            </p:cNvPr>
            <p:cNvSpPr/>
            <p:nvPr/>
          </p:nvSpPr>
          <p:spPr>
            <a:xfrm>
              <a:off x="5008334" y="1536600"/>
              <a:ext cx="3826073" cy="4795596"/>
            </a:xfrm>
            <a:prstGeom prst="rect">
              <a:avLst/>
            </a:prstGeom>
            <a:noFill/>
            <a:ln w="12700" cap="flat" cmpd="sng" algn="ctr">
              <a:solidFill>
                <a:sysClr val="windowText" lastClr="000000"/>
              </a:solidFill>
              <a:prstDash val="solid"/>
              <a:miter lim="800000"/>
            </a:ln>
            <a:effectLst/>
          </p:spPr>
          <p:txBody>
            <a:bodyPr lIns="90000" rtlCol="0" anchor="t"/>
            <a:lstStyle/>
            <a:p>
              <a:pPr marL="0" marR="0" lvl="0" indent="0" defTabSz="914400" eaLnBrk="1" fontAlgn="auto" latinLnBrk="0" hangingPunct="1">
                <a:lnSpc>
                  <a:spcPct val="100000"/>
                </a:lnSpc>
                <a:spcBef>
                  <a:spcPts val="300"/>
                </a:spcBef>
                <a:spcAft>
                  <a:spcPts val="0"/>
                </a:spcAft>
                <a:buClrTx/>
                <a:buSzTx/>
                <a:buFontTx/>
                <a:buNone/>
                <a:tabLst/>
                <a:defRPr/>
              </a:pPr>
              <a:endParaRPr kumimoji="0" lang="en-GB" sz="1100" b="1" i="0" u="none" strike="noStrike" kern="0" cap="none" spc="0" normalizeH="0" baseline="0" noProof="0" dirty="0">
                <a:ln>
                  <a:noFill/>
                </a:ln>
                <a:solidFill>
                  <a:prstClr val="black"/>
                </a:solidFill>
                <a:effectLst/>
                <a:uLnTx/>
                <a:uFillTx/>
                <a:latin typeface="Verdana"/>
                <a:ea typeface="+mn-ea"/>
                <a:cs typeface="+mn-cs"/>
              </a:endParaRPr>
            </a:p>
          </p:txBody>
        </p:sp>
      </p:grpSp>
      <p:sp>
        <p:nvSpPr>
          <p:cNvPr id="29" name="Rectangle 28">
            <a:extLst>
              <a:ext uri="{FF2B5EF4-FFF2-40B4-BE49-F238E27FC236}">
                <a16:creationId xmlns:a16="http://schemas.microsoft.com/office/drawing/2014/main" id="{3BB125DB-D1A7-4BBE-AC67-EFAC8CEC466C}"/>
              </a:ext>
            </a:extLst>
          </p:cNvPr>
          <p:cNvSpPr/>
          <p:nvPr/>
        </p:nvSpPr>
        <p:spPr>
          <a:xfrm>
            <a:off x="1905000" y="1321214"/>
            <a:ext cx="10076947" cy="308395"/>
          </a:xfrm>
          <a:prstGeom prst="rect">
            <a:avLst/>
          </a:prstGeom>
          <a:solidFill>
            <a:srgbClr val="002060"/>
          </a:solidFill>
          <a:ln w="25400" cap="flat" cmpd="sng" algn="ctr">
            <a:noFill/>
            <a:prstDash val="lgDash"/>
          </a:ln>
          <a:effectLst/>
        </p:spPr>
        <p:txBody>
          <a:bodyPr rtlCol="0" anchor="ctr"/>
          <a:lstStyle/>
          <a:p>
            <a:pPr lvl="1" algn="ctr"/>
            <a:r>
              <a:rPr lang="en-GB" altLang="en-US" sz="1400" b="1" dirty="0">
                <a:solidFill>
                  <a:schemeClr val="bg1"/>
                </a:solidFill>
                <a:latin typeface="Arial" panose="020B0604020202020204" pitchFamily="34" charset="0"/>
                <a:cs typeface="Arial" panose="020B0604020202020204" pitchFamily="34" charset="0"/>
              </a:rPr>
              <a:t>Illustrative Reporting Formats Prescribed by the Regulator for Public Disclosures </a:t>
            </a:r>
          </a:p>
        </p:txBody>
      </p:sp>
      <p:pic>
        <p:nvPicPr>
          <p:cNvPr id="30" name="Picture 29" descr="Screen Clipping">
            <a:extLst>
              <a:ext uri="{FF2B5EF4-FFF2-40B4-BE49-F238E27FC236}">
                <a16:creationId xmlns:a16="http://schemas.microsoft.com/office/drawing/2014/main" id="{2222DD06-CEDA-4BE9-A00E-019CE6484D3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34499" y="1972128"/>
            <a:ext cx="4582085" cy="4676169"/>
          </a:xfrm>
          <a:prstGeom prst="rect">
            <a:avLst/>
          </a:prstGeom>
          <a:solidFill>
            <a:srgbClr val="002060"/>
          </a:solidFill>
          <a:ln w="25400" cap="flat" cmpd="sng" algn="ctr">
            <a:noFill/>
            <a:prstDash val="lgDash"/>
          </a:ln>
          <a:effectLst/>
        </p:spPr>
      </p:pic>
      <p:pic>
        <p:nvPicPr>
          <p:cNvPr id="31" name="Picture 30" descr="Screen Clipping">
            <a:extLst>
              <a:ext uri="{FF2B5EF4-FFF2-40B4-BE49-F238E27FC236}">
                <a16:creationId xmlns:a16="http://schemas.microsoft.com/office/drawing/2014/main" id="{50060262-F9CE-4483-B285-BFF1BF1842F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9751" y="2012567"/>
            <a:ext cx="4242447" cy="4635730"/>
          </a:xfrm>
          <a:prstGeom prst="rect">
            <a:avLst/>
          </a:prstGeom>
          <a:solidFill>
            <a:srgbClr val="002060"/>
          </a:solidFill>
          <a:ln w="25400" cap="flat" cmpd="sng" algn="ctr">
            <a:noFill/>
            <a:prstDash val="lgDash"/>
          </a:ln>
          <a:effectLst/>
        </p:spPr>
      </p:pic>
      <p:sp>
        <p:nvSpPr>
          <p:cNvPr id="12" name="Rectangle 11">
            <a:extLst>
              <a:ext uri="{FF2B5EF4-FFF2-40B4-BE49-F238E27FC236}">
                <a16:creationId xmlns:a16="http://schemas.microsoft.com/office/drawing/2014/main" id="{98AE2773-58FF-46F6-87D5-142F63C0FA9C}"/>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4</a:t>
            </a:r>
          </a:p>
        </p:txBody>
      </p:sp>
    </p:spTree>
    <p:extLst>
      <p:ext uri="{BB962C8B-B14F-4D97-AF65-F5344CB8AC3E}">
        <p14:creationId xmlns:p14="http://schemas.microsoft.com/office/powerpoint/2010/main" val="3779315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Principal 7: Supervisory Review </a:t>
            </a:r>
          </a:p>
        </p:txBody>
      </p:sp>
      <p:sp>
        <p:nvSpPr>
          <p:cNvPr id="32" name="Rectangle: Rounded Corners 31">
            <a:extLst>
              <a:ext uri="{FF2B5EF4-FFF2-40B4-BE49-F238E27FC236}">
                <a16:creationId xmlns:a16="http://schemas.microsoft.com/office/drawing/2014/main" id="{C5A8675D-79F7-4F40-ABE6-2AF182EECBB6}"/>
              </a:ext>
            </a:extLst>
          </p:cNvPr>
          <p:cNvSpPr/>
          <p:nvPr/>
        </p:nvSpPr>
        <p:spPr bwMode="gray">
          <a:xfrm>
            <a:off x="1951721" y="3733800"/>
            <a:ext cx="2600176" cy="3048000"/>
          </a:xfrm>
          <a:prstGeom prst="roundRect">
            <a:avLst/>
          </a:prstGeom>
          <a:solidFill>
            <a:schemeClr val="bg1">
              <a:lumMod val="95000"/>
              <a:alpha val="69804"/>
            </a:schemeClr>
          </a:solidFill>
          <a:ln w="19050" algn="ctr">
            <a:noFill/>
            <a:miter lim="800000"/>
            <a:headEnd/>
            <a:tailEnd/>
          </a:ln>
        </p:spPr>
        <p:txBody>
          <a:bodyPr wrap="square" lIns="36000" tIns="36000" rIns="36000" bIns="0" rtlCol="0" anchor="ctr"/>
          <a:lstStyle/>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NMD assumptions</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Behavioral optionality assumption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Repricing cashflow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Types of yield curves and scenarios used for stress testing</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Level of exposure to AIRO</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Significant currencie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EVE across scenarios</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NII across scenario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Treatment of own equity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Spread / Margin assumptions</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Currency aggregation </a:t>
            </a:r>
          </a:p>
        </p:txBody>
      </p:sp>
      <p:sp>
        <p:nvSpPr>
          <p:cNvPr id="33" name="Rectangle: Rounded Corners 32">
            <a:extLst>
              <a:ext uri="{FF2B5EF4-FFF2-40B4-BE49-F238E27FC236}">
                <a16:creationId xmlns:a16="http://schemas.microsoft.com/office/drawing/2014/main" id="{106D25D8-2A02-41C7-A1B5-D05A49486ECD}"/>
              </a:ext>
            </a:extLst>
          </p:cNvPr>
          <p:cNvSpPr/>
          <p:nvPr/>
        </p:nvSpPr>
        <p:spPr bwMode="gray">
          <a:xfrm>
            <a:off x="5553701" y="3733800"/>
            <a:ext cx="2600176" cy="3048000"/>
          </a:xfrm>
          <a:prstGeom prst="roundRect">
            <a:avLst/>
          </a:prstGeom>
          <a:solidFill>
            <a:schemeClr val="bg1">
              <a:lumMod val="95000"/>
              <a:alpha val="69804"/>
            </a:schemeClr>
          </a:solidFill>
          <a:ln w="19050" algn="ctr">
            <a:noFill/>
            <a:miter lim="800000"/>
            <a:headEnd/>
            <a:tailEnd/>
          </a:ln>
        </p:spPr>
        <p:txBody>
          <a:bodyPr wrap="square" lIns="36000" tIns="36000" rIns="36000" bIns="0" rtlCol="0" anchor="ctr"/>
          <a:lstStyle/>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Adequacy of governance &amp; oversight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Level of bank’s knowledge on IRRBB</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Robustness of internal model validation</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Internal MIS and monitoring</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Risk limits and controls</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Robust stress testing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Independent review and audit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Effective hedging strategies </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Level of capital</a:t>
            </a:r>
          </a:p>
          <a:p>
            <a:pPr marL="269875" marR="0" lvl="0" indent="-177800" defTabSz="914400" eaLnBrk="1" fontAlgn="auto" latinLnBrk="0" hangingPunct="1">
              <a:lnSpc>
                <a:spcPts val="1200"/>
              </a:lnSpc>
              <a:spcAft>
                <a:spcPts val="200"/>
              </a:spcAft>
              <a:buClrTx/>
              <a:buSzTx/>
              <a:buFont typeface="Wingdings" panose="05000000000000000000" pitchFamily="2" charset="2"/>
              <a:buChar char="§"/>
              <a:tabLst/>
              <a:defRPr/>
            </a:pPr>
            <a:r>
              <a:rPr lang="en-US" sz="1200" kern="0" dirty="0">
                <a:solidFill>
                  <a:srgbClr val="494947"/>
                </a:solidFill>
                <a:latin typeface="Arial" panose="020B0604020202020204" pitchFamily="34" charset="0"/>
                <a:cs typeface="Arial" panose="020B0604020202020204" pitchFamily="34" charset="0"/>
              </a:rPr>
              <a:t>Peer benchmarking </a:t>
            </a:r>
          </a:p>
        </p:txBody>
      </p:sp>
      <p:sp>
        <p:nvSpPr>
          <p:cNvPr id="34" name="Rectangle: Rounded Corners 33">
            <a:extLst>
              <a:ext uri="{FF2B5EF4-FFF2-40B4-BE49-F238E27FC236}">
                <a16:creationId xmlns:a16="http://schemas.microsoft.com/office/drawing/2014/main" id="{E374C64E-6E6D-4DED-8157-CFC491DE6E2C}"/>
              </a:ext>
            </a:extLst>
          </p:cNvPr>
          <p:cNvSpPr/>
          <p:nvPr/>
        </p:nvSpPr>
        <p:spPr bwMode="gray">
          <a:xfrm>
            <a:off x="9210824" y="3733800"/>
            <a:ext cx="2600176" cy="3047999"/>
          </a:xfrm>
          <a:prstGeom prst="roundRect">
            <a:avLst/>
          </a:prstGeom>
          <a:solidFill>
            <a:schemeClr val="bg1">
              <a:lumMod val="95000"/>
              <a:alpha val="69804"/>
            </a:schemeClr>
          </a:solidFill>
          <a:ln w="19050" algn="ctr">
            <a:noFill/>
            <a:miter lim="800000"/>
            <a:headEnd/>
            <a:tailEnd/>
          </a:ln>
        </p:spPr>
        <p:txBody>
          <a:bodyPr wrap="square" lIns="36000" tIns="36000" rIns="36000" bIns="0" rtlCol="0" anchor="ctr"/>
          <a:lstStyle/>
          <a:p>
            <a:pPr marL="171450" marR="0" lvl="0" indent="-171450" fontAlgn="auto">
              <a:lnSpc>
                <a:spcPts val="1500"/>
              </a:lnSpc>
              <a:spcBef>
                <a:spcPts val="200"/>
              </a:spcBef>
              <a:spcAft>
                <a:spcPts val="200"/>
              </a:spcAft>
              <a:buClrTx/>
              <a:buSzTx/>
              <a:buFont typeface="Wingdings" panose="05000000000000000000" pitchFamily="2" charset="2"/>
              <a:buChar char="§"/>
              <a:tabLst/>
              <a:defRPr/>
            </a:pPr>
            <a:r>
              <a:rPr lang="en-IN" sz="1200" kern="0" dirty="0">
                <a:solidFill>
                  <a:srgbClr val="494947"/>
                </a:solidFill>
                <a:latin typeface="Arial" panose="020B0604020202020204" pitchFamily="34" charset="0"/>
                <a:cs typeface="Arial" panose="020B0604020202020204" pitchFamily="34" charset="0"/>
              </a:rPr>
              <a:t>Outlier / materiality tests that compare </a:t>
            </a:r>
            <a:r>
              <a:rPr lang="el-GR" sz="1200" kern="0" dirty="0">
                <a:solidFill>
                  <a:srgbClr val="494947"/>
                </a:solidFill>
                <a:latin typeface="Arial" panose="020B0604020202020204" pitchFamily="34" charset="0"/>
                <a:cs typeface="Arial" panose="020B0604020202020204" pitchFamily="34" charset="0"/>
              </a:rPr>
              <a:t>Δ </a:t>
            </a:r>
            <a:r>
              <a:rPr lang="en-IN" sz="1200" kern="0" dirty="0">
                <a:solidFill>
                  <a:srgbClr val="494947"/>
                </a:solidFill>
                <a:latin typeface="Arial" panose="020B0604020202020204" pitchFamily="34" charset="0"/>
                <a:cs typeface="Arial" panose="020B0604020202020204" pitchFamily="34" charset="0"/>
              </a:rPr>
              <a:t>EVE to at least 15% of Tier 1 capital </a:t>
            </a:r>
          </a:p>
          <a:p>
            <a:pPr marL="171450" marR="0" lvl="0" indent="-171450" fontAlgn="auto">
              <a:lnSpc>
                <a:spcPts val="1500"/>
              </a:lnSpc>
              <a:spcBef>
                <a:spcPts val="200"/>
              </a:spcBef>
              <a:spcAft>
                <a:spcPts val="200"/>
              </a:spcAft>
              <a:buClrTx/>
              <a:buSzTx/>
              <a:buFont typeface="Wingdings" panose="05000000000000000000" pitchFamily="2" charset="2"/>
              <a:buChar char="§"/>
              <a:tabLst/>
              <a:defRPr/>
            </a:pPr>
            <a:r>
              <a:rPr lang="en-IN" sz="1200" kern="0" dirty="0">
                <a:solidFill>
                  <a:srgbClr val="494947"/>
                </a:solidFill>
                <a:latin typeface="Arial" panose="020B0604020202020204" pitchFamily="34" charset="0"/>
                <a:cs typeface="Arial" panose="020B0604020202020204" pitchFamily="34" charset="0"/>
              </a:rPr>
              <a:t>Corrective actions If Bank’s IRRBB framework is deemed to be inadequate:</a:t>
            </a:r>
          </a:p>
          <a:p>
            <a:pPr marL="269875" marR="0" lvl="0" indent="-177800" fontAlgn="auto">
              <a:lnSpc>
                <a:spcPts val="1500"/>
              </a:lnSpc>
              <a:spcBef>
                <a:spcPts val="200"/>
              </a:spcBef>
              <a:spcAft>
                <a:spcPts val="200"/>
              </a:spcAft>
              <a:buClrTx/>
              <a:buSzTx/>
              <a:buFont typeface="Wingdings" panose="05000000000000000000" pitchFamily="2" charset="2"/>
              <a:buChar char="ü"/>
              <a:tabLst/>
              <a:defRPr/>
            </a:pPr>
            <a:r>
              <a:rPr lang="en-US" sz="1200" kern="0" dirty="0">
                <a:solidFill>
                  <a:srgbClr val="494947"/>
                </a:solidFill>
                <a:latin typeface="Arial" panose="020B0604020202020204" pitchFamily="34" charset="0"/>
                <a:cs typeface="Arial" panose="020B0604020202020204" pitchFamily="34" charset="0"/>
              </a:rPr>
              <a:t>Reduce IRRBB exposure via hedging </a:t>
            </a:r>
          </a:p>
          <a:p>
            <a:pPr marL="269875" marR="0" lvl="0" indent="-177800" fontAlgn="auto">
              <a:lnSpc>
                <a:spcPts val="1500"/>
              </a:lnSpc>
              <a:spcBef>
                <a:spcPts val="200"/>
              </a:spcBef>
              <a:spcAft>
                <a:spcPts val="200"/>
              </a:spcAft>
              <a:buClrTx/>
              <a:buSzTx/>
              <a:buFont typeface="Wingdings" panose="05000000000000000000" pitchFamily="2" charset="2"/>
              <a:buChar char="ü"/>
              <a:tabLst/>
              <a:defRPr/>
            </a:pPr>
            <a:r>
              <a:rPr lang="en-US" sz="1200" kern="0" dirty="0">
                <a:solidFill>
                  <a:srgbClr val="494947"/>
                </a:solidFill>
                <a:latin typeface="Arial" panose="020B0604020202020204" pitchFamily="34" charset="0"/>
                <a:cs typeface="Arial" panose="020B0604020202020204" pitchFamily="34" charset="0"/>
              </a:rPr>
              <a:t>Raise additional capital</a:t>
            </a:r>
          </a:p>
          <a:p>
            <a:pPr marL="269875" marR="0" lvl="0" indent="-177800" fontAlgn="auto">
              <a:lnSpc>
                <a:spcPts val="1500"/>
              </a:lnSpc>
              <a:spcBef>
                <a:spcPts val="200"/>
              </a:spcBef>
              <a:spcAft>
                <a:spcPts val="200"/>
              </a:spcAft>
              <a:buClrTx/>
              <a:buSzTx/>
              <a:buFont typeface="Wingdings" panose="05000000000000000000" pitchFamily="2" charset="2"/>
              <a:buChar char="ü"/>
              <a:tabLst/>
              <a:defRPr/>
            </a:pPr>
            <a:r>
              <a:rPr lang="en-US" sz="1200" kern="0" dirty="0">
                <a:solidFill>
                  <a:srgbClr val="494947"/>
                </a:solidFill>
                <a:latin typeface="Arial" panose="020B0604020202020204" pitchFamily="34" charset="0"/>
                <a:cs typeface="Arial" panose="020B0604020202020204" pitchFamily="34" charset="0"/>
              </a:rPr>
              <a:t>Constraints on IMS parameters used by bank </a:t>
            </a:r>
          </a:p>
          <a:p>
            <a:pPr marL="269875" marR="0" lvl="0" indent="-177800" fontAlgn="auto">
              <a:lnSpc>
                <a:spcPts val="1500"/>
              </a:lnSpc>
              <a:spcBef>
                <a:spcPts val="200"/>
              </a:spcBef>
              <a:spcAft>
                <a:spcPts val="200"/>
              </a:spcAft>
              <a:buClrTx/>
              <a:buSzTx/>
              <a:buFont typeface="Wingdings" panose="05000000000000000000" pitchFamily="2" charset="2"/>
              <a:buChar char="ü"/>
              <a:tabLst/>
              <a:defRPr/>
            </a:pPr>
            <a:r>
              <a:rPr lang="en-US" sz="1200" kern="0" dirty="0">
                <a:solidFill>
                  <a:srgbClr val="494947"/>
                </a:solidFill>
                <a:latin typeface="Arial" panose="020B0604020202020204" pitchFamily="34" charset="0"/>
                <a:cs typeface="Arial" panose="020B0604020202020204" pitchFamily="34" charset="0"/>
              </a:rPr>
              <a:t>Improve risk mgmt. framework</a:t>
            </a:r>
          </a:p>
        </p:txBody>
      </p:sp>
      <p:grpSp>
        <p:nvGrpSpPr>
          <p:cNvPr id="4" name="Group 3">
            <a:extLst>
              <a:ext uri="{FF2B5EF4-FFF2-40B4-BE49-F238E27FC236}">
                <a16:creationId xmlns:a16="http://schemas.microsoft.com/office/drawing/2014/main" id="{19BAF88D-9F73-4241-BF3B-C073DA1DB7D2}"/>
              </a:ext>
            </a:extLst>
          </p:cNvPr>
          <p:cNvGrpSpPr/>
          <p:nvPr/>
        </p:nvGrpSpPr>
        <p:grpSpPr>
          <a:xfrm>
            <a:off x="2522438" y="2211664"/>
            <a:ext cx="8662702" cy="1369736"/>
            <a:chOff x="2575519" y="2539504"/>
            <a:chExt cx="8601783" cy="1369736"/>
          </a:xfrm>
        </p:grpSpPr>
        <p:sp>
          <p:nvSpPr>
            <p:cNvPr id="18" name="Freeform 4">
              <a:extLst>
                <a:ext uri="{FF2B5EF4-FFF2-40B4-BE49-F238E27FC236}">
                  <a16:creationId xmlns:a16="http://schemas.microsoft.com/office/drawing/2014/main" id="{216E5AE8-BA46-4D57-8F69-2DCF8B2B2B75}"/>
                </a:ext>
              </a:extLst>
            </p:cNvPr>
            <p:cNvSpPr>
              <a:spLocks/>
            </p:cNvSpPr>
            <p:nvPr/>
          </p:nvSpPr>
          <p:spPr bwMode="blackWhite">
            <a:xfrm>
              <a:off x="2632600" y="2539504"/>
              <a:ext cx="1183283" cy="811537"/>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002060"/>
            </a:solidFill>
            <a:ln w="0" cap="rnd">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0" cap="none" spc="0" normalizeH="0" baseline="0" noProof="0" dirty="0">
                <a:ln>
                  <a:noFill/>
                </a:ln>
                <a:solidFill>
                  <a:prstClr val="white"/>
                </a:solidFill>
                <a:effectLst/>
                <a:uLnTx/>
                <a:uFillTx/>
                <a:latin typeface="Verdana"/>
              </a:endParaRPr>
            </a:p>
          </p:txBody>
        </p:sp>
        <p:sp>
          <p:nvSpPr>
            <p:cNvPr id="21" name="Freeform 4">
              <a:extLst>
                <a:ext uri="{FF2B5EF4-FFF2-40B4-BE49-F238E27FC236}">
                  <a16:creationId xmlns:a16="http://schemas.microsoft.com/office/drawing/2014/main" id="{E6C5AC35-9306-4C69-9AD3-E9D88D57F189}"/>
                </a:ext>
              </a:extLst>
            </p:cNvPr>
            <p:cNvSpPr>
              <a:spLocks/>
            </p:cNvSpPr>
            <p:nvPr/>
          </p:nvSpPr>
          <p:spPr bwMode="blackWhite">
            <a:xfrm>
              <a:off x="6262150" y="2539504"/>
              <a:ext cx="1183283" cy="811537"/>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002060"/>
            </a:solidFill>
            <a:ln w="0" cap="rnd">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0" cap="none" spc="0" normalizeH="0" baseline="0" noProof="0" dirty="0">
                <a:ln>
                  <a:noFill/>
                </a:ln>
                <a:solidFill>
                  <a:prstClr val="white"/>
                </a:solidFill>
                <a:effectLst/>
                <a:uLnTx/>
                <a:uFillTx/>
                <a:latin typeface="Verdana"/>
              </a:endParaRPr>
            </a:p>
          </p:txBody>
        </p:sp>
        <p:sp>
          <p:nvSpPr>
            <p:cNvPr id="22" name="Freeform 4">
              <a:extLst>
                <a:ext uri="{FF2B5EF4-FFF2-40B4-BE49-F238E27FC236}">
                  <a16:creationId xmlns:a16="http://schemas.microsoft.com/office/drawing/2014/main" id="{57036218-09D3-4459-AE93-C94C73DA58CC}"/>
                </a:ext>
              </a:extLst>
            </p:cNvPr>
            <p:cNvSpPr>
              <a:spLocks/>
            </p:cNvSpPr>
            <p:nvPr/>
          </p:nvSpPr>
          <p:spPr bwMode="blackWhite">
            <a:xfrm>
              <a:off x="9891699" y="2539504"/>
              <a:ext cx="1183283" cy="811537"/>
            </a:xfrm>
            <a:custGeom>
              <a:avLst/>
              <a:gdLst>
                <a:gd name="T0" fmla="*/ 15 w 1725"/>
                <a:gd name="T1" fmla="*/ 217 h 1724"/>
                <a:gd name="T2" fmla="*/ 3 w 1725"/>
                <a:gd name="T3" fmla="*/ 286 h 1724"/>
                <a:gd name="T4" fmla="*/ 1 w 1725"/>
                <a:gd name="T5" fmla="*/ 357 h 1724"/>
                <a:gd name="T6" fmla="*/ 9 w 1725"/>
                <a:gd name="T7" fmla="*/ 428 h 1724"/>
                <a:gd name="T8" fmla="*/ 30 w 1725"/>
                <a:gd name="T9" fmla="*/ 494 h 1724"/>
                <a:gd name="T10" fmla="*/ 60 w 1725"/>
                <a:gd name="T11" fmla="*/ 552 h 1724"/>
                <a:gd name="T12" fmla="*/ 97 w 1725"/>
                <a:gd name="T13" fmla="*/ 601 h 1724"/>
                <a:gd name="T14" fmla="*/ 141 w 1725"/>
                <a:gd name="T15" fmla="*/ 637 h 1724"/>
                <a:gd name="T16" fmla="*/ 191 w 1725"/>
                <a:gd name="T17" fmla="*/ 659 h 1724"/>
                <a:gd name="T18" fmla="*/ 242 w 1725"/>
                <a:gd name="T19" fmla="*/ 667 h 1724"/>
                <a:gd name="T20" fmla="*/ 294 w 1725"/>
                <a:gd name="T21" fmla="*/ 659 h 1724"/>
                <a:gd name="T22" fmla="*/ 343 w 1725"/>
                <a:gd name="T23" fmla="*/ 637 h 1724"/>
                <a:gd name="T24" fmla="*/ 387 w 1725"/>
                <a:gd name="T25" fmla="*/ 601 h 1724"/>
                <a:gd name="T26" fmla="*/ 425 w 1725"/>
                <a:gd name="T27" fmla="*/ 552 h 1724"/>
                <a:gd name="T28" fmla="*/ 455 w 1725"/>
                <a:gd name="T29" fmla="*/ 494 h 1724"/>
                <a:gd name="T30" fmla="*/ 475 w 1725"/>
                <a:gd name="T31" fmla="*/ 428 h 1724"/>
                <a:gd name="T32" fmla="*/ 484 w 1725"/>
                <a:gd name="T33" fmla="*/ 357 h 1724"/>
                <a:gd name="T34" fmla="*/ 482 w 1725"/>
                <a:gd name="T35" fmla="*/ 285 h 1724"/>
                <a:gd name="T36" fmla="*/ 469 w 1725"/>
                <a:gd name="T37" fmla="*/ 215 h 1724"/>
                <a:gd name="T38" fmla="*/ 446 w 1725"/>
                <a:gd name="T39" fmla="*/ 151 h 1724"/>
                <a:gd name="T40" fmla="*/ 411 w 1725"/>
                <a:gd name="T41" fmla="*/ 94 h 1724"/>
                <a:gd name="T42" fmla="*/ 370 w 1725"/>
                <a:gd name="T43" fmla="*/ 50 h 1724"/>
                <a:gd name="T44" fmla="*/ 323 w 1725"/>
                <a:gd name="T45" fmla="*/ 18 h 1724"/>
                <a:gd name="T46" fmla="*/ 271 w 1725"/>
                <a:gd name="T47" fmla="*/ 2 h 1724"/>
                <a:gd name="T48" fmla="*/ 218 w 1725"/>
                <a:gd name="T49" fmla="*/ 2 h 1724"/>
                <a:gd name="T50" fmla="*/ 167 w 1725"/>
                <a:gd name="T51" fmla="*/ 17 h 1724"/>
                <a:gd name="T52" fmla="*/ 119 w 1725"/>
                <a:gd name="T53" fmla="*/ 47 h 1724"/>
                <a:gd name="T54" fmla="*/ 77 w 1725"/>
                <a:gd name="T55" fmla="*/ 90 h 1724"/>
                <a:gd name="T56" fmla="*/ 126 w 1725"/>
                <a:gd name="T57" fmla="*/ 118 h 1724"/>
                <a:gd name="T58" fmla="*/ 186 w 1725"/>
                <a:gd name="T59" fmla="*/ 187 h 1724"/>
                <a:gd name="T60" fmla="*/ 218 w 1725"/>
                <a:gd name="T61" fmla="*/ 170 h 1724"/>
                <a:gd name="T62" fmla="*/ 254 w 1725"/>
                <a:gd name="T63" fmla="*/ 167 h 1724"/>
                <a:gd name="T64" fmla="*/ 289 w 1725"/>
                <a:gd name="T65" fmla="*/ 178 h 1724"/>
                <a:gd name="T66" fmla="*/ 320 w 1725"/>
                <a:gd name="T67" fmla="*/ 205 h 1724"/>
                <a:gd name="T68" fmla="*/ 344 w 1725"/>
                <a:gd name="T69" fmla="*/ 241 h 1724"/>
                <a:gd name="T70" fmla="*/ 358 w 1725"/>
                <a:gd name="T71" fmla="*/ 285 h 1724"/>
                <a:gd name="T72" fmla="*/ 363 w 1725"/>
                <a:gd name="T73" fmla="*/ 334 h 1724"/>
                <a:gd name="T74" fmla="*/ 358 w 1725"/>
                <a:gd name="T75" fmla="*/ 384 h 1724"/>
                <a:gd name="T76" fmla="*/ 341 w 1725"/>
                <a:gd name="T77" fmla="*/ 429 h 1724"/>
                <a:gd name="T78" fmla="*/ 317 w 1725"/>
                <a:gd name="T79" fmla="*/ 465 h 1724"/>
                <a:gd name="T80" fmla="*/ 285 w 1725"/>
                <a:gd name="T81" fmla="*/ 491 h 1724"/>
                <a:gd name="T82" fmla="*/ 248 w 1725"/>
                <a:gd name="T83" fmla="*/ 500 h 1724"/>
                <a:gd name="T84" fmla="*/ 212 w 1725"/>
                <a:gd name="T85" fmla="*/ 495 h 1724"/>
                <a:gd name="T86" fmla="*/ 178 w 1725"/>
                <a:gd name="T87" fmla="*/ 476 h 1724"/>
                <a:gd name="T88" fmla="*/ 151 w 1725"/>
                <a:gd name="T89" fmla="*/ 443 h 1724"/>
                <a:gd name="T90" fmla="*/ 131 w 1725"/>
                <a:gd name="T91" fmla="*/ 399 h 1724"/>
                <a:gd name="T92" fmla="*/ 122 w 1725"/>
                <a:gd name="T93" fmla="*/ 350 h 1724"/>
                <a:gd name="T94" fmla="*/ 124 w 1725"/>
                <a:gd name="T95" fmla="*/ 302 h 1724"/>
                <a:gd name="T96" fmla="*/ 135 w 1725"/>
                <a:gd name="T97" fmla="*/ 256 h 1724"/>
                <a:gd name="T98" fmla="*/ 157 w 1725"/>
                <a:gd name="T99" fmla="*/ 217 h 1724"/>
                <a:gd name="T100" fmla="*/ 80 w 1725"/>
                <a:gd name="T101" fmla="*/ 136 h 1724"/>
                <a:gd name="T102" fmla="*/ 30 w 1725"/>
                <a:gd name="T103" fmla="*/ 174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5"/>
                <a:gd name="T157" fmla="*/ 0 h 1724"/>
                <a:gd name="T158" fmla="*/ 1725 w 1725"/>
                <a:gd name="T159" fmla="*/ 1724 h 17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rgbClr val="002060"/>
            </a:solidFill>
            <a:ln w="0" cap="rnd">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
                  <a:prstClr val="white"/>
                </a:buClr>
                <a:buSzTx/>
                <a:buFontTx/>
                <a:buNone/>
                <a:tabLst/>
                <a:defRPr/>
              </a:pPr>
              <a:endParaRPr kumimoji="0" lang="en-US" sz="1200" b="0" i="0" u="none" strike="noStrike" kern="0" cap="none" spc="0" normalizeH="0" baseline="0" noProof="0" dirty="0">
                <a:ln>
                  <a:noFill/>
                </a:ln>
                <a:solidFill>
                  <a:prstClr val="white"/>
                </a:solidFill>
                <a:effectLst/>
                <a:uLnTx/>
                <a:uFillTx/>
                <a:latin typeface="Verdana"/>
              </a:endParaRPr>
            </a:p>
          </p:txBody>
        </p:sp>
        <p:sp>
          <p:nvSpPr>
            <p:cNvPr id="23" name="Isosceles Triangle 22">
              <a:extLst>
                <a:ext uri="{FF2B5EF4-FFF2-40B4-BE49-F238E27FC236}">
                  <a16:creationId xmlns:a16="http://schemas.microsoft.com/office/drawing/2014/main" id="{D54FC816-514D-4D0E-90F5-9FE06CCD1A2E}"/>
                </a:ext>
              </a:extLst>
            </p:cNvPr>
            <p:cNvSpPr/>
            <p:nvPr/>
          </p:nvSpPr>
          <p:spPr bwMode="gray">
            <a:xfrm rot="10800000">
              <a:off x="2575519" y="3494857"/>
              <a:ext cx="1352580" cy="411858"/>
            </a:xfrm>
            <a:prstGeom prst="triangle">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24" name="Isosceles Triangle 23">
              <a:extLst>
                <a:ext uri="{FF2B5EF4-FFF2-40B4-BE49-F238E27FC236}">
                  <a16:creationId xmlns:a16="http://schemas.microsoft.com/office/drawing/2014/main" id="{B4D23A4F-F962-4413-89A1-B94C9F5F6200}"/>
                </a:ext>
              </a:extLst>
            </p:cNvPr>
            <p:cNvSpPr/>
            <p:nvPr/>
          </p:nvSpPr>
          <p:spPr bwMode="gray">
            <a:xfrm rot="10800000">
              <a:off x="6178717" y="3493810"/>
              <a:ext cx="1350148" cy="412905"/>
            </a:xfrm>
            <a:prstGeom prst="triangle">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25" name="Isosceles Triangle 24">
              <a:extLst>
                <a:ext uri="{FF2B5EF4-FFF2-40B4-BE49-F238E27FC236}">
                  <a16:creationId xmlns:a16="http://schemas.microsoft.com/office/drawing/2014/main" id="{05DE81B4-1F4F-4C4B-9B13-B17F530DA1A6}"/>
                </a:ext>
              </a:extLst>
            </p:cNvPr>
            <p:cNvSpPr/>
            <p:nvPr/>
          </p:nvSpPr>
          <p:spPr bwMode="gray">
            <a:xfrm rot="10800000">
              <a:off x="9824722" y="3497382"/>
              <a:ext cx="1352580" cy="411858"/>
            </a:xfrm>
            <a:prstGeom prst="triangle">
              <a:avLst/>
            </a:prstGeom>
            <a:solidFill>
              <a:schemeClr val="tx1">
                <a:lumMod val="65000"/>
                <a:lumOff val="3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Verdana"/>
              </a:endParaRPr>
            </a:p>
          </p:txBody>
        </p:sp>
        <p:sp>
          <p:nvSpPr>
            <p:cNvPr id="35" name="TextBox 34">
              <a:extLst>
                <a:ext uri="{FF2B5EF4-FFF2-40B4-BE49-F238E27FC236}">
                  <a16:creationId xmlns:a16="http://schemas.microsoft.com/office/drawing/2014/main" id="{BDE23C67-F2C2-4949-8600-7920BFA91457}"/>
                </a:ext>
              </a:extLst>
            </p:cNvPr>
            <p:cNvSpPr txBox="1"/>
            <p:nvPr/>
          </p:nvSpPr>
          <p:spPr>
            <a:xfrm>
              <a:off x="2822298" y="2752785"/>
              <a:ext cx="859028" cy="375214"/>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6051"/>
                  </a:solidFill>
                  <a:effectLst/>
                  <a:uLnTx/>
                  <a:uFillTx/>
                  <a:latin typeface="Arial" panose="020B0604020202020204" pitchFamily="34" charset="0"/>
                  <a:cs typeface="Arial" panose="020B0604020202020204" pitchFamily="34" charset="0"/>
                </a:rPr>
                <a:t>01</a:t>
              </a:r>
            </a:p>
          </p:txBody>
        </p:sp>
        <p:sp>
          <p:nvSpPr>
            <p:cNvPr id="36" name="TextBox 35">
              <a:extLst>
                <a:ext uri="{FF2B5EF4-FFF2-40B4-BE49-F238E27FC236}">
                  <a16:creationId xmlns:a16="http://schemas.microsoft.com/office/drawing/2014/main" id="{ECDF5ECD-537A-495A-9BA9-EA5B6FA6B1DB}"/>
                </a:ext>
              </a:extLst>
            </p:cNvPr>
            <p:cNvSpPr txBox="1"/>
            <p:nvPr/>
          </p:nvSpPr>
          <p:spPr>
            <a:xfrm>
              <a:off x="6451848" y="2743025"/>
              <a:ext cx="859028" cy="375214"/>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6051"/>
                  </a:solidFill>
                  <a:effectLst/>
                  <a:uLnTx/>
                  <a:uFillTx/>
                  <a:latin typeface="Arial" panose="020B0604020202020204" pitchFamily="34" charset="0"/>
                  <a:cs typeface="Arial" panose="020B0604020202020204" pitchFamily="34" charset="0"/>
                </a:rPr>
                <a:t>02</a:t>
              </a:r>
            </a:p>
          </p:txBody>
        </p:sp>
        <p:sp>
          <p:nvSpPr>
            <p:cNvPr id="37" name="TextBox 36">
              <a:extLst>
                <a:ext uri="{FF2B5EF4-FFF2-40B4-BE49-F238E27FC236}">
                  <a16:creationId xmlns:a16="http://schemas.microsoft.com/office/drawing/2014/main" id="{9C2FA233-EEDD-46E7-B72F-C1C42DBFBBE3}"/>
                </a:ext>
              </a:extLst>
            </p:cNvPr>
            <p:cNvSpPr txBox="1"/>
            <p:nvPr/>
          </p:nvSpPr>
          <p:spPr>
            <a:xfrm>
              <a:off x="10081399" y="2752785"/>
              <a:ext cx="859028" cy="375214"/>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6051"/>
                  </a:solidFill>
                  <a:effectLst/>
                  <a:uLnTx/>
                  <a:uFillTx/>
                  <a:latin typeface="Arial" panose="020B0604020202020204" pitchFamily="34" charset="0"/>
                  <a:cs typeface="Arial" panose="020B0604020202020204" pitchFamily="34" charset="0"/>
                </a:rPr>
                <a:t>03</a:t>
              </a:r>
            </a:p>
          </p:txBody>
        </p:sp>
      </p:grpSp>
      <p:sp>
        <p:nvSpPr>
          <p:cNvPr id="15" name="Rectangle 14">
            <a:extLst>
              <a:ext uri="{FF2B5EF4-FFF2-40B4-BE49-F238E27FC236}">
                <a16:creationId xmlns:a16="http://schemas.microsoft.com/office/drawing/2014/main" id="{650CC48F-F2EB-4824-9871-A93CA3C01D61}"/>
              </a:ext>
            </a:extLst>
          </p:cNvPr>
          <p:cNvSpPr/>
          <p:nvPr/>
        </p:nvSpPr>
        <p:spPr>
          <a:xfrm>
            <a:off x="1875844" y="1673923"/>
            <a:ext cx="2600177" cy="407466"/>
          </a:xfrm>
          <a:prstGeom prst="rect">
            <a:avLst/>
          </a:prstGeom>
          <a:solidFill>
            <a:schemeClr val="tx1"/>
          </a:solidFill>
          <a:ln w="1905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1323"/>
              </a:spcBef>
              <a:spcAft>
                <a:spcPts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llection of Information </a:t>
            </a:r>
          </a:p>
        </p:txBody>
      </p:sp>
      <p:sp>
        <p:nvSpPr>
          <p:cNvPr id="16" name="Rectangle 15">
            <a:extLst>
              <a:ext uri="{FF2B5EF4-FFF2-40B4-BE49-F238E27FC236}">
                <a16:creationId xmlns:a16="http://schemas.microsoft.com/office/drawing/2014/main" id="{706AE89B-1B81-4471-8FFE-2974CE028A5C}"/>
              </a:ext>
            </a:extLst>
          </p:cNvPr>
          <p:cNvSpPr/>
          <p:nvPr/>
        </p:nvSpPr>
        <p:spPr>
          <a:xfrm>
            <a:off x="5570773" y="1680310"/>
            <a:ext cx="2600177" cy="407467"/>
          </a:xfrm>
          <a:prstGeom prst="rect">
            <a:avLst/>
          </a:prstGeom>
          <a:solidFill>
            <a:schemeClr val="tx1"/>
          </a:solidFill>
          <a:ln w="19050" cap="flat" cmpd="sng" algn="ctr">
            <a:solidFill>
              <a:schemeClr val="tx1"/>
            </a:solidFill>
            <a:prstDash val="solid"/>
            <a:miter lim="800000"/>
          </a:ln>
          <a:effectLst/>
        </p:spPr>
        <p:txBody>
          <a:bodyPr rtlCol="0" anchor="ctr"/>
          <a:lstStyle/>
          <a:p>
            <a:pPr algn="ctr">
              <a:spcBef>
                <a:spcPts val="1323"/>
              </a:spcBef>
            </a:pPr>
            <a:r>
              <a:rPr lang="en-GB" sz="1200" b="1" kern="0" dirty="0">
                <a:solidFill>
                  <a:schemeClr val="bg1"/>
                </a:solidFill>
                <a:latin typeface="Arial" panose="020B0604020202020204" pitchFamily="34" charset="0"/>
                <a:cs typeface="Arial" panose="020B0604020202020204" pitchFamily="34" charset="0"/>
              </a:rPr>
              <a:t>Adequacy Assessment</a:t>
            </a:r>
          </a:p>
        </p:txBody>
      </p:sp>
      <p:sp>
        <p:nvSpPr>
          <p:cNvPr id="17" name="Rectangle 16">
            <a:extLst>
              <a:ext uri="{FF2B5EF4-FFF2-40B4-BE49-F238E27FC236}">
                <a16:creationId xmlns:a16="http://schemas.microsoft.com/office/drawing/2014/main" id="{70D9B273-F26F-4336-9CED-6C9AB3FDA5F9}"/>
              </a:ext>
            </a:extLst>
          </p:cNvPr>
          <p:cNvSpPr/>
          <p:nvPr/>
        </p:nvSpPr>
        <p:spPr>
          <a:xfrm>
            <a:off x="9200925" y="1675866"/>
            <a:ext cx="2600177" cy="411912"/>
          </a:xfrm>
          <a:prstGeom prst="rect">
            <a:avLst/>
          </a:prstGeom>
          <a:solidFill>
            <a:schemeClr val="tx1"/>
          </a:solidFill>
          <a:ln w="19050" cap="flat" cmpd="sng" algn="ctr">
            <a:solidFill>
              <a:schemeClr val="tx1"/>
            </a:solidFill>
            <a:prstDash val="solid"/>
            <a:miter lim="800000"/>
          </a:ln>
          <a:effectLst/>
        </p:spPr>
        <p:txBody>
          <a:bodyPr rtlCol="0" anchor="ctr"/>
          <a:lstStyle/>
          <a:p>
            <a:pPr algn="ctr">
              <a:spcBef>
                <a:spcPts val="1323"/>
              </a:spcBef>
            </a:pPr>
            <a:r>
              <a:rPr lang="en-GB" sz="1200" b="1" kern="0" dirty="0">
                <a:solidFill>
                  <a:schemeClr val="bg1"/>
                </a:solidFill>
                <a:latin typeface="Arial" panose="020B0604020202020204" pitchFamily="34" charset="0"/>
                <a:cs typeface="Arial" panose="020B0604020202020204" pitchFamily="34" charset="0"/>
              </a:rPr>
              <a:t>Outlier Tests and Actions</a:t>
            </a:r>
          </a:p>
        </p:txBody>
      </p:sp>
      <p:sp>
        <p:nvSpPr>
          <p:cNvPr id="26" name="TextBox 19">
            <a:extLst>
              <a:ext uri="{FF2B5EF4-FFF2-40B4-BE49-F238E27FC236}">
                <a16:creationId xmlns:a16="http://schemas.microsoft.com/office/drawing/2014/main" id="{03BF0A6E-0F70-42E8-AEA3-A8CA1A4D4654}"/>
              </a:ext>
            </a:extLst>
          </p:cNvPr>
          <p:cNvSpPr txBox="1">
            <a:spLocks noChangeArrowheads="1"/>
          </p:cNvSpPr>
          <p:nvPr/>
        </p:nvSpPr>
        <p:spPr bwMode="auto">
          <a:xfrm>
            <a:off x="1875845" y="901407"/>
            <a:ext cx="8715956" cy="659253"/>
          </a:xfrm>
          <a:prstGeom prst="rect">
            <a:avLst/>
          </a:prstGeom>
          <a:solidFill>
            <a:sysClr val="window" lastClr="FFFFFF">
              <a:lumMod val="95000"/>
            </a:sysClr>
          </a:solidFill>
          <a:ln w="19050" algn="ctr">
            <a:noFill/>
            <a:miter lim="800000"/>
            <a:headEnd/>
            <a:tailEnd/>
          </a:ln>
        </p:spPr>
        <p:txBody>
          <a:bodyPr wrap="square" lIns="88900" tIns="88900" rIns="88900" bIns="88900" rtlCol="0" anchor="ctr"/>
          <a:lstStyle>
            <a:defPPr>
              <a:defRPr lang="en-US"/>
            </a:defPPr>
            <a:lvl1pPr marR="0" lvl="0" indent="0" algn="ctr" defTabSz="457200" fontAlgn="auto">
              <a:lnSpc>
                <a:spcPct val="106000"/>
              </a:lnSpc>
              <a:spcBef>
                <a:spcPts val="0"/>
              </a:spcBef>
              <a:spcAft>
                <a:spcPts val="0"/>
              </a:spcAft>
              <a:buClrTx/>
              <a:buSzTx/>
              <a:buFont typeface="Wingdings 2" pitchFamily="18" charset="2"/>
              <a:buNone/>
              <a:tabLst/>
              <a:defRPr kumimoji="0"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defRPr>
            </a:lvl1pPr>
          </a:lstStyle>
          <a:p>
            <a:pPr algn="just" defTabSz="914400">
              <a:spcAft>
                <a:spcPts val="600"/>
              </a:spcAft>
              <a:defRPr/>
            </a:pPr>
            <a:r>
              <a:rPr lang="en-US" dirty="0">
                <a:solidFill>
                  <a:srgbClr val="44546A"/>
                </a:solidFill>
              </a:rPr>
              <a:t>The revised guidelines have enhanced the supervisory review process to elaborate on the factors which supervisors should consider when assessing the Banks level and management of IRRBB exposures. </a:t>
            </a:r>
          </a:p>
        </p:txBody>
      </p:sp>
    </p:spTree>
    <p:extLst>
      <p:ext uri="{BB962C8B-B14F-4D97-AF65-F5344CB8AC3E}">
        <p14:creationId xmlns:p14="http://schemas.microsoft.com/office/powerpoint/2010/main" val="19331032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291969"/>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Case Study for Standardized EVE calculation</a:t>
            </a:r>
          </a:p>
        </p:txBody>
      </p:sp>
      <p:sp>
        <p:nvSpPr>
          <p:cNvPr id="27" name="Rectangle 26">
            <a:extLst>
              <a:ext uri="{FF2B5EF4-FFF2-40B4-BE49-F238E27FC236}">
                <a16:creationId xmlns:a16="http://schemas.microsoft.com/office/drawing/2014/main" id="{998F4E1C-0906-4FA2-A73A-F5C7D6EF258A}"/>
              </a:ext>
            </a:extLst>
          </p:cNvPr>
          <p:cNvSpPr/>
          <p:nvPr/>
        </p:nvSpPr>
        <p:spPr bwMode="gray">
          <a:xfrm>
            <a:off x="2027872" y="1799201"/>
            <a:ext cx="4709536" cy="0"/>
          </a:xfrm>
          <a:prstGeom prst="rect">
            <a:avLst/>
          </a:prstGeom>
          <a:solidFill>
            <a:srgbClr val="002060"/>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7D0BD45E-B1B1-4651-8FB6-61ED2D813471}"/>
              </a:ext>
            </a:extLst>
          </p:cNvPr>
          <p:cNvSpPr/>
          <p:nvPr/>
        </p:nvSpPr>
        <p:spPr>
          <a:xfrm>
            <a:off x="1950362" y="1808735"/>
            <a:ext cx="4852226" cy="1337674"/>
          </a:xfrm>
          <a:prstGeom prst="rect">
            <a:avLst/>
          </a:prstGeom>
          <a:noFill/>
        </p:spPr>
        <p:txBody>
          <a:bodyPr wrap="square">
            <a:spAutoFit/>
          </a:bodyPr>
          <a:lstStyle/>
          <a:p>
            <a:pPr marL="457200" indent="-914400" defTabSz="1027070" eaLnBrk="0" hangingPunct="0">
              <a:lnSpc>
                <a:spcPct val="105000"/>
              </a:lnSpc>
              <a:spcBef>
                <a:spcPts val="300"/>
              </a:spcBef>
              <a:spcAft>
                <a:spcPts val="400"/>
              </a:spcAft>
              <a:buClr>
                <a:srgbClr val="53565A"/>
              </a:buClr>
              <a:defRPr/>
            </a:pPr>
            <a:r>
              <a:rPr lang="en-GB" sz="1200" b="1" kern="0" dirty="0">
                <a:solidFill>
                  <a:prstClr val="black"/>
                </a:solidFill>
                <a:latin typeface="Arial" panose="020B0604020202020204" pitchFamily="34" charset="0"/>
                <a:cs typeface="Arial" panose="020B0604020202020204" pitchFamily="34" charset="0"/>
              </a:rPr>
              <a:t>Stage 1 – Allocation of positions in the banking book</a:t>
            </a:r>
          </a:p>
          <a:p>
            <a:pPr marL="0" lvl="1" algn="just" defTabSz="1027070" eaLnBrk="0" hangingPunct="0">
              <a:lnSpc>
                <a:spcPct val="105000"/>
              </a:lnSpc>
              <a:spcBef>
                <a:spcPts val="600"/>
              </a:spcBef>
              <a:buClr>
                <a:srgbClr val="53565A"/>
              </a:buClr>
              <a:defRPr/>
            </a:pPr>
            <a:r>
              <a:rPr lang="en-US" sz="1100" kern="0" dirty="0">
                <a:solidFill>
                  <a:prstClr val="black">
                    <a:lumMod val="85000"/>
                    <a:lumOff val="15000"/>
                  </a:prstClr>
                </a:solidFill>
                <a:latin typeface="Arial" panose="020B0604020202020204" pitchFamily="34" charset="0"/>
                <a:cs typeface="Arial" panose="020B0604020202020204" pitchFamily="34" charset="0"/>
              </a:rPr>
              <a:t>Interest rate-sensitive banking book positions need to be allocated to one of three categories i.e. amenable, less amenable and not amenable to standardization. </a:t>
            </a:r>
          </a:p>
          <a:p>
            <a:pPr marL="0" lvl="1" defTabSz="1027070" eaLnBrk="0" hangingPunct="0">
              <a:lnSpc>
                <a:spcPct val="105000"/>
              </a:lnSpc>
              <a:spcBef>
                <a:spcPts val="300"/>
              </a:spcBef>
              <a:buClr>
                <a:srgbClr val="53565A"/>
              </a:buClr>
              <a:defRPr/>
            </a:pPr>
            <a:endParaRPr lang="en-GB" sz="11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1EE11CF2-3485-4111-B5BE-09804DF1D084}"/>
              </a:ext>
            </a:extLst>
          </p:cNvPr>
          <p:cNvSpPr/>
          <p:nvPr/>
        </p:nvSpPr>
        <p:spPr>
          <a:xfrm>
            <a:off x="2013843" y="4089032"/>
            <a:ext cx="4852226" cy="2445606"/>
          </a:xfrm>
          <a:prstGeom prst="rect">
            <a:avLst/>
          </a:prstGeom>
          <a:noFill/>
        </p:spPr>
        <p:txBody>
          <a:bodyPr wrap="square">
            <a:spAutoFit/>
          </a:bodyPr>
          <a:lstStyle/>
          <a:p>
            <a:pPr marL="0" lvl="1" defTabSz="1027070" eaLnBrk="0" hangingPunct="0">
              <a:lnSpc>
                <a:spcPct val="105000"/>
              </a:lnSpc>
              <a:spcBef>
                <a:spcPts val="300"/>
              </a:spcBef>
              <a:spcAft>
                <a:spcPts val="400"/>
              </a:spcAft>
              <a:buClr>
                <a:srgbClr val="53565A"/>
              </a:buClr>
              <a:defRPr/>
            </a:pPr>
            <a:r>
              <a:rPr lang="en-GB" sz="1200" b="1" kern="0" dirty="0">
                <a:solidFill>
                  <a:prstClr val="black"/>
                </a:solidFill>
                <a:latin typeface="Arial" panose="020B0604020202020204" pitchFamily="34" charset="0"/>
                <a:cs typeface="Arial" panose="020B0604020202020204" pitchFamily="34" charset="0"/>
              </a:rPr>
              <a:t>Stage 2 – Cashflow generation and bucketing across scenarios </a:t>
            </a:r>
          </a:p>
          <a:p>
            <a:pPr marL="171450" lvl="1" indent="-171450" algn="just" defTabSz="1027070" eaLnBrk="0" hangingPunct="0">
              <a:lnSpc>
                <a:spcPct val="105000"/>
              </a:lnSpc>
              <a:spcBef>
                <a:spcPts val="1200"/>
              </a:spcBef>
              <a:spcAft>
                <a:spcPts val="300"/>
              </a:spcAft>
              <a:buClr>
                <a:srgbClr val="53565A"/>
              </a:buClr>
              <a:buFont typeface="Arial" panose="020B0604020202020204" pitchFamily="34" charset="0"/>
              <a:buChar char="•"/>
              <a:defRPr/>
            </a:pPr>
            <a:r>
              <a:rPr lang="en-US" sz="1050" b="1" kern="0" dirty="0">
                <a:solidFill>
                  <a:prstClr val="black">
                    <a:lumMod val="85000"/>
                    <a:lumOff val="15000"/>
                  </a:prstClr>
                </a:solidFill>
                <a:latin typeface="Arial" panose="020B0604020202020204" pitchFamily="34" charset="0"/>
                <a:cs typeface="Arial" panose="020B0604020202020204" pitchFamily="34" charset="0"/>
              </a:rPr>
              <a:t>Positions amenable to standardization</a:t>
            </a:r>
            <a:r>
              <a:rPr lang="en-US" sz="1050" kern="0" dirty="0">
                <a:solidFill>
                  <a:prstClr val="black">
                    <a:lumMod val="85000"/>
                    <a:lumOff val="15000"/>
                  </a:prstClr>
                </a:solidFill>
                <a:latin typeface="Arial" panose="020B0604020202020204" pitchFamily="34" charset="0"/>
                <a:cs typeface="Arial" panose="020B0604020202020204" pitchFamily="34" charset="0"/>
              </a:rPr>
              <a:t>: Vanilla fixed and floating rate loans without any optionality (Refer to </a:t>
            </a:r>
            <a:r>
              <a:rPr lang="en-US" sz="1050" b="1" kern="0" dirty="0">
                <a:solidFill>
                  <a:prstClr val="black">
                    <a:lumMod val="85000"/>
                    <a:lumOff val="15000"/>
                  </a:prstClr>
                </a:solidFill>
                <a:latin typeface="Arial" panose="020B0604020202020204" pitchFamily="34" charset="0"/>
                <a:cs typeface="Arial" panose="020B0604020202020204" pitchFamily="34" charset="0"/>
              </a:rPr>
              <a:t>Table 1</a:t>
            </a:r>
            <a:r>
              <a:rPr lang="en-US" sz="1050" kern="0" dirty="0">
                <a:solidFill>
                  <a:prstClr val="black">
                    <a:lumMod val="85000"/>
                    <a:lumOff val="15000"/>
                  </a:prstClr>
                </a:solidFill>
                <a:latin typeface="Arial" panose="020B0604020202020204" pitchFamily="34" charset="0"/>
                <a:cs typeface="Arial" panose="020B0604020202020204" pitchFamily="34" charset="0"/>
              </a:rPr>
              <a:t> </a:t>
            </a:r>
            <a:r>
              <a:rPr lang="en-US" sz="1050" b="1" kern="0" dirty="0">
                <a:solidFill>
                  <a:prstClr val="black">
                    <a:lumMod val="85000"/>
                    <a:lumOff val="15000"/>
                  </a:prstClr>
                </a:solidFill>
                <a:latin typeface="Arial" panose="020B0604020202020204" pitchFamily="34" charset="0"/>
                <a:cs typeface="Arial" panose="020B0604020202020204" pitchFamily="34" charset="0"/>
              </a:rPr>
              <a:t>in Annexure II</a:t>
            </a:r>
            <a:r>
              <a:rPr lang="en-US" sz="1050" kern="0" dirty="0">
                <a:solidFill>
                  <a:prstClr val="black">
                    <a:lumMod val="85000"/>
                    <a:lumOff val="15000"/>
                  </a:prstClr>
                </a:solidFill>
                <a:latin typeface="Arial" panose="020B0604020202020204" pitchFamily="34" charset="0"/>
                <a:cs typeface="Arial" panose="020B0604020202020204" pitchFamily="34" charset="0"/>
              </a:rPr>
              <a:t>)</a:t>
            </a:r>
          </a:p>
          <a:p>
            <a:pPr marL="171450" lvl="1" indent="-171450" algn="just" defTabSz="1027070" eaLnBrk="0" hangingPunct="0">
              <a:lnSpc>
                <a:spcPct val="105000"/>
              </a:lnSpc>
              <a:spcBef>
                <a:spcPts val="300"/>
              </a:spcBef>
              <a:spcAft>
                <a:spcPts val="300"/>
              </a:spcAft>
              <a:buClr>
                <a:srgbClr val="53565A"/>
              </a:buClr>
              <a:buFont typeface="Arial" panose="020B0604020202020204" pitchFamily="34" charset="0"/>
              <a:buChar char="•"/>
              <a:defRPr/>
            </a:pPr>
            <a:r>
              <a:rPr lang="en-US" sz="1050" b="1" kern="0" dirty="0">
                <a:solidFill>
                  <a:prstClr val="black">
                    <a:lumMod val="85000"/>
                    <a:lumOff val="15000"/>
                  </a:prstClr>
                </a:solidFill>
                <a:latin typeface="Arial" panose="020B0604020202020204" pitchFamily="34" charset="0"/>
                <a:cs typeface="Arial" panose="020B0604020202020204" pitchFamily="34" charset="0"/>
              </a:rPr>
              <a:t>Positions less amenable to standardization :</a:t>
            </a:r>
            <a:r>
              <a:rPr lang="en-US" sz="1050" kern="0" dirty="0">
                <a:solidFill>
                  <a:prstClr val="black">
                    <a:lumMod val="85000"/>
                    <a:lumOff val="15000"/>
                  </a:prstClr>
                </a:solidFill>
                <a:latin typeface="Arial" panose="020B0604020202020204" pitchFamily="34" charset="0"/>
                <a:cs typeface="Arial" panose="020B0604020202020204" pitchFamily="34" charset="0"/>
              </a:rPr>
              <a:t> Explicit or embedded options (Swaptions, cap / floors etc.) that are excluded from this step and considered as part of Stage 4 </a:t>
            </a:r>
          </a:p>
          <a:p>
            <a:pPr marL="171450" lvl="1" indent="-171450" algn="just" defTabSz="1027070" eaLnBrk="0" hangingPunct="0">
              <a:lnSpc>
                <a:spcPct val="105000"/>
              </a:lnSpc>
              <a:spcBef>
                <a:spcPts val="300"/>
              </a:spcBef>
              <a:buClr>
                <a:srgbClr val="53565A"/>
              </a:buClr>
              <a:buFont typeface="Arial" panose="020B0604020202020204" pitchFamily="34" charset="0"/>
              <a:buChar char="•"/>
              <a:defRPr/>
            </a:pPr>
            <a:r>
              <a:rPr lang="en-US" sz="1050" b="1" kern="0" dirty="0">
                <a:solidFill>
                  <a:prstClr val="black">
                    <a:lumMod val="85000"/>
                    <a:lumOff val="15000"/>
                  </a:prstClr>
                </a:solidFill>
                <a:latin typeface="Arial" panose="020B0604020202020204" pitchFamily="34" charset="0"/>
                <a:cs typeface="Arial" panose="020B0604020202020204" pitchFamily="34" charset="0"/>
              </a:rPr>
              <a:t>Positions that are not amenable to standardization: </a:t>
            </a:r>
            <a:r>
              <a:rPr lang="en-US" sz="1050" kern="0" dirty="0">
                <a:solidFill>
                  <a:prstClr val="black">
                    <a:lumMod val="85000"/>
                    <a:lumOff val="15000"/>
                  </a:prstClr>
                </a:solidFill>
                <a:latin typeface="Arial" panose="020B0604020202020204" pitchFamily="34" charset="0"/>
                <a:cs typeface="Arial" panose="020B0604020202020204" pitchFamily="34" charset="0"/>
              </a:rPr>
              <a:t>Separate treatment for:</a:t>
            </a:r>
          </a:p>
          <a:p>
            <a:pPr marL="628650" lvl="2" indent="-171450" algn="just" defTabSz="1027070" eaLnBrk="0" hangingPunct="0">
              <a:lnSpc>
                <a:spcPct val="105000"/>
              </a:lnSpc>
              <a:spcBef>
                <a:spcPts val="300"/>
              </a:spcBef>
              <a:buClr>
                <a:srgbClr val="53565A"/>
              </a:buClr>
              <a:buFont typeface="Wingdings" panose="05000000000000000000" pitchFamily="2" charset="2"/>
              <a:buChar char="Ø"/>
              <a:defRPr/>
            </a:pPr>
            <a:r>
              <a:rPr lang="en-US" sz="1050" kern="0" dirty="0">
                <a:solidFill>
                  <a:prstClr val="black">
                    <a:lumMod val="85000"/>
                    <a:lumOff val="15000"/>
                  </a:prstClr>
                </a:solidFill>
                <a:latin typeface="Arial" panose="020B0604020202020204" pitchFamily="34" charset="0"/>
                <a:cs typeface="Arial" panose="020B0604020202020204" pitchFamily="34" charset="0"/>
              </a:rPr>
              <a:t>(a) NMDs</a:t>
            </a:r>
          </a:p>
          <a:p>
            <a:pPr marL="628650" lvl="2" indent="-171450" algn="just" defTabSz="1027070" eaLnBrk="0" hangingPunct="0">
              <a:lnSpc>
                <a:spcPct val="105000"/>
              </a:lnSpc>
              <a:spcBef>
                <a:spcPts val="300"/>
              </a:spcBef>
              <a:buClr>
                <a:srgbClr val="53565A"/>
              </a:buClr>
              <a:buFont typeface="Wingdings" panose="05000000000000000000" pitchFamily="2" charset="2"/>
              <a:buChar char="Ø"/>
              <a:defRPr/>
            </a:pPr>
            <a:r>
              <a:rPr lang="en-US" sz="1050" kern="0" dirty="0">
                <a:solidFill>
                  <a:prstClr val="black">
                    <a:lumMod val="85000"/>
                    <a:lumOff val="15000"/>
                  </a:prstClr>
                </a:solidFill>
                <a:latin typeface="Arial" panose="020B0604020202020204" pitchFamily="34" charset="0"/>
                <a:cs typeface="Arial" panose="020B0604020202020204" pitchFamily="34" charset="0"/>
              </a:rPr>
              <a:t>(b) Fixed Rate Loans with prepayment risk </a:t>
            </a:r>
          </a:p>
          <a:p>
            <a:pPr marL="628650" lvl="2" indent="-171450" algn="just" defTabSz="1027070" eaLnBrk="0" hangingPunct="0">
              <a:lnSpc>
                <a:spcPct val="105000"/>
              </a:lnSpc>
              <a:spcBef>
                <a:spcPts val="300"/>
              </a:spcBef>
              <a:buClr>
                <a:srgbClr val="53565A"/>
              </a:buClr>
              <a:buFont typeface="Wingdings" panose="05000000000000000000" pitchFamily="2" charset="2"/>
              <a:buChar char="Ø"/>
              <a:defRPr/>
            </a:pPr>
            <a:r>
              <a:rPr lang="en-US" sz="1050" kern="0" dirty="0">
                <a:solidFill>
                  <a:prstClr val="black">
                    <a:lumMod val="85000"/>
                    <a:lumOff val="15000"/>
                  </a:prstClr>
                </a:solidFill>
                <a:latin typeface="Arial" panose="020B0604020202020204" pitchFamily="34" charset="0"/>
                <a:cs typeface="Arial" panose="020B0604020202020204" pitchFamily="34" charset="0"/>
              </a:rPr>
              <a:t>(b) Term Deposits with early redemption risk </a:t>
            </a:r>
          </a:p>
        </p:txBody>
      </p:sp>
      <p:sp>
        <p:nvSpPr>
          <p:cNvPr id="30" name="Rectangle 29">
            <a:extLst>
              <a:ext uri="{FF2B5EF4-FFF2-40B4-BE49-F238E27FC236}">
                <a16:creationId xmlns:a16="http://schemas.microsoft.com/office/drawing/2014/main" id="{61551E1B-9129-4F47-99F0-CC0377A52696}"/>
              </a:ext>
            </a:extLst>
          </p:cNvPr>
          <p:cNvSpPr/>
          <p:nvPr/>
        </p:nvSpPr>
        <p:spPr>
          <a:xfrm>
            <a:off x="7071695" y="1805915"/>
            <a:ext cx="4852226" cy="1527726"/>
          </a:xfrm>
          <a:prstGeom prst="rect">
            <a:avLst/>
          </a:prstGeom>
          <a:noFill/>
        </p:spPr>
        <p:txBody>
          <a:bodyPr wrap="square">
            <a:spAutoFit/>
          </a:bodyPr>
          <a:lstStyle/>
          <a:p>
            <a:pPr lvl="1" indent="-914400" defTabSz="1027070" eaLnBrk="0" hangingPunct="0">
              <a:lnSpc>
                <a:spcPct val="105000"/>
              </a:lnSpc>
              <a:spcBef>
                <a:spcPts val="300"/>
              </a:spcBef>
              <a:spcAft>
                <a:spcPts val="400"/>
              </a:spcAft>
              <a:buClr>
                <a:srgbClr val="53565A"/>
              </a:buClr>
              <a:defRPr/>
            </a:pPr>
            <a:r>
              <a:rPr lang="en-GB" sz="1200" b="1" kern="0" dirty="0">
                <a:solidFill>
                  <a:prstClr val="black"/>
                </a:solidFill>
                <a:latin typeface="Arial" panose="020B0604020202020204" pitchFamily="34" charset="0"/>
                <a:cs typeface="Arial" panose="020B0604020202020204" pitchFamily="34" charset="0"/>
              </a:rPr>
              <a:t>Stage 3 – Calculation of EVE (Without AIRO Adjustment) </a:t>
            </a:r>
          </a:p>
          <a:p>
            <a:pPr marL="0" lvl="1" algn="just" defTabSz="1027070" eaLnBrk="0" hangingPunct="0">
              <a:lnSpc>
                <a:spcPct val="105000"/>
              </a:lnSpc>
              <a:spcBef>
                <a:spcPts val="600"/>
              </a:spcBef>
              <a:spcAft>
                <a:spcPts val="300"/>
              </a:spcAft>
              <a:buClr>
                <a:srgbClr val="53565A"/>
              </a:buClr>
              <a:defRPr/>
            </a:pPr>
            <a:r>
              <a:rPr lang="en-US" sz="1100" kern="0" dirty="0">
                <a:solidFill>
                  <a:prstClr val="black">
                    <a:lumMod val="85000"/>
                    <a:lumOff val="15000"/>
                  </a:prstClr>
                </a:solidFill>
                <a:latin typeface="Arial" panose="020B0604020202020204" pitchFamily="34" charset="0"/>
                <a:cs typeface="Arial" panose="020B0604020202020204" pitchFamily="34" charset="0"/>
              </a:rPr>
              <a:t>Determination of  </a:t>
            </a:r>
            <a:r>
              <a:rPr lang="el-GR" sz="1100" kern="0" dirty="0">
                <a:solidFill>
                  <a:prstClr val="black">
                    <a:lumMod val="85000"/>
                    <a:lumOff val="15000"/>
                  </a:prstClr>
                </a:solidFill>
                <a:latin typeface="Arial" panose="020B0604020202020204" pitchFamily="34" charset="0"/>
                <a:cs typeface="Arial" panose="020B0604020202020204" pitchFamily="34" charset="0"/>
              </a:rPr>
              <a:t>Δ</a:t>
            </a:r>
            <a:r>
              <a:rPr lang="en-IN" sz="1100" kern="0" dirty="0">
                <a:solidFill>
                  <a:prstClr val="black">
                    <a:lumMod val="85000"/>
                    <a:lumOff val="15000"/>
                  </a:prstClr>
                </a:solidFill>
                <a:latin typeface="Arial" panose="020B0604020202020204" pitchFamily="34" charset="0"/>
                <a:cs typeface="Arial" panose="020B0604020202020204" pitchFamily="34" charset="0"/>
              </a:rPr>
              <a:t> </a:t>
            </a:r>
            <a:r>
              <a:rPr lang="en-US" sz="1100" kern="0" dirty="0">
                <a:solidFill>
                  <a:prstClr val="black">
                    <a:lumMod val="85000"/>
                    <a:lumOff val="15000"/>
                  </a:prstClr>
                </a:solidFill>
                <a:latin typeface="Arial" panose="020B0604020202020204" pitchFamily="34" charset="0"/>
                <a:cs typeface="Arial" panose="020B0604020202020204" pitchFamily="34" charset="0"/>
              </a:rPr>
              <a:t>EVE for relevant interest rate shock scenarios for each currency. The </a:t>
            </a:r>
            <a:r>
              <a:rPr lang="el-GR" sz="1100" kern="0" dirty="0">
                <a:solidFill>
                  <a:prstClr val="black">
                    <a:lumMod val="85000"/>
                    <a:lumOff val="15000"/>
                  </a:prstClr>
                </a:solidFill>
                <a:latin typeface="Arial" panose="020B0604020202020204" pitchFamily="34" charset="0"/>
                <a:cs typeface="Arial" panose="020B0604020202020204" pitchFamily="34" charset="0"/>
              </a:rPr>
              <a:t>Δ</a:t>
            </a:r>
            <a:r>
              <a:rPr lang="en-IN" sz="1100" kern="0" dirty="0">
                <a:solidFill>
                  <a:prstClr val="black">
                    <a:lumMod val="85000"/>
                    <a:lumOff val="15000"/>
                  </a:prstClr>
                </a:solidFill>
                <a:latin typeface="Arial" panose="020B0604020202020204" pitchFamily="34" charset="0"/>
                <a:cs typeface="Arial" panose="020B0604020202020204" pitchFamily="34" charset="0"/>
              </a:rPr>
              <a:t> </a:t>
            </a:r>
            <a:r>
              <a:rPr lang="en-US" sz="1100" kern="0" dirty="0">
                <a:solidFill>
                  <a:prstClr val="black">
                    <a:lumMod val="85000"/>
                    <a:lumOff val="15000"/>
                  </a:prstClr>
                </a:solidFill>
                <a:latin typeface="Arial" panose="020B0604020202020204" pitchFamily="34" charset="0"/>
                <a:cs typeface="Arial" panose="020B0604020202020204" pitchFamily="34" charset="0"/>
              </a:rPr>
              <a:t>EVE is measured per currency for all six prescribed interest rate shock scenarios.</a:t>
            </a:r>
            <a:endParaRPr lang="en-GB" sz="11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753E1A17-902C-4C06-9857-4D8E86B08410}"/>
              </a:ext>
            </a:extLst>
          </p:cNvPr>
          <p:cNvSpPr/>
          <p:nvPr/>
        </p:nvSpPr>
        <p:spPr>
          <a:xfrm>
            <a:off x="7129721" y="4995359"/>
            <a:ext cx="4852226" cy="1527726"/>
          </a:xfrm>
          <a:prstGeom prst="rect">
            <a:avLst/>
          </a:prstGeom>
          <a:noFill/>
        </p:spPr>
        <p:txBody>
          <a:bodyPr wrap="square">
            <a:spAutoFit/>
          </a:bodyPr>
          <a:lstStyle/>
          <a:p>
            <a:pPr lvl="1" indent="-914400" defTabSz="1027070" eaLnBrk="0" hangingPunct="0">
              <a:lnSpc>
                <a:spcPct val="105000"/>
              </a:lnSpc>
              <a:spcBef>
                <a:spcPts val="300"/>
              </a:spcBef>
              <a:spcAft>
                <a:spcPts val="400"/>
              </a:spcAft>
              <a:buClr>
                <a:srgbClr val="53565A"/>
              </a:buClr>
              <a:defRPr/>
            </a:pPr>
            <a:r>
              <a:rPr lang="en-GB" sz="1200" b="1" kern="0" dirty="0">
                <a:solidFill>
                  <a:prstClr val="black"/>
                </a:solidFill>
                <a:latin typeface="Arial" panose="020B0604020202020204" pitchFamily="34" charset="0"/>
                <a:cs typeface="Arial" panose="020B0604020202020204" pitchFamily="34" charset="0"/>
              </a:rPr>
              <a:t>Stage 5– Calculation of Standardised EVE measure </a:t>
            </a:r>
          </a:p>
          <a:p>
            <a:pPr marL="0" lvl="1" algn="just" defTabSz="1027070" eaLnBrk="0" hangingPunct="0">
              <a:lnSpc>
                <a:spcPct val="105000"/>
              </a:lnSpc>
              <a:spcBef>
                <a:spcPts val="600"/>
              </a:spcBef>
              <a:spcAft>
                <a:spcPts val="300"/>
              </a:spcAft>
              <a:buClr>
                <a:srgbClr val="53565A"/>
              </a:buClr>
              <a:defRPr/>
            </a:pPr>
            <a:r>
              <a:rPr lang="en-US" sz="1100" kern="0" dirty="0">
                <a:solidFill>
                  <a:prstClr val="black">
                    <a:lumMod val="85000"/>
                    <a:lumOff val="15000"/>
                  </a:prstClr>
                </a:solidFill>
                <a:latin typeface="Arial" panose="020B0604020202020204" pitchFamily="34" charset="0"/>
                <a:cs typeface="Arial" panose="020B0604020202020204" pitchFamily="34" charset="0"/>
              </a:rPr>
              <a:t>The </a:t>
            </a:r>
            <a:r>
              <a:rPr lang="el-GR" sz="1100" kern="0" dirty="0">
                <a:solidFill>
                  <a:prstClr val="black">
                    <a:lumMod val="85000"/>
                    <a:lumOff val="15000"/>
                  </a:prstClr>
                </a:solidFill>
                <a:latin typeface="Arial" panose="020B0604020202020204" pitchFamily="34" charset="0"/>
                <a:cs typeface="Arial" panose="020B0604020202020204" pitchFamily="34" charset="0"/>
              </a:rPr>
              <a:t>Δ</a:t>
            </a:r>
            <a:r>
              <a:rPr lang="en-IN" sz="1100" kern="0" dirty="0">
                <a:solidFill>
                  <a:prstClr val="black">
                    <a:lumMod val="85000"/>
                    <a:lumOff val="15000"/>
                  </a:prstClr>
                </a:solidFill>
                <a:latin typeface="Arial" panose="020B0604020202020204" pitchFamily="34" charset="0"/>
                <a:cs typeface="Arial" panose="020B0604020202020204" pitchFamily="34" charset="0"/>
              </a:rPr>
              <a:t> </a:t>
            </a:r>
            <a:r>
              <a:rPr lang="en-US" sz="1100" kern="0" dirty="0">
                <a:solidFill>
                  <a:prstClr val="black">
                    <a:lumMod val="85000"/>
                    <a:lumOff val="15000"/>
                  </a:prstClr>
                </a:solidFill>
                <a:latin typeface="Arial" panose="020B0604020202020204" pitchFamily="34" charset="0"/>
                <a:cs typeface="Arial" panose="020B0604020202020204" pitchFamily="34" charset="0"/>
              </a:rPr>
              <a:t>EVE under the standardized framework will be the maximum of the worst aggregated reductions to EVE across the six supervisory prescribed interest rate shocks. (Refer to Annexure IV)</a:t>
            </a:r>
            <a:endParaRPr lang="en-GB" sz="11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D4B12494-7531-4131-94F7-C512023ECFD6}"/>
              </a:ext>
            </a:extLst>
          </p:cNvPr>
          <p:cNvSpPr/>
          <p:nvPr/>
        </p:nvSpPr>
        <p:spPr>
          <a:xfrm>
            <a:off x="7117051" y="3187144"/>
            <a:ext cx="4852226" cy="1814728"/>
          </a:xfrm>
          <a:prstGeom prst="rect">
            <a:avLst/>
          </a:prstGeom>
          <a:noFill/>
        </p:spPr>
        <p:txBody>
          <a:bodyPr wrap="square">
            <a:spAutoFit/>
          </a:bodyPr>
          <a:lstStyle/>
          <a:p>
            <a:pPr lvl="1" indent="-914400" defTabSz="1027070" eaLnBrk="0" hangingPunct="0">
              <a:lnSpc>
                <a:spcPct val="105000"/>
              </a:lnSpc>
              <a:spcBef>
                <a:spcPts val="300"/>
              </a:spcBef>
              <a:spcAft>
                <a:spcPts val="400"/>
              </a:spcAft>
              <a:buClr>
                <a:srgbClr val="53565A"/>
              </a:buClr>
              <a:defRPr/>
            </a:pPr>
            <a:r>
              <a:rPr lang="en-GB" sz="1200" b="1" kern="0" dirty="0">
                <a:solidFill>
                  <a:prstClr val="black"/>
                </a:solidFill>
                <a:latin typeface="Arial" panose="020B0604020202020204" pitchFamily="34" charset="0"/>
                <a:cs typeface="Arial" panose="020B0604020202020204" pitchFamily="34" charset="0"/>
              </a:rPr>
              <a:t>Stage 4– Calculation of Δ EVE (With AIRO Adjustment) </a:t>
            </a:r>
          </a:p>
          <a:p>
            <a:pPr marL="0" lvl="1" indent="-171450" algn="just" defTabSz="1027070" eaLnBrk="0" hangingPunct="0">
              <a:lnSpc>
                <a:spcPct val="105000"/>
              </a:lnSpc>
              <a:spcBef>
                <a:spcPts val="600"/>
              </a:spcBef>
              <a:spcAft>
                <a:spcPts val="300"/>
              </a:spcAft>
              <a:buClr>
                <a:srgbClr val="53565A"/>
              </a:buClr>
              <a:buFont typeface="Arial" panose="020B0604020202020204" pitchFamily="34" charset="0"/>
              <a:buChar char="•"/>
              <a:defRPr/>
            </a:pPr>
            <a:r>
              <a:rPr lang="en-US" sz="1100" kern="0" dirty="0">
                <a:solidFill>
                  <a:prstClr val="black">
                    <a:lumMod val="85000"/>
                    <a:lumOff val="15000"/>
                  </a:prstClr>
                </a:solidFill>
                <a:latin typeface="Arial" panose="020B0604020202020204" pitchFamily="34" charset="0"/>
                <a:cs typeface="Arial" panose="020B0604020202020204" pitchFamily="34" charset="0"/>
              </a:rPr>
              <a:t>Explicit and embedded options excluded in Stage 1 are revalued under each interest rate shock scenario</a:t>
            </a:r>
          </a:p>
          <a:p>
            <a:pPr marL="0" lvl="1" indent="-171450" algn="just" defTabSz="1027070" eaLnBrk="0" hangingPunct="0">
              <a:lnSpc>
                <a:spcPct val="105000"/>
              </a:lnSpc>
              <a:spcBef>
                <a:spcPts val="600"/>
              </a:spcBef>
              <a:spcAft>
                <a:spcPts val="300"/>
              </a:spcAft>
              <a:buClr>
                <a:srgbClr val="53565A"/>
              </a:buClr>
              <a:buFont typeface="Arial" panose="020B0604020202020204" pitchFamily="34" charset="0"/>
              <a:buChar char="•"/>
              <a:defRPr/>
            </a:pPr>
            <a:r>
              <a:rPr lang="en-US" sz="1100" kern="0" dirty="0">
                <a:solidFill>
                  <a:prstClr val="black">
                    <a:lumMod val="85000"/>
                    <a:lumOff val="15000"/>
                  </a:prstClr>
                </a:solidFill>
                <a:latin typeface="Arial" panose="020B0604020202020204" pitchFamily="34" charset="0"/>
                <a:cs typeface="Arial" panose="020B0604020202020204" pitchFamily="34" charset="0"/>
              </a:rPr>
              <a:t>Add-ons for changes in the value of automatic interest rate options (whether explicit or embedded) are added to the EVE measure under each interest rate shock scenario on a per currency basis. </a:t>
            </a:r>
          </a:p>
          <a:p>
            <a:pPr marL="171450" lvl="1" indent="-171450" defTabSz="1027070" eaLnBrk="0" hangingPunct="0">
              <a:lnSpc>
                <a:spcPct val="105000"/>
              </a:lnSpc>
              <a:spcBef>
                <a:spcPts val="300"/>
              </a:spcBef>
              <a:buClr>
                <a:srgbClr val="53565A"/>
              </a:buClr>
              <a:buFont typeface="Arial" panose="020B0604020202020204" pitchFamily="34" charset="0"/>
              <a:buChar char="•"/>
              <a:defRPr/>
            </a:pPr>
            <a:endParaRPr lang="en-US" sz="900" kern="0" dirty="0">
              <a:solidFill>
                <a:prstClr val="black">
                  <a:lumMod val="85000"/>
                  <a:lumOff val="15000"/>
                </a:prstClr>
              </a:solidFill>
              <a:latin typeface="Arial" panose="020B0604020202020204" pitchFamily="34" charset="0"/>
              <a:cs typeface="Arial" panose="020B0604020202020204" pitchFamily="34" charset="0"/>
            </a:endParaRPr>
          </a:p>
          <a:p>
            <a:pPr marL="0" lvl="1" defTabSz="1027070" eaLnBrk="0" hangingPunct="0">
              <a:lnSpc>
                <a:spcPct val="105000"/>
              </a:lnSpc>
              <a:spcBef>
                <a:spcPts val="300"/>
              </a:spcBef>
              <a:buClr>
                <a:srgbClr val="53565A"/>
              </a:buClr>
              <a:defRPr/>
            </a:pPr>
            <a:endParaRPr lang="en-GB" sz="900" kern="0" dirty="0">
              <a:solidFill>
                <a:prstClr val="black">
                  <a:lumMod val="85000"/>
                  <a:lumOff val="15000"/>
                </a:prstClr>
              </a:solidFill>
              <a:latin typeface="Arial" panose="020B0604020202020204" pitchFamily="34" charset="0"/>
              <a:cs typeface="Arial" panose="020B0604020202020204" pitchFamily="34" charset="0"/>
            </a:endParaRPr>
          </a:p>
        </p:txBody>
      </p:sp>
      <p:pic>
        <p:nvPicPr>
          <p:cNvPr id="39" name="Picture 38">
            <a:extLst>
              <a:ext uri="{FF2B5EF4-FFF2-40B4-BE49-F238E27FC236}">
                <a16:creationId xmlns:a16="http://schemas.microsoft.com/office/drawing/2014/main" id="{1054FD41-65F4-43EF-A159-705316171ADF}"/>
              </a:ext>
            </a:extLst>
          </p:cNvPr>
          <p:cNvPicPr>
            <a:picLocks noChangeAspect="1"/>
          </p:cNvPicPr>
          <p:nvPr/>
        </p:nvPicPr>
        <p:blipFill rotWithShape="1">
          <a:blip r:embed="rId6"/>
          <a:srcRect t="11658"/>
          <a:stretch/>
        </p:blipFill>
        <p:spPr>
          <a:xfrm>
            <a:off x="7080498" y="6012778"/>
            <a:ext cx="4834620" cy="576190"/>
          </a:xfrm>
          <a:prstGeom prst="rect">
            <a:avLst/>
          </a:prstGeom>
        </p:spPr>
      </p:pic>
      <p:cxnSp>
        <p:nvCxnSpPr>
          <p:cNvPr id="41" name="Straight Connector 40">
            <a:extLst>
              <a:ext uri="{FF2B5EF4-FFF2-40B4-BE49-F238E27FC236}">
                <a16:creationId xmlns:a16="http://schemas.microsoft.com/office/drawing/2014/main" id="{88FFC675-FAD0-4015-8D39-50F62E8D1A2D}"/>
              </a:ext>
            </a:extLst>
          </p:cNvPr>
          <p:cNvCxnSpPr/>
          <p:nvPr/>
        </p:nvCxnSpPr>
        <p:spPr>
          <a:xfrm>
            <a:off x="6974672" y="1774423"/>
            <a:ext cx="0" cy="4816238"/>
          </a:xfrm>
          <a:prstGeom prst="line">
            <a:avLst/>
          </a:prstGeom>
          <a:noFill/>
          <a:ln w="19050" cap="flat" cmpd="sng" algn="ctr">
            <a:solidFill>
              <a:sysClr val="windowText" lastClr="000000"/>
            </a:solidFill>
            <a:prstDash val="solid"/>
          </a:ln>
          <a:effectLst/>
        </p:spPr>
      </p:cxnSp>
      <p:sp>
        <p:nvSpPr>
          <p:cNvPr id="42" name="Rectangle 41">
            <a:extLst>
              <a:ext uri="{FF2B5EF4-FFF2-40B4-BE49-F238E27FC236}">
                <a16:creationId xmlns:a16="http://schemas.microsoft.com/office/drawing/2014/main" id="{AC286016-6017-47C2-B63A-230403D7A20A}"/>
              </a:ext>
            </a:extLst>
          </p:cNvPr>
          <p:cNvSpPr/>
          <p:nvPr/>
        </p:nvSpPr>
        <p:spPr bwMode="gray">
          <a:xfrm>
            <a:off x="2027872" y="2046849"/>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425E525C-6E2B-4FD8-847E-ABC0C812A46A}"/>
              </a:ext>
            </a:extLst>
          </p:cNvPr>
          <p:cNvSpPr/>
          <p:nvPr/>
        </p:nvSpPr>
        <p:spPr bwMode="gray">
          <a:xfrm>
            <a:off x="7170022" y="2045439"/>
            <a:ext cx="4709536" cy="0"/>
          </a:xfrm>
          <a:prstGeom prst="rect">
            <a:avLst/>
          </a:prstGeom>
          <a:solidFill>
            <a:srgbClr val="DEBF74"/>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2A2F67A7-AEB9-416A-A017-130D6FBBB926}"/>
              </a:ext>
            </a:extLst>
          </p:cNvPr>
          <p:cNvSpPr/>
          <p:nvPr/>
        </p:nvSpPr>
        <p:spPr bwMode="gray">
          <a:xfrm>
            <a:off x="7185303" y="1805403"/>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8EDC91A6-93CA-4310-ACCB-CB8EE60AA325}"/>
              </a:ext>
            </a:extLst>
          </p:cNvPr>
          <p:cNvSpPr/>
          <p:nvPr/>
        </p:nvSpPr>
        <p:spPr bwMode="gray">
          <a:xfrm>
            <a:off x="7154741" y="3198249"/>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39A54112-30CF-4FC3-B953-E927C24A3759}"/>
              </a:ext>
            </a:extLst>
          </p:cNvPr>
          <p:cNvSpPr/>
          <p:nvPr/>
        </p:nvSpPr>
        <p:spPr bwMode="gray">
          <a:xfrm>
            <a:off x="7172566" y="3435799"/>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1AC7544E-51C9-473B-9B0C-438FC9F5982A}"/>
              </a:ext>
            </a:extLst>
          </p:cNvPr>
          <p:cNvSpPr/>
          <p:nvPr/>
        </p:nvSpPr>
        <p:spPr bwMode="gray">
          <a:xfrm>
            <a:off x="7167154" y="4984253"/>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FB616D9D-A00E-44D9-90C4-14B6A7D37E9E}"/>
              </a:ext>
            </a:extLst>
          </p:cNvPr>
          <p:cNvSpPr/>
          <p:nvPr/>
        </p:nvSpPr>
        <p:spPr bwMode="gray">
          <a:xfrm>
            <a:off x="7182435" y="5222999"/>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ED5F9218-9683-4A17-B20E-A44478A73800}"/>
              </a:ext>
            </a:extLst>
          </p:cNvPr>
          <p:cNvSpPr/>
          <p:nvPr/>
        </p:nvSpPr>
        <p:spPr>
          <a:xfrm>
            <a:off x="2013843" y="1374385"/>
            <a:ext cx="9923395" cy="239363"/>
          </a:xfrm>
          <a:prstGeom prst="rect">
            <a:avLst/>
          </a:prstGeom>
          <a:solidFill>
            <a:srgbClr val="002060"/>
          </a:solidFill>
          <a:ln w="19050" algn="ctr">
            <a:noFill/>
            <a:miter lim="800000"/>
            <a:headEnd/>
            <a:tailEnd/>
          </a:ln>
        </p:spPr>
        <p:txBody>
          <a:bodyPr wrap="square" lIns="88900" tIns="88900" rIns="88900" bIns="88900" rtlCol="0" anchor="ctr"/>
          <a:lstStyle/>
          <a:p>
            <a:pPr algn="ctr">
              <a:lnSpc>
                <a:spcPct val="106000"/>
              </a:lnSpc>
            </a:pPr>
            <a:r>
              <a:rPr lang="en-GB" sz="1200" b="1" kern="0" dirty="0">
                <a:solidFill>
                  <a:schemeClr val="bg1"/>
                </a:solidFill>
                <a:latin typeface="Arial" panose="020B0604020202020204" pitchFamily="34" charset="0"/>
                <a:cs typeface="Arial" panose="020B0604020202020204" pitchFamily="34" charset="0"/>
              </a:rPr>
              <a:t>Stage-wise framework for calculation of Standardized EVE measure</a:t>
            </a:r>
          </a:p>
        </p:txBody>
      </p:sp>
      <p:grpSp>
        <p:nvGrpSpPr>
          <p:cNvPr id="7" name="Group 6">
            <a:extLst>
              <a:ext uri="{FF2B5EF4-FFF2-40B4-BE49-F238E27FC236}">
                <a16:creationId xmlns:a16="http://schemas.microsoft.com/office/drawing/2014/main" id="{01672F1B-0754-4086-9C1B-48FD62392F7B}"/>
              </a:ext>
            </a:extLst>
          </p:cNvPr>
          <p:cNvGrpSpPr/>
          <p:nvPr/>
        </p:nvGrpSpPr>
        <p:grpSpPr>
          <a:xfrm>
            <a:off x="2093051" y="2743199"/>
            <a:ext cx="4709535" cy="1104869"/>
            <a:chOff x="2093051" y="2548429"/>
            <a:chExt cx="4709535" cy="1299640"/>
          </a:xfrm>
        </p:grpSpPr>
        <p:cxnSp>
          <p:nvCxnSpPr>
            <p:cNvPr id="50" name="Straight Arrow Connector 49">
              <a:extLst>
                <a:ext uri="{FF2B5EF4-FFF2-40B4-BE49-F238E27FC236}">
                  <a16:creationId xmlns:a16="http://schemas.microsoft.com/office/drawing/2014/main" id="{163D966A-5BE6-4483-8E4F-EC25958B7A1A}"/>
                </a:ext>
              </a:extLst>
            </p:cNvPr>
            <p:cNvCxnSpPr>
              <a:cxnSpLocks/>
              <a:stCxn id="54" idx="2"/>
              <a:endCxn id="51" idx="0"/>
            </p:cNvCxnSpPr>
            <p:nvPr/>
          </p:nvCxnSpPr>
          <p:spPr>
            <a:xfrm>
              <a:off x="4470579" y="2938142"/>
              <a:ext cx="0" cy="515052"/>
            </a:xfrm>
            <a:prstGeom prst="straightConnector1">
              <a:avLst/>
            </a:prstGeom>
            <a:noFill/>
            <a:ln w="9525" cap="flat" cmpd="sng" algn="ctr">
              <a:solidFill>
                <a:srgbClr val="323232"/>
              </a:solidFill>
              <a:prstDash val="solid"/>
              <a:tailEnd type="triangle"/>
            </a:ln>
            <a:effectLst/>
          </p:spPr>
        </p:cxnSp>
        <p:sp>
          <p:nvSpPr>
            <p:cNvPr id="51" name="Rectangle 50">
              <a:extLst>
                <a:ext uri="{FF2B5EF4-FFF2-40B4-BE49-F238E27FC236}">
                  <a16:creationId xmlns:a16="http://schemas.microsoft.com/office/drawing/2014/main" id="{5C55A9C5-41F0-4CA6-B405-FD50EE6FFFDB}"/>
                </a:ext>
              </a:extLst>
            </p:cNvPr>
            <p:cNvSpPr/>
            <p:nvPr/>
          </p:nvSpPr>
          <p:spPr bwMode="gray">
            <a:xfrm>
              <a:off x="3765681" y="3453194"/>
              <a:ext cx="1409795" cy="3897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r>
                <a:rPr lang="en-IN" sz="1050" b="1" dirty="0">
                  <a:solidFill>
                    <a:prstClr val="black"/>
                  </a:solidFill>
                  <a:latin typeface="Verdana"/>
                </a:rPr>
                <a:t>Less Amenable</a:t>
              </a:r>
            </a:p>
          </p:txBody>
        </p:sp>
        <p:sp>
          <p:nvSpPr>
            <p:cNvPr id="52" name="Rectangle 51">
              <a:extLst>
                <a:ext uri="{FF2B5EF4-FFF2-40B4-BE49-F238E27FC236}">
                  <a16:creationId xmlns:a16="http://schemas.microsoft.com/office/drawing/2014/main" id="{CA1F9BCE-E3B5-4978-9DE9-882B137FA772}"/>
                </a:ext>
              </a:extLst>
            </p:cNvPr>
            <p:cNvSpPr/>
            <p:nvPr/>
          </p:nvSpPr>
          <p:spPr bwMode="gray">
            <a:xfrm>
              <a:off x="2093051" y="3444242"/>
              <a:ext cx="1409795" cy="39866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r>
                <a:rPr lang="en-IN" sz="1050" b="1" dirty="0">
                  <a:solidFill>
                    <a:prstClr val="black"/>
                  </a:solidFill>
                  <a:latin typeface="Verdana"/>
                </a:rPr>
                <a:t>Amenable</a:t>
              </a:r>
            </a:p>
          </p:txBody>
        </p:sp>
        <p:sp>
          <p:nvSpPr>
            <p:cNvPr id="53" name="Rectangle 52">
              <a:extLst>
                <a:ext uri="{FF2B5EF4-FFF2-40B4-BE49-F238E27FC236}">
                  <a16:creationId xmlns:a16="http://schemas.microsoft.com/office/drawing/2014/main" id="{789FE92D-A2AE-4B9E-B10C-850F8EDC886D}"/>
                </a:ext>
              </a:extLst>
            </p:cNvPr>
            <p:cNvSpPr/>
            <p:nvPr/>
          </p:nvSpPr>
          <p:spPr bwMode="gray">
            <a:xfrm>
              <a:off x="5392791" y="3449404"/>
              <a:ext cx="1409795" cy="39866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pPr>
              <a:r>
                <a:rPr lang="en-IN" sz="1050" b="1" dirty="0">
                  <a:solidFill>
                    <a:prstClr val="black"/>
                  </a:solidFill>
                  <a:latin typeface="Verdana"/>
                </a:rPr>
                <a:t>Not Amenable</a:t>
              </a:r>
            </a:p>
          </p:txBody>
        </p:sp>
        <p:sp>
          <p:nvSpPr>
            <p:cNvPr id="54" name="Rectangle 53">
              <a:extLst>
                <a:ext uri="{FF2B5EF4-FFF2-40B4-BE49-F238E27FC236}">
                  <a16:creationId xmlns:a16="http://schemas.microsoft.com/office/drawing/2014/main" id="{E4E852AC-ABDF-4A4D-A547-2723F9640190}"/>
                </a:ext>
              </a:extLst>
            </p:cNvPr>
            <p:cNvSpPr/>
            <p:nvPr/>
          </p:nvSpPr>
          <p:spPr bwMode="gray">
            <a:xfrm>
              <a:off x="3765681" y="2548429"/>
              <a:ext cx="1409795" cy="38971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050" b="1" dirty="0">
                  <a:solidFill>
                    <a:prstClr val="black"/>
                  </a:solidFill>
                  <a:latin typeface="Verdana"/>
                </a:rPr>
                <a:t>Banking Book</a:t>
              </a:r>
            </a:p>
          </p:txBody>
        </p:sp>
        <p:cxnSp>
          <p:nvCxnSpPr>
            <p:cNvPr id="55" name="Straight Arrow Connector 54">
              <a:extLst>
                <a:ext uri="{FF2B5EF4-FFF2-40B4-BE49-F238E27FC236}">
                  <a16:creationId xmlns:a16="http://schemas.microsoft.com/office/drawing/2014/main" id="{25497920-B91C-4C4D-81D3-EB0B5A8D0A54}"/>
                </a:ext>
              </a:extLst>
            </p:cNvPr>
            <p:cNvCxnSpPr>
              <a:cxnSpLocks/>
              <a:stCxn id="54" idx="2"/>
              <a:endCxn id="52" idx="0"/>
            </p:cNvCxnSpPr>
            <p:nvPr/>
          </p:nvCxnSpPr>
          <p:spPr>
            <a:xfrm flipH="1">
              <a:off x="2797949" y="2938142"/>
              <a:ext cx="1672630" cy="506100"/>
            </a:xfrm>
            <a:prstGeom prst="straightConnector1">
              <a:avLst/>
            </a:prstGeom>
            <a:noFill/>
            <a:ln w="9525" cap="flat" cmpd="sng" algn="ctr">
              <a:solidFill>
                <a:srgbClr val="323232"/>
              </a:solidFill>
              <a:prstDash val="solid"/>
              <a:tailEnd type="triangle"/>
            </a:ln>
            <a:effectLst/>
          </p:spPr>
        </p:cxnSp>
        <p:cxnSp>
          <p:nvCxnSpPr>
            <p:cNvPr id="56" name="Straight Arrow Connector 55">
              <a:extLst>
                <a:ext uri="{FF2B5EF4-FFF2-40B4-BE49-F238E27FC236}">
                  <a16:creationId xmlns:a16="http://schemas.microsoft.com/office/drawing/2014/main" id="{6F6F88B5-D533-4E86-A0B6-4B670632DE30}"/>
                </a:ext>
              </a:extLst>
            </p:cNvPr>
            <p:cNvCxnSpPr>
              <a:cxnSpLocks/>
              <a:stCxn id="54" idx="2"/>
              <a:endCxn id="53" idx="0"/>
            </p:cNvCxnSpPr>
            <p:nvPr/>
          </p:nvCxnSpPr>
          <p:spPr>
            <a:xfrm>
              <a:off x="4470579" y="2938142"/>
              <a:ext cx="1627110" cy="511264"/>
            </a:xfrm>
            <a:prstGeom prst="straightConnector1">
              <a:avLst/>
            </a:prstGeom>
            <a:noFill/>
            <a:ln w="9525" cap="flat" cmpd="sng" algn="ctr">
              <a:solidFill>
                <a:srgbClr val="323232"/>
              </a:solidFill>
              <a:prstDash val="solid"/>
              <a:tailEnd type="triangle"/>
            </a:ln>
            <a:effectLst/>
          </p:spPr>
        </p:cxnSp>
      </p:grpSp>
      <p:sp>
        <p:nvSpPr>
          <p:cNvPr id="57" name="Rectangle 56">
            <a:extLst>
              <a:ext uri="{FF2B5EF4-FFF2-40B4-BE49-F238E27FC236}">
                <a16:creationId xmlns:a16="http://schemas.microsoft.com/office/drawing/2014/main" id="{4F5CF786-AEE4-4345-A757-D71C2C4E356E}"/>
              </a:ext>
            </a:extLst>
          </p:cNvPr>
          <p:cNvSpPr/>
          <p:nvPr/>
        </p:nvSpPr>
        <p:spPr bwMode="gray">
          <a:xfrm>
            <a:off x="2122407" y="4089032"/>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D7C91814-0BEC-46E3-A103-95A88FF9ECC1}"/>
              </a:ext>
            </a:extLst>
          </p:cNvPr>
          <p:cNvSpPr/>
          <p:nvPr/>
        </p:nvSpPr>
        <p:spPr bwMode="gray">
          <a:xfrm>
            <a:off x="2140233" y="4326582"/>
            <a:ext cx="4709536" cy="0"/>
          </a:xfrm>
          <a:prstGeom prst="rect">
            <a:avLst/>
          </a:prstGeom>
          <a:solidFill>
            <a:srgbClr val="86BC25"/>
          </a:solidFill>
          <a:ln w="381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defRPr/>
            </a:pPr>
            <a:endParaRPr lang="en-GB" sz="1600" b="1" kern="0" dirty="0">
              <a:solidFill>
                <a:prstClr val="white"/>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11E581D5-4285-47B5-89A5-40CC5502D2DD}"/>
              </a:ext>
            </a:extLst>
          </p:cNvPr>
          <p:cNvPicPr>
            <a:picLocks noChangeAspect="1"/>
          </p:cNvPicPr>
          <p:nvPr/>
        </p:nvPicPr>
        <p:blipFill>
          <a:blip r:embed="rId7"/>
          <a:stretch>
            <a:fillRect/>
          </a:stretch>
        </p:blipFill>
        <p:spPr>
          <a:xfrm>
            <a:off x="7366384" y="4377303"/>
            <a:ext cx="4286250" cy="455275"/>
          </a:xfrm>
          <a:prstGeom prst="rect">
            <a:avLst/>
          </a:prstGeom>
        </p:spPr>
      </p:pic>
      <p:pic>
        <p:nvPicPr>
          <p:cNvPr id="11" name="Picture 10">
            <a:extLst>
              <a:ext uri="{FF2B5EF4-FFF2-40B4-BE49-F238E27FC236}">
                <a16:creationId xmlns:a16="http://schemas.microsoft.com/office/drawing/2014/main" id="{C8A502B1-626C-4CD7-8708-787D9C166FFF}"/>
              </a:ext>
            </a:extLst>
          </p:cNvPr>
          <p:cNvPicPr>
            <a:picLocks noChangeAspect="1"/>
          </p:cNvPicPr>
          <p:nvPr/>
        </p:nvPicPr>
        <p:blipFill>
          <a:blip r:embed="rId8"/>
          <a:stretch>
            <a:fillRect/>
          </a:stretch>
        </p:blipFill>
        <p:spPr>
          <a:xfrm>
            <a:off x="7315200" y="2708251"/>
            <a:ext cx="1947859" cy="397839"/>
          </a:xfrm>
          <a:prstGeom prst="rect">
            <a:avLst/>
          </a:prstGeom>
        </p:spPr>
      </p:pic>
      <p:pic>
        <p:nvPicPr>
          <p:cNvPr id="13" name="Picture 12">
            <a:extLst>
              <a:ext uri="{FF2B5EF4-FFF2-40B4-BE49-F238E27FC236}">
                <a16:creationId xmlns:a16="http://schemas.microsoft.com/office/drawing/2014/main" id="{65F6DEC0-5DB2-4936-AD9D-0937D43FAFDB}"/>
              </a:ext>
            </a:extLst>
          </p:cNvPr>
          <p:cNvPicPr>
            <a:picLocks noChangeAspect="1"/>
          </p:cNvPicPr>
          <p:nvPr/>
        </p:nvPicPr>
        <p:blipFill>
          <a:blip r:embed="rId9"/>
          <a:stretch>
            <a:fillRect/>
          </a:stretch>
        </p:blipFill>
        <p:spPr>
          <a:xfrm>
            <a:off x="9663664" y="2743057"/>
            <a:ext cx="1565670" cy="331451"/>
          </a:xfrm>
          <a:prstGeom prst="rect">
            <a:avLst/>
          </a:prstGeom>
        </p:spPr>
      </p:pic>
    </p:spTree>
    <p:extLst>
      <p:ext uri="{BB962C8B-B14F-4D97-AF65-F5344CB8AC3E}">
        <p14:creationId xmlns:p14="http://schemas.microsoft.com/office/powerpoint/2010/main" val="34255096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788918" y="302001"/>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1 – Allocation of positions in the banking book</a:t>
            </a:r>
          </a:p>
        </p:txBody>
      </p:sp>
      <p:grpSp>
        <p:nvGrpSpPr>
          <p:cNvPr id="7" name="Group 6">
            <a:extLst>
              <a:ext uri="{FF2B5EF4-FFF2-40B4-BE49-F238E27FC236}">
                <a16:creationId xmlns:a16="http://schemas.microsoft.com/office/drawing/2014/main" id="{01672F1B-0754-4086-9C1B-48FD62392F7B}"/>
              </a:ext>
            </a:extLst>
          </p:cNvPr>
          <p:cNvGrpSpPr/>
          <p:nvPr/>
        </p:nvGrpSpPr>
        <p:grpSpPr>
          <a:xfrm>
            <a:off x="2110219" y="3566481"/>
            <a:ext cx="9197483" cy="766694"/>
            <a:chOff x="2097267" y="2548429"/>
            <a:chExt cx="4871174" cy="901850"/>
          </a:xfrm>
        </p:grpSpPr>
        <p:cxnSp>
          <p:nvCxnSpPr>
            <p:cNvPr id="50" name="Straight Arrow Connector 49">
              <a:extLst>
                <a:ext uri="{FF2B5EF4-FFF2-40B4-BE49-F238E27FC236}">
                  <a16:creationId xmlns:a16="http://schemas.microsoft.com/office/drawing/2014/main" id="{163D966A-5BE6-4483-8E4F-EC25958B7A1A}"/>
                </a:ext>
              </a:extLst>
            </p:cNvPr>
            <p:cNvCxnSpPr>
              <a:cxnSpLocks/>
              <a:stCxn id="54" idx="2"/>
              <a:endCxn id="61" idx="0"/>
            </p:cNvCxnSpPr>
            <p:nvPr/>
          </p:nvCxnSpPr>
          <p:spPr>
            <a:xfrm>
              <a:off x="4532854" y="2938141"/>
              <a:ext cx="9475" cy="512138"/>
            </a:xfrm>
            <a:prstGeom prst="straightConnector1">
              <a:avLst/>
            </a:prstGeom>
            <a:noFill/>
            <a:ln w="9525" cap="flat" cmpd="sng" algn="ctr">
              <a:solidFill>
                <a:srgbClr val="323232"/>
              </a:solidFill>
              <a:prstDash val="solid"/>
              <a:tailEnd type="triangle"/>
            </a:ln>
            <a:effectLst/>
          </p:spPr>
        </p:cxnSp>
        <p:sp>
          <p:nvSpPr>
            <p:cNvPr id="54" name="Rectangle 53">
              <a:extLst>
                <a:ext uri="{FF2B5EF4-FFF2-40B4-BE49-F238E27FC236}">
                  <a16:creationId xmlns:a16="http://schemas.microsoft.com/office/drawing/2014/main" id="{E4E852AC-ABDF-4A4D-A547-2723F9640190}"/>
                </a:ext>
              </a:extLst>
            </p:cNvPr>
            <p:cNvSpPr/>
            <p:nvPr/>
          </p:nvSpPr>
          <p:spPr bwMode="gray">
            <a:xfrm>
              <a:off x="2097267" y="2548429"/>
              <a:ext cx="4871174" cy="38971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2: Allocation of Positions in the Banking Book</a:t>
              </a:r>
            </a:p>
          </p:txBody>
        </p:sp>
        <p:cxnSp>
          <p:nvCxnSpPr>
            <p:cNvPr id="55" name="Straight Arrow Connector 54">
              <a:extLst>
                <a:ext uri="{FF2B5EF4-FFF2-40B4-BE49-F238E27FC236}">
                  <a16:creationId xmlns:a16="http://schemas.microsoft.com/office/drawing/2014/main" id="{25497920-B91C-4C4D-81D3-EB0B5A8D0A54}"/>
                </a:ext>
              </a:extLst>
            </p:cNvPr>
            <p:cNvCxnSpPr>
              <a:cxnSpLocks/>
              <a:stCxn id="54" idx="2"/>
            </p:cNvCxnSpPr>
            <p:nvPr/>
          </p:nvCxnSpPr>
          <p:spPr>
            <a:xfrm flipH="1">
              <a:off x="2797949" y="2938141"/>
              <a:ext cx="1734905" cy="506100"/>
            </a:xfrm>
            <a:prstGeom prst="straightConnector1">
              <a:avLst/>
            </a:prstGeom>
            <a:noFill/>
            <a:ln w="9525" cap="flat" cmpd="sng" algn="ctr">
              <a:solidFill>
                <a:srgbClr val="323232"/>
              </a:solidFill>
              <a:prstDash val="solid"/>
              <a:tailEnd type="triangle"/>
            </a:ln>
            <a:effectLst/>
          </p:spPr>
        </p:cxnSp>
        <p:cxnSp>
          <p:nvCxnSpPr>
            <p:cNvPr id="56" name="Straight Arrow Connector 55">
              <a:extLst>
                <a:ext uri="{FF2B5EF4-FFF2-40B4-BE49-F238E27FC236}">
                  <a16:creationId xmlns:a16="http://schemas.microsoft.com/office/drawing/2014/main" id="{6F6F88B5-D533-4E86-A0B6-4B670632DE30}"/>
                </a:ext>
              </a:extLst>
            </p:cNvPr>
            <p:cNvCxnSpPr>
              <a:cxnSpLocks/>
              <a:stCxn id="54" idx="2"/>
            </p:cNvCxnSpPr>
            <p:nvPr/>
          </p:nvCxnSpPr>
          <p:spPr>
            <a:xfrm>
              <a:off x="4532854" y="2938141"/>
              <a:ext cx="1564835" cy="511264"/>
            </a:xfrm>
            <a:prstGeom prst="straightConnector1">
              <a:avLst/>
            </a:prstGeom>
            <a:noFill/>
            <a:ln w="9525" cap="flat" cmpd="sng" algn="ctr">
              <a:solidFill>
                <a:srgbClr val="323232"/>
              </a:solidFill>
              <a:prstDash val="solid"/>
              <a:tailEnd type="triangle"/>
            </a:ln>
            <a:effectLst/>
          </p:spPr>
        </p:cxnSp>
      </p:grpSp>
      <p:sp>
        <p:nvSpPr>
          <p:cNvPr id="36" name="Rectangle 35">
            <a:extLst>
              <a:ext uri="{FF2B5EF4-FFF2-40B4-BE49-F238E27FC236}">
                <a16:creationId xmlns:a16="http://schemas.microsoft.com/office/drawing/2014/main" id="{71D31556-4B3E-476C-8997-53E5697FC53E}"/>
              </a:ext>
            </a:extLst>
          </p:cNvPr>
          <p:cNvSpPr/>
          <p:nvPr/>
        </p:nvSpPr>
        <p:spPr bwMode="gray">
          <a:xfrm>
            <a:off x="2145997" y="4865317"/>
            <a:ext cx="2868973" cy="1399486"/>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R="0" lvl="0" algn="ctr" defTabSz="457200" rtl="0" eaLnBrk="1" fontAlgn="auto" latinLnBrk="0" hangingPunct="1">
              <a:lnSpc>
                <a:spcPct val="106000"/>
              </a:lnSpc>
              <a:spcBef>
                <a:spcPts val="0"/>
              </a:spcBef>
              <a:spcAft>
                <a:spcPts val="0"/>
              </a:spcAft>
              <a:buClrTx/>
              <a:buSzTx/>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xed and floating rate positions </a:t>
            </a:r>
          </a:p>
          <a:p>
            <a:pPr marR="0" lvl="0" algn="ctr" defTabSz="457200" rtl="0" eaLnBrk="1" fontAlgn="auto" latinLnBrk="0" hangingPunct="1">
              <a:lnSpc>
                <a:spcPct val="106000"/>
              </a:lnSpc>
              <a:spcBef>
                <a:spcPts val="0"/>
              </a:spcBef>
              <a:spcAft>
                <a:spcPts val="0"/>
              </a:spcAft>
              <a:buClrTx/>
              <a:buSzTx/>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st stripping of embedded optionality, if any) </a:t>
            </a:r>
          </a:p>
        </p:txBody>
      </p:sp>
      <p:sp>
        <p:nvSpPr>
          <p:cNvPr id="37" name="Rectangle 36">
            <a:extLst>
              <a:ext uri="{FF2B5EF4-FFF2-40B4-BE49-F238E27FC236}">
                <a16:creationId xmlns:a16="http://schemas.microsoft.com/office/drawing/2014/main" id="{B336438D-69CC-4468-AFF5-7F1179558B37}"/>
              </a:ext>
            </a:extLst>
          </p:cNvPr>
          <p:cNvSpPr/>
          <p:nvPr/>
        </p:nvSpPr>
        <p:spPr bwMode="gray">
          <a:xfrm>
            <a:off x="8458200" y="4876800"/>
            <a:ext cx="2849503" cy="1387366"/>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lvl="0" indent="-171450" defTabSz="457200">
              <a:lnSpc>
                <a:spcPct val="106000"/>
              </a:lnSpc>
              <a:buFont typeface="Wingdings" panose="05000000000000000000" pitchFamily="2" charset="2"/>
              <a:buChar char="§"/>
              <a:defRPr/>
            </a:pPr>
            <a:r>
              <a:rPr lang="en-US" sz="1200" dirty="0">
                <a:solidFill>
                  <a:prstClr val="black"/>
                </a:solidFill>
                <a:latin typeface="Arial" panose="020B0604020202020204" pitchFamily="34" charset="0"/>
                <a:cs typeface="Arial" panose="020B0604020202020204" pitchFamily="34" charset="0"/>
              </a:rPr>
              <a:t>Stripped embedded automatic interest rate options</a:t>
            </a:r>
          </a:p>
          <a:p>
            <a:pPr marL="171450" lvl="0" indent="-171450" defTabSz="457200">
              <a:lnSpc>
                <a:spcPct val="106000"/>
              </a:lnSpc>
              <a:buFont typeface="Wingdings" panose="05000000000000000000" pitchFamily="2" charset="2"/>
              <a:buChar char="§"/>
              <a:defRPr/>
            </a:pPr>
            <a:r>
              <a:rPr lang="en-US" sz="1200" dirty="0">
                <a:solidFill>
                  <a:prstClr val="black"/>
                </a:solidFill>
                <a:latin typeface="Arial" panose="020B0604020202020204" pitchFamily="34" charset="0"/>
                <a:cs typeface="Arial" panose="020B0604020202020204" pitchFamily="34" charset="0"/>
              </a:rPr>
              <a:t>Explicit automatic interest rate options</a:t>
            </a:r>
          </a:p>
          <a:p>
            <a:pPr marL="171450" lvl="0" indent="-171450" defTabSz="457200">
              <a:lnSpc>
                <a:spcPct val="106000"/>
              </a:lnSpc>
              <a:buFont typeface="Wingdings" panose="05000000000000000000" pitchFamily="2" charset="2"/>
              <a:buChar char="§"/>
              <a:defRPr/>
            </a:pPr>
            <a:r>
              <a:rPr lang="en-US" sz="1200" dirty="0">
                <a:solidFill>
                  <a:prstClr val="black"/>
                </a:solidFill>
                <a:latin typeface="Arial" panose="020B0604020202020204" pitchFamily="34" charset="0"/>
                <a:cs typeface="Arial" panose="020B0604020202020204" pitchFamily="34" charset="0"/>
              </a:rPr>
              <a:t>Wholesale behavioral options</a:t>
            </a:r>
          </a:p>
        </p:txBody>
      </p:sp>
      <p:sp>
        <p:nvSpPr>
          <p:cNvPr id="40" name="Rectangle 39">
            <a:extLst>
              <a:ext uri="{FF2B5EF4-FFF2-40B4-BE49-F238E27FC236}">
                <a16:creationId xmlns:a16="http://schemas.microsoft.com/office/drawing/2014/main" id="{46A774C6-7FC0-4BE3-805C-8B34C2E563C8}"/>
              </a:ext>
            </a:extLst>
          </p:cNvPr>
          <p:cNvSpPr/>
          <p:nvPr/>
        </p:nvSpPr>
        <p:spPr bwMode="gray">
          <a:xfrm>
            <a:off x="5293406" y="4864680"/>
            <a:ext cx="2872787" cy="1399487"/>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 maturing deposits (NMDs)</a:t>
            </a:r>
          </a:p>
          <a:p>
            <a:pPr marL="171450" marR="0" lvl="0" indent="-171450" defTabSz="4572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lang="en-US" sz="1200" dirty="0">
                <a:solidFill>
                  <a:prstClr val="black"/>
                </a:solidFill>
                <a:latin typeface="Arial" panose="020B0604020202020204" pitchFamily="34" charset="0"/>
                <a:cs typeface="Arial" panose="020B0604020202020204" pitchFamily="34" charset="0"/>
              </a:rPr>
              <a:t>Retail fixed rate term loans with prepayment risk </a:t>
            </a:r>
          </a:p>
          <a:p>
            <a:pPr marL="171450" marR="0" lvl="0" indent="-171450" defTabSz="4572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lang="en-US" sz="1200" dirty="0">
                <a:solidFill>
                  <a:prstClr val="black"/>
                </a:solidFill>
                <a:latin typeface="Arial" panose="020B0604020202020204" pitchFamily="34" charset="0"/>
                <a:cs typeface="Arial" panose="020B0604020202020204" pitchFamily="34" charset="0"/>
              </a:rPr>
              <a:t>Retail term deposits with early redemption risk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C8ABCF41-C4F9-4102-B96D-66372E084D81}"/>
              </a:ext>
            </a:extLst>
          </p:cNvPr>
          <p:cNvSpPr/>
          <p:nvPr/>
        </p:nvSpPr>
        <p:spPr bwMode="gray">
          <a:xfrm>
            <a:off x="2145997" y="4333175"/>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menable</a:t>
            </a:r>
          </a:p>
        </p:txBody>
      </p:sp>
      <p:sp>
        <p:nvSpPr>
          <p:cNvPr id="61" name="Rectangle 60">
            <a:extLst>
              <a:ext uri="{FF2B5EF4-FFF2-40B4-BE49-F238E27FC236}">
                <a16:creationId xmlns:a16="http://schemas.microsoft.com/office/drawing/2014/main" id="{5549F019-9518-41F2-AA0E-9EB910EAFBF8}"/>
              </a:ext>
            </a:extLst>
          </p:cNvPr>
          <p:cNvSpPr/>
          <p:nvPr/>
        </p:nvSpPr>
        <p:spPr bwMode="gray">
          <a:xfrm>
            <a:off x="5297233" y="4333175"/>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n amenable</a:t>
            </a:r>
          </a:p>
        </p:txBody>
      </p:sp>
      <p:sp>
        <p:nvSpPr>
          <p:cNvPr id="62" name="Rectangle 61">
            <a:extLst>
              <a:ext uri="{FF2B5EF4-FFF2-40B4-BE49-F238E27FC236}">
                <a16:creationId xmlns:a16="http://schemas.microsoft.com/office/drawing/2014/main" id="{578E5F95-55AE-403B-B005-6CE971F32697}"/>
              </a:ext>
            </a:extLst>
          </p:cNvPr>
          <p:cNvSpPr/>
          <p:nvPr/>
        </p:nvSpPr>
        <p:spPr bwMode="gray">
          <a:xfrm>
            <a:off x="8448467" y="4329264"/>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ss Amenable</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2110219" y="1535840"/>
            <a:ext cx="9197483" cy="33130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1:  Delineation of banking book from trading book </a:t>
            </a:r>
          </a:p>
        </p:txBody>
      </p:sp>
      <p:grpSp>
        <p:nvGrpSpPr>
          <p:cNvPr id="17" name="Group 16">
            <a:extLst>
              <a:ext uri="{FF2B5EF4-FFF2-40B4-BE49-F238E27FC236}">
                <a16:creationId xmlns:a16="http://schemas.microsoft.com/office/drawing/2014/main" id="{7441FFAE-1414-41ED-B6A2-61E7BC6F5B18}"/>
              </a:ext>
            </a:extLst>
          </p:cNvPr>
          <p:cNvGrpSpPr/>
          <p:nvPr/>
        </p:nvGrpSpPr>
        <p:grpSpPr>
          <a:xfrm>
            <a:off x="2110219" y="1956051"/>
            <a:ext cx="9148161" cy="1310622"/>
            <a:chOff x="5178705" y="2505337"/>
            <a:chExt cx="6014299" cy="1310622"/>
          </a:xfrm>
        </p:grpSpPr>
        <p:sp>
          <p:nvSpPr>
            <p:cNvPr id="80" name="Rectangle 79">
              <a:extLst>
                <a:ext uri="{FF2B5EF4-FFF2-40B4-BE49-F238E27FC236}">
                  <a16:creationId xmlns:a16="http://schemas.microsoft.com/office/drawing/2014/main" id="{B774EF6A-728C-4E63-B6D0-D5F90664B8C0}"/>
                </a:ext>
              </a:extLst>
            </p:cNvPr>
            <p:cNvSpPr/>
            <p:nvPr/>
          </p:nvSpPr>
          <p:spPr bwMode="gray">
            <a:xfrm>
              <a:off x="8343499" y="3052873"/>
              <a:ext cx="2849503" cy="763086"/>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lvl="0" indent="-171450" defTabSz="457200">
                <a:lnSpc>
                  <a:spcPct val="106000"/>
                </a:lnSpc>
                <a:buFont typeface="Wingdings" panose="05000000000000000000" pitchFamily="2" charset="2"/>
                <a:buChar char="§"/>
                <a:defRPr/>
              </a:pPr>
              <a:r>
                <a:rPr lang="en-US" sz="1200" dirty="0">
                  <a:solidFill>
                    <a:prstClr val="black"/>
                  </a:solidFill>
                  <a:latin typeface="Arial" panose="020B0604020202020204" pitchFamily="34" charset="0"/>
                  <a:cs typeface="Arial" panose="020B0604020202020204" pitchFamily="34" charset="0"/>
                </a:rPr>
                <a:t>Assets on a bank’s balance sheet that are expected to be held to maturity. </a:t>
              </a:r>
            </a:p>
            <a:p>
              <a:pPr marL="171450" lvl="0" indent="-171450" defTabSz="457200">
                <a:lnSpc>
                  <a:spcPct val="106000"/>
                </a:lnSpc>
                <a:buFont typeface="Wingdings" panose="05000000000000000000" pitchFamily="2" charset="2"/>
                <a:buChar char="§"/>
                <a:defRPr/>
              </a:pPr>
              <a:r>
                <a:rPr lang="en-US" sz="1200" dirty="0">
                  <a:solidFill>
                    <a:prstClr val="black"/>
                  </a:solidFill>
                  <a:latin typeface="Arial" panose="020B0604020202020204" pitchFamily="34" charset="0"/>
                  <a:cs typeface="Arial" panose="020B0604020202020204" pitchFamily="34" charset="0"/>
                </a:rPr>
                <a:t>E.g. – Loans, deposits, hedge derivatives to generate NII</a:t>
              </a:r>
            </a:p>
          </p:txBody>
        </p:sp>
        <p:sp>
          <p:nvSpPr>
            <p:cNvPr id="81" name="Rectangle 80">
              <a:extLst>
                <a:ext uri="{FF2B5EF4-FFF2-40B4-BE49-F238E27FC236}">
                  <a16:creationId xmlns:a16="http://schemas.microsoft.com/office/drawing/2014/main" id="{454FE0B4-9AE2-476D-8F81-21D03307BB42}"/>
                </a:ext>
              </a:extLst>
            </p:cNvPr>
            <p:cNvSpPr/>
            <p:nvPr/>
          </p:nvSpPr>
          <p:spPr bwMode="gray">
            <a:xfrm>
              <a:off x="5178705" y="3040753"/>
              <a:ext cx="2872787" cy="766905"/>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lang="en-US" sz="1200" dirty="0">
                  <a:solidFill>
                    <a:prstClr val="black"/>
                  </a:solidFill>
                  <a:latin typeface="Arial" panose="020B0604020202020204" pitchFamily="34" charset="0"/>
                  <a:cs typeface="Arial" panose="020B0604020202020204" pitchFamily="34" charset="0"/>
                </a:rPr>
                <a:t>A</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sets</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eld by a bank that are available for sale and hence regularly traded </a:t>
              </a:r>
            </a:p>
            <a:p>
              <a:pPr marL="171450" marR="0" lvl="0" indent="-171450" defTabSz="457200" rtl="0" eaLnBrk="1" fontAlgn="auto" latinLnBrk="0" hangingPunct="1">
                <a:lnSpc>
                  <a:spcPct val="106000"/>
                </a:lnSpc>
                <a:spcBef>
                  <a:spcPts val="0"/>
                </a:spcBef>
                <a:spcAft>
                  <a:spcPts val="0"/>
                </a:spcAft>
                <a:buClrTx/>
                <a:buSzTx/>
                <a:buFont typeface="Wingdings" panose="05000000000000000000" pitchFamily="2" charset="2"/>
                <a:buChar char="§"/>
                <a:tabLst/>
                <a:defRPr/>
              </a:pPr>
              <a:r>
                <a:rPr lang="en-US" sz="1200" dirty="0">
                  <a:solidFill>
                    <a:prstClr val="black"/>
                  </a:solidFill>
                  <a:latin typeface="Arial" panose="020B0604020202020204" pitchFamily="34" charset="0"/>
                  <a:cs typeface="Arial" panose="020B0604020202020204" pitchFamily="34" charset="0"/>
                </a:rPr>
                <a:t>E.g. – Equity, FX, bonds, commodities to generate P/L </a:t>
              </a:r>
            </a:p>
          </p:txBody>
        </p:sp>
        <p:sp>
          <p:nvSpPr>
            <p:cNvPr id="83" name="Rectangle 82">
              <a:extLst>
                <a:ext uri="{FF2B5EF4-FFF2-40B4-BE49-F238E27FC236}">
                  <a16:creationId xmlns:a16="http://schemas.microsoft.com/office/drawing/2014/main" id="{1FA47FD9-7D6E-473A-8BBC-3DDDE422810F}"/>
                </a:ext>
              </a:extLst>
            </p:cNvPr>
            <p:cNvSpPr/>
            <p:nvPr/>
          </p:nvSpPr>
          <p:spPr bwMode="gray">
            <a:xfrm>
              <a:off x="5182532" y="2509248"/>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Trading Book</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5B5298CF-BD38-4BB1-95A2-E12A6249E8D2}"/>
                </a:ext>
              </a:extLst>
            </p:cNvPr>
            <p:cNvSpPr/>
            <p:nvPr/>
          </p:nvSpPr>
          <p:spPr bwMode="gray">
            <a:xfrm>
              <a:off x="8333766" y="2505337"/>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anking Book</a:t>
              </a:r>
            </a:p>
          </p:txBody>
        </p:sp>
      </p:grpSp>
    </p:spTree>
    <p:extLst>
      <p:ext uri="{BB962C8B-B14F-4D97-AF65-F5344CB8AC3E}">
        <p14:creationId xmlns:p14="http://schemas.microsoft.com/office/powerpoint/2010/main" val="39447371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grpSp>
        <p:nvGrpSpPr>
          <p:cNvPr id="4" name="Group 3">
            <a:extLst>
              <a:ext uri="{FF2B5EF4-FFF2-40B4-BE49-F238E27FC236}">
                <a16:creationId xmlns:a16="http://schemas.microsoft.com/office/drawing/2014/main" id="{15C0FB28-0BD7-4DA1-B949-AE300326D5E7}"/>
              </a:ext>
            </a:extLst>
          </p:cNvPr>
          <p:cNvGrpSpPr/>
          <p:nvPr/>
        </p:nvGrpSpPr>
        <p:grpSpPr>
          <a:xfrm>
            <a:off x="1981200" y="1333134"/>
            <a:ext cx="10058400" cy="5448667"/>
            <a:chOff x="1981200" y="1333134"/>
            <a:chExt cx="9197483" cy="5448667"/>
          </a:xfrm>
        </p:grpSpPr>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197483" cy="33130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3: Cashflow generation for amenable positions </a:t>
              </a:r>
            </a:p>
          </p:txBody>
        </p:sp>
        <p:grpSp>
          <p:nvGrpSpPr>
            <p:cNvPr id="17" name="Group 16">
              <a:extLst>
                <a:ext uri="{FF2B5EF4-FFF2-40B4-BE49-F238E27FC236}">
                  <a16:creationId xmlns:a16="http://schemas.microsoft.com/office/drawing/2014/main" id="{7441FFAE-1414-41ED-B6A2-61E7BC6F5B18}"/>
                </a:ext>
              </a:extLst>
            </p:cNvPr>
            <p:cNvGrpSpPr/>
            <p:nvPr/>
          </p:nvGrpSpPr>
          <p:grpSpPr>
            <a:xfrm>
              <a:off x="1981200" y="1753345"/>
              <a:ext cx="9148161" cy="1994362"/>
              <a:chOff x="5178705" y="2505337"/>
              <a:chExt cx="6014299" cy="1994362"/>
            </a:xfrm>
          </p:grpSpPr>
          <p:sp>
            <p:nvSpPr>
              <p:cNvPr id="80" name="Rectangle 79">
                <a:extLst>
                  <a:ext uri="{FF2B5EF4-FFF2-40B4-BE49-F238E27FC236}">
                    <a16:creationId xmlns:a16="http://schemas.microsoft.com/office/drawing/2014/main" id="{B774EF6A-728C-4E63-B6D0-D5F90664B8C0}"/>
                  </a:ext>
                </a:extLst>
              </p:cNvPr>
              <p:cNvSpPr/>
              <p:nvPr/>
            </p:nvSpPr>
            <p:spPr bwMode="gray">
              <a:xfrm>
                <a:off x="8343499" y="3052872"/>
                <a:ext cx="2849503" cy="1446827"/>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indent="-171450" defTabSz="457200">
                  <a:lnSpc>
                    <a:spcPct val="106000"/>
                  </a:lnSpc>
                  <a:spcAft>
                    <a:spcPts val="600"/>
                  </a:spcAft>
                  <a:buFont typeface="Wingdings" panose="05000000000000000000" pitchFamily="2" charset="2"/>
                  <a:buChar char="§"/>
                  <a:defRPr/>
                </a:pPr>
                <a:r>
                  <a:rPr lang="en-US" sz="1100" dirty="0">
                    <a:solidFill>
                      <a:prstClr val="black"/>
                    </a:solidFill>
                    <a:latin typeface="Arial" panose="020B0604020202020204" pitchFamily="34" charset="0"/>
                    <a:cs typeface="Arial" panose="020B0604020202020204" pitchFamily="34" charset="0"/>
                  </a:rPr>
                  <a:t>Exposures with variable interest rate + fixed margin till maturity of loan based on a repricing index and repricing frequency </a:t>
                </a:r>
              </a:p>
              <a:p>
                <a:pPr marL="171450" indent="-171450" defTabSz="457200">
                  <a:lnSpc>
                    <a:spcPct val="106000"/>
                  </a:lnSpc>
                  <a:spcAft>
                    <a:spcPts val="600"/>
                  </a:spcAft>
                  <a:buFont typeface="Wingdings" panose="05000000000000000000" pitchFamily="2" charset="2"/>
                  <a:buChar char="§"/>
                  <a:defRPr/>
                </a:pPr>
                <a:r>
                  <a:rPr lang="en-US" sz="1100" dirty="0">
                    <a:solidFill>
                      <a:prstClr val="black"/>
                    </a:solidFill>
                    <a:latin typeface="Arial" panose="020B0604020202020204" pitchFamily="34" charset="0"/>
                    <a:cs typeface="Arial" panose="020B0604020202020204" pitchFamily="34" charset="0"/>
                  </a:rPr>
                  <a:t>E.g. – A loan with maturity in 5 years with a cashflow and repricing frequency on a quarterly basis based on the 3M USD LIBOR index </a:t>
                </a:r>
              </a:p>
              <a:p>
                <a:pPr marL="171450" indent="-171450" defTabSz="457200">
                  <a:lnSpc>
                    <a:spcPct val="106000"/>
                  </a:lnSpc>
                  <a:spcAft>
                    <a:spcPts val="600"/>
                  </a:spcAft>
                  <a:buFont typeface="Wingdings" panose="05000000000000000000" pitchFamily="2" charset="2"/>
                  <a:buChar char="§"/>
                  <a:defRPr/>
                </a:pPr>
                <a:r>
                  <a:rPr lang="en-US" sz="1100" dirty="0">
                    <a:solidFill>
                      <a:prstClr val="black"/>
                    </a:solidFill>
                    <a:latin typeface="Arial" panose="020B0604020202020204" pitchFamily="34" charset="0"/>
                    <a:cs typeface="Arial" panose="020B0604020202020204" pitchFamily="34" charset="0"/>
                  </a:rPr>
                  <a:t>Cashflows generated change across various scenarios using forward rates  </a:t>
                </a:r>
              </a:p>
            </p:txBody>
          </p:sp>
          <p:sp>
            <p:nvSpPr>
              <p:cNvPr id="81" name="Rectangle 80">
                <a:extLst>
                  <a:ext uri="{FF2B5EF4-FFF2-40B4-BE49-F238E27FC236}">
                    <a16:creationId xmlns:a16="http://schemas.microsoft.com/office/drawing/2014/main" id="{454FE0B4-9AE2-476D-8F81-21D03307BB42}"/>
                  </a:ext>
                </a:extLst>
              </p:cNvPr>
              <p:cNvSpPr/>
              <p:nvPr/>
            </p:nvSpPr>
            <p:spPr bwMode="gray">
              <a:xfrm>
                <a:off x="5178705" y="3040752"/>
                <a:ext cx="2872787" cy="1458947"/>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Exposures with fixed interest rate till maturity of loan without any embedded options </a:t>
                </a:r>
              </a:p>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g. – A </a:t>
                </a:r>
                <a:r>
                  <a:rPr lang="en-US" sz="1100" dirty="0">
                    <a:solidFill>
                      <a:prstClr val="black"/>
                    </a:solidFill>
                    <a:latin typeface="Arial" panose="020B0604020202020204" pitchFamily="34" charset="0"/>
                    <a:cs typeface="Arial" panose="020B0604020202020204" pitchFamily="34" charset="0"/>
                  </a:rPr>
                  <a:t>loan with maturity in 5 years with a quarterly interest &amp; principal frequency at a fixed rate of 5% p.a.</a:t>
                </a:r>
              </a:p>
              <a:p>
                <a:pPr marL="171450" indent="-171450" defTabSz="457200">
                  <a:lnSpc>
                    <a:spcPct val="106000"/>
                  </a:lnSpc>
                  <a:spcAft>
                    <a:spcPts val="600"/>
                  </a:spcAft>
                  <a:buFont typeface="Wingdings" panose="05000000000000000000" pitchFamily="2" charset="2"/>
                  <a:buChar char="§"/>
                  <a:defRPr/>
                </a:pPr>
                <a:r>
                  <a:rPr lang="en-US" sz="1100" dirty="0">
                    <a:solidFill>
                      <a:prstClr val="black"/>
                    </a:solidFill>
                    <a:latin typeface="Arial" panose="020B0604020202020204" pitchFamily="34" charset="0"/>
                    <a:cs typeface="Arial" panose="020B0604020202020204" pitchFamily="34" charset="0"/>
                  </a:rPr>
                  <a:t>Cashflows generated till maturity and cashflow generation does not change across scenarios   </a:t>
                </a: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3" name="Rectangle 82">
                <a:extLst>
                  <a:ext uri="{FF2B5EF4-FFF2-40B4-BE49-F238E27FC236}">
                    <a16:creationId xmlns:a16="http://schemas.microsoft.com/office/drawing/2014/main" id="{1FA47FD9-7D6E-473A-8BBC-3DDDE422810F}"/>
                  </a:ext>
                </a:extLst>
              </p:cNvPr>
              <p:cNvSpPr/>
              <p:nvPr/>
            </p:nvSpPr>
            <p:spPr bwMode="gray">
              <a:xfrm>
                <a:off x="5182532" y="2509248"/>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Fixed rate positions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5B5298CF-BD38-4BB1-95A2-E12A6249E8D2}"/>
                  </a:ext>
                </a:extLst>
              </p:cNvPr>
              <p:cNvSpPr/>
              <p:nvPr/>
            </p:nvSpPr>
            <p:spPr bwMode="gray">
              <a:xfrm>
                <a:off x="8333766" y="2505337"/>
                <a:ext cx="2859238"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loating rate positions </a:t>
                </a:r>
              </a:p>
            </p:txBody>
          </p:sp>
        </p:grpSp>
        <p:graphicFrame>
          <p:nvGraphicFramePr>
            <p:cNvPr id="25" name="Chart 24">
              <a:extLst>
                <a:ext uri="{FF2B5EF4-FFF2-40B4-BE49-F238E27FC236}">
                  <a16:creationId xmlns:a16="http://schemas.microsoft.com/office/drawing/2014/main" id="{706BD04D-5617-4A3A-A9C0-56F010BE4609}"/>
                </a:ext>
              </a:extLst>
            </p:cNvPr>
            <p:cNvGraphicFramePr>
              <a:graphicFrameLocks/>
            </p:cNvGraphicFramePr>
            <p:nvPr>
              <p:extLst>
                <p:ext uri="{D42A27DB-BD31-4B8C-83A1-F6EECF244321}">
                  <p14:modId xmlns:p14="http://schemas.microsoft.com/office/powerpoint/2010/main" val="3032796754"/>
                </p:ext>
              </p:extLst>
            </p:nvPr>
          </p:nvGraphicFramePr>
          <p:xfrm>
            <a:off x="2016616" y="3810001"/>
            <a:ext cx="4334289" cy="29718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hart 28">
              <a:extLst>
                <a:ext uri="{FF2B5EF4-FFF2-40B4-BE49-F238E27FC236}">
                  <a16:creationId xmlns:a16="http://schemas.microsoft.com/office/drawing/2014/main" id="{706BD04D-5617-4A3A-A9C0-56F010BE4609}"/>
                </a:ext>
              </a:extLst>
            </p:cNvPr>
            <p:cNvGraphicFramePr>
              <a:graphicFrameLocks/>
            </p:cNvGraphicFramePr>
            <p:nvPr>
              <p:extLst>
                <p:ext uri="{D42A27DB-BD31-4B8C-83A1-F6EECF244321}">
                  <p14:modId xmlns:p14="http://schemas.microsoft.com/office/powerpoint/2010/main" val="4152994127"/>
                </p:ext>
              </p:extLst>
            </p:nvPr>
          </p:nvGraphicFramePr>
          <p:xfrm>
            <a:off x="6795069" y="3810000"/>
            <a:ext cx="4334289" cy="2971799"/>
          </p:xfrm>
          <a:graphic>
            <a:graphicData uri="http://schemas.openxmlformats.org/drawingml/2006/chart">
              <c:chart xmlns:c="http://schemas.openxmlformats.org/drawingml/2006/chart" xmlns:r="http://schemas.openxmlformats.org/officeDocument/2006/relationships" r:id="rId7"/>
            </a:graphicData>
          </a:graphic>
        </p:graphicFrame>
      </p:grpSp>
    </p:spTree>
    <p:extLst>
      <p:ext uri="{BB962C8B-B14F-4D97-AF65-F5344CB8AC3E}">
        <p14:creationId xmlns:p14="http://schemas.microsoft.com/office/powerpoint/2010/main" val="35808054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grpSp>
        <p:nvGrpSpPr>
          <p:cNvPr id="43" name="Group 42">
            <a:extLst>
              <a:ext uri="{FF2B5EF4-FFF2-40B4-BE49-F238E27FC236}">
                <a16:creationId xmlns:a16="http://schemas.microsoft.com/office/drawing/2014/main" id="{B4BB127D-EF74-4964-B488-5BB294E12A70}"/>
              </a:ext>
            </a:extLst>
          </p:cNvPr>
          <p:cNvGrpSpPr/>
          <p:nvPr/>
        </p:nvGrpSpPr>
        <p:grpSpPr>
          <a:xfrm>
            <a:off x="1950500" y="1333134"/>
            <a:ext cx="9228183" cy="5372466"/>
            <a:chOff x="1950500" y="1333134"/>
            <a:chExt cx="9228183" cy="4593132"/>
          </a:xfrm>
        </p:grpSpPr>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197483" cy="331308"/>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4: Cashflow generation for non-amenable positions (NMDs)</a:t>
              </a:r>
            </a:p>
          </p:txBody>
        </p:sp>
        <p:grpSp>
          <p:nvGrpSpPr>
            <p:cNvPr id="4" name="Group 3">
              <a:extLst>
                <a:ext uri="{FF2B5EF4-FFF2-40B4-BE49-F238E27FC236}">
                  <a16:creationId xmlns:a16="http://schemas.microsoft.com/office/drawing/2014/main" id="{B62E67A8-3240-4BEE-B638-A663F209BD68}"/>
                </a:ext>
              </a:extLst>
            </p:cNvPr>
            <p:cNvGrpSpPr/>
            <p:nvPr/>
          </p:nvGrpSpPr>
          <p:grpSpPr>
            <a:xfrm>
              <a:off x="1981201" y="2209800"/>
              <a:ext cx="9197482" cy="1371601"/>
              <a:chOff x="1981201" y="1828800"/>
              <a:chExt cx="9512133" cy="1865377"/>
            </a:xfrm>
          </p:grpSpPr>
          <p:sp>
            <p:nvSpPr>
              <p:cNvPr id="80" name="Rectangle 79">
                <a:extLst>
                  <a:ext uri="{FF2B5EF4-FFF2-40B4-BE49-F238E27FC236}">
                    <a16:creationId xmlns:a16="http://schemas.microsoft.com/office/drawing/2014/main" id="{B774EF6A-728C-4E63-B6D0-D5F90664B8C0}"/>
                  </a:ext>
                </a:extLst>
              </p:cNvPr>
              <p:cNvSpPr/>
              <p:nvPr/>
            </p:nvSpPr>
            <p:spPr bwMode="gray">
              <a:xfrm>
                <a:off x="5269182" y="2376335"/>
                <a:ext cx="2960417" cy="1317841"/>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Deposit accounts placed by individuals or small business customers with irregular</a:t>
                </a:r>
              </a:p>
            </p:txBody>
          </p:sp>
          <p:sp>
            <p:nvSpPr>
              <p:cNvPr id="81" name="Rectangle 80">
                <a:extLst>
                  <a:ext uri="{FF2B5EF4-FFF2-40B4-BE49-F238E27FC236}">
                    <a16:creationId xmlns:a16="http://schemas.microsoft.com/office/drawing/2014/main" id="{454FE0B4-9AE2-476D-8F81-21D03307BB42}"/>
                  </a:ext>
                </a:extLst>
              </p:cNvPr>
              <p:cNvSpPr/>
              <p:nvPr/>
            </p:nvSpPr>
            <p:spPr bwMode="gray">
              <a:xfrm>
                <a:off x="1981201" y="2364217"/>
                <a:ext cx="2984608" cy="1329960"/>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Deposit accounts placed by individuals or small business customers with regular transactions (e.g. when salaries are regularly credited on a monthly basis) </a:t>
                </a:r>
              </a:p>
            </p:txBody>
          </p:sp>
          <p:sp>
            <p:nvSpPr>
              <p:cNvPr id="83" name="Rectangle 82">
                <a:extLst>
                  <a:ext uri="{FF2B5EF4-FFF2-40B4-BE49-F238E27FC236}">
                    <a16:creationId xmlns:a16="http://schemas.microsoft.com/office/drawing/2014/main" id="{1FA47FD9-7D6E-473A-8BBC-3DDDE422810F}"/>
                  </a:ext>
                </a:extLst>
              </p:cNvPr>
              <p:cNvSpPr/>
              <p:nvPr/>
            </p:nvSpPr>
            <p:spPr bwMode="gray">
              <a:xfrm>
                <a:off x="1985177" y="1832711"/>
                <a:ext cx="2970531"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Retail NMDs – Transactional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84" name="Rectangle 83">
                <a:extLst>
                  <a:ext uri="{FF2B5EF4-FFF2-40B4-BE49-F238E27FC236}">
                    <a16:creationId xmlns:a16="http://schemas.microsoft.com/office/drawing/2014/main" id="{5B5298CF-BD38-4BB1-95A2-E12A6249E8D2}"/>
                  </a:ext>
                </a:extLst>
              </p:cNvPr>
              <p:cNvSpPr/>
              <p:nvPr/>
            </p:nvSpPr>
            <p:spPr bwMode="gray">
              <a:xfrm>
                <a:off x="5259070" y="1828800"/>
                <a:ext cx="2970531"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Retail NMDs – Non-Transactional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68778034-CB26-41D9-9E95-EAA8F1DA760E}"/>
                  </a:ext>
                </a:extLst>
              </p:cNvPr>
              <p:cNvSpPr/>
              <p:nvPr/>
            </p:nvSpPr>
            <p:spPr bwMode="gray">
              <a:xfrm>
                <a:off x="8532915" y="2376335"/>
                <a:ext cx="2960417" cy="1317841"/>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indent="-171450" defTabSz="457200">
                  <a:lnSpc>
                    <a:spcPct val="106000"/>
                  </a:lnSpc>
                  <a:spcAft>
                    <a:spcPts val="600"/>
                  </a:spcAft>
                  <a:buFont typeface="Wingdings" panose="05000000000000000000" pitchFamily="2" charset="2"/>
                  <a:buChar char="§"/>
                  <a:defRPr/>
                </a:pPr>
                <a:r>
                  <a:rPr lang="en-US" sz="1100" dirty="0">
                    <a:solidFill>
                      <a:prstClr val="black"/>
                    </a:solidFill>
                    <a:latin typeface="Arial" panose="020B0604020202020204" pitchFamily="34" charset="0"/>
                    <a:cs typeface="Arial" panose="020B0604020202020204" pitchFamily="34" charset="0"/>
                  </a:rPr>
                  <a:t>Deposit accounts placed by legal entities, sole proprietorships or partnerships are captured in wholesale deposit categories.</a:t>
                </a:r>
              </a:p>
            </p:txBody>
          </p:sp>
          <p:sp>
            <p:nvSpPr>
              <p:cNvPr id="15" name="Rectangle 14">
                <a:extLst>
                  <a:ext uri="{FF2B5EF4-FFF2-40B4-BE49-F238E27FC236}">
                    <a16:creationId xmlns:a16="http://schemas.microsoft.com/office/drawing/2014/main" id="{3B01B67E-362F-4846-AB04-09110C300280}"/>
                  </a:ext>
                </a:extLst>
              </p:cNvPr>
              <p:cNvSpPr/>
              <p:nvPr/>
            </p:nvSpPr>
            <p:spPr bwMode="gray">
              <a:xfrm>
                <a:off x="8522803" y="1828800"/>
                <a:ext cx="2970531"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holesale NMDs</a:t>
                </a:r>
              </a:p>
            </p:txBody>
          </p:sp>
        </p:grpSp>
        <p:sp>
          <p:nvSpPr>
            <p:cNvPr id="18" name="Rectangle 17">
              <a:extLst>
                <a:ext uri="{FF2B5EF4-FFF2-40B4-BE49-F238E27FC236}">
                  <a16:creationId xmlns:a16="http://schemas.microsoft.com/office/drawing/2014/main" id="{C69410BA-E747-4662-8454-5B07A6C31D1B}"/>
                </a:ext>
              </a:extLst>
            </p:cNvPr>
            <p:cNvSpPr/>
            <p:nvPr/>
          </p:nvSpPr>
          <p:spPr bwMode="gray">
            <a:xfrm>
              <a:off x="1981200" y="1730025"/>
              <a:ext cx="9130388" cy="289396"/>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4.1: NMD Segmentation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AE7E3070-8C51-42E9-A51D-6CE75E2F406D}"/>
                </a:ext>
              </a:extLst>
            </p:cNvPr>
            <p:cNvSpPr/>
            <p:nvPr/>
          </p:nvSpPr>
          <p:spPr bwMode="gray">
            <a:xfrm>
              <a:off x="1950500" y="3702333"/>
              <a:ext cx="9197483" cy="331308"/>
            </a:xfrm>
            <a:prstGeom prst="rect">
              <a:avLst/>
            </a:prstGeom>
            <a:solidFill>
              <a:schemeClr val="bg1">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4.2: Core vs Non-Core demarcation for each NMD Category</a:t>
              </a:r>
            </a:p>
          </p:txBody>
        </p:sp>
        <p:sp>
          <p:nvSpPr>
            <p:cNvPr id="40" name="Rectangle 39">
              <a:extLst>
                <a:ext uri="{FF2B5EF4-FFF2-40B4-BE49-F238E27FC236}">
                  <a16:creationId xmlns:a16="http://schemas.microsoft.com/office/drawing/2014/main" id="{6441E50F-3680-468E-8E13-0F2BDB8BACFF}"/>
                </a:ext>
              </a:extLst>
            </p:cNvPr>
            <p:cNvSpPr/>
            <p:nvPr/>
          </p:nvSpPr>
          <p:spPr bwMode="gray">
            <a:xfrm>
              <a:off x="1977593" y="4151628"/>
              <a:ext cx="4351269"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re </a:t>
              </a:r>
            </a:p>
          </p:txBody>
        </p:sp>
        <p:sp>
          <p:nvSpPr>
            <p:cNvPr id="41" name="Rectangle 40">
              <a:extLst>
                <a:ext uri="{FF2B5EF4-FFF2-40B4-BE49-F238E27FC236}">
                  <a16:creationId xmlns:a16="http://schemas.microsoft.com/office/drawing/2014/main" id="{0890C054-CE5D-4197-A6B4-6E9390358C4F}"/>
                </a:ext>
              </a:extLst>
            </p:cNvPr>
            <p:cNvSpPr/>
            <p:nvPr/>
          </p:nvSpPr>
          <p:spPr bwMode="gray">
            <a:xfrm>
              <a:off x="6689263" y="4151628"/>
              <a:ext cx="4351269" cy="393578"/>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n-Core</a:t>
              </a:r>
            </a:p>
          </p:txBody>
        </p:sp>
        <p:sp>
          <p:nvSpPr>
            <p:cNvPr id="48" name="Rectangle 47">
              <a:extLst>
                <a:ext uri="{FF2B5EF4-FFF2-40B4-BE49-F238E27FC236}">
                  <a16:creationId xmlns:a16="http://schemas.microsoft.com/office/drawing/2014/main" id="{DF055BFF-BC95-4226-A798-DCA55CA41A2D}"/>
                </a:ext>
              </a:extLst>
            </p:cNvPr>
            <p:cNvSpPr/>
            <p:nvPr/>
          </p:nvSpPr>
          <p:spPr bwMode="gray">
            <a:xfrm>
              <a:off x="1972513" y="4649499"/>
              <a:ext cx="4351268" cy="1276767"/>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The core NMD portion is the portion that is found to remain undrawn with a high degree of likelihood and are unlikely to reprice even under significant changes in the interest rate environment</a:t>
              </a:r>
            </a:p>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Behavioral modelling conducted for each NMD segment to estimate maturity and proportion of core deposits </a:t>
              </a:r>
            </a:p>
          </p:txBody>
        </p:sp>
        <p:sp>
          <p:nvSpPr>
            <p:cNvPr id="49" name="Rectangle 48">
              <a:extLst>
                <a:ext uri="{FF2B5EF4-FFF2-40B4-BE49-F238E27FC236}">
                  <a16:creationId xmlns:a16="http://schemas.microsoft.com/office/drawing/2014/main" id="{6B683E28-6919-4A80-A27B-29422357CBCC}"/>
                </a:ext>
              </a:extLst>
            </p:cNvPr>
            <p:cNvSpPr/>
            <p:nvPr/>
          </p:nvSpPr>
          <p:spPr bwMode="gray">
            <a:xfrm>
              <a:off x="6689264" y="4649497"/>
              <a:ext cx="4351268" cy="1276767"/>
            </a:xfrm>
            <a:prstGeom prst="rect">
              <a:avLst/>
            </a:prstGeom>
            <a:solidFill>
              <a:schemeClr val="bg1"/>
            </a:solidFill>
            <a:ln w="19050" algn="ctr">
              <a:solidFill>
                <a:schemeClr val="tx1">
                  <a:lumMod val="65000"/>
                  <a:lumOff val="35000"/>
                </a:schemeClr>
              </a:solidFill>
              <a:miter lim="800000"/>
              <a:headEnd/>
              <a:tailEnd/>
            </a:ln>
          </p:spPr>
          <p:txBody>
            <a:bodyPr wrap="square" lIns="88900" tIns="88900" rIns="88900" bIns="88900" rtlCol="0" anchor="ctr"/>
            <a:lstStyle/>
            <a:p>
              <a:pPr marL="171450" marR="0" lvl="0" indent="-171450" defTabSz="457200" rtl="0" eaLnBrk="1" fontAlgn="auto" latinLnBrk="0" hangingPunct="1">
                <a:lnSpc>
                  <a:spcPct val="106000"/>
                </a:lnSpc>
                <a:spcBef>
                  <a:spcPts val="0"/>
                </a:spcBef>
                <a:spcAft>
                  <a:spcPts val="600"/>
                </a:spcAft>
                <a:buClrTx/>
                <a:buSzTx/>
                <a:buFont typeface="Wingdings" panose="05000000000000000000" pitchFamily="2" charset="2"/>
                <a:buChar char="§"/>
                <a:tabLst/>
                <a:defRPr/>
              </a:pPr>
              <a:r>
                <a:rPr lang="en-US" sz="1100" dirty="0">
                  <a:solidFill>
                    <a:prstClr val="black"/>
                  </a:solidFill>
                  <a:latin typeface="Arial" panose="020B0604020202020204" pitchFamily="34" charset="0"/>
                  <a:cs typeface="Arial" panose="020B0604020202020204" pitchFamily="34" charset="0"/>
                </a:rPr>
                <a:t>NMDs that are not deemed as core. Typically non-core deposits should be considered as overnight deposits and accordingly should be placed into the shortest/overnight time bucket or time bucket midpoint.</a:t>
              </a:r>
            </a:p>
          </p:txBody>
        </p:sp>
      </p:grpSp>
    </p:spTree>
    <p:extLst>
      <p:ext uri="{BB962C8B-B14F-4D97-AF65-F5344CB8AC3E}">
        <p14:creationId xmlns:p14="http://schemas.microsoft.com/office/powerpoint/2010/main" val="2359473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01652" y="112553"/>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2286000" y="463110"/>
            <a:ext cx="6111354"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sz="2800" kern="0" dirty="0">
                <a:solidFill>
                  <a:srgbClr val="000000"/>
                </a:solidFill>
                <a:latin typeface="Arial"/>
              </a:rPr>
              <a:t>Speaker Profile </a:t>
            </a:r>
          </a:p>
        </p:txBody>
      </p:sp>
      <p:sp>
        <p:nvSpPr>
          <p:cNvPr id="5"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000000"/>
                </a:solidFill>
                <a:latin typeface="Times New Roman"/>
              </a:rPr>
              <a:t>www.actuariesindia.org</a:t>
            </a:r>
          </a:p>
        </p:txBody>
      </p:sp>
      <p:sp>
        <p:nvSpPr>
          <p:cNvPr id="9" name="Rectangle 8">
            <a:extLst>
              <a:ext uri="{FF2B5EF4-FFF2-40B4-BE49-F238E27FC236}">
                <a16:creationId xmlns:a16="http://schemas.microsoft.com/office/drawing/2014/main" id="{BB56A413-6672-438A-8C87-EFEF25CFEFA4}"/>
              </a:ext>
            </a:extLst>
          </p:cNvPr>
          <p:cNvSpPr/>
          <p:nvPr/>
        </p:nvSpPr>
        <p:spPr>
          <a:xfrm>
            <a:off x="4438651" y="1426856"/>
            <a:ext cx="5848348" cy="523220"/>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r>
              <a:rPr lang="en-IN" sz="1350" b="1" dirty="0">
                <a:solidFill>
                  <a:srgbClr val="000000"/>
                </a:solidFill>
                <a:latin typeface="Arial" panose="020B0604020202020204" pitchFamily="34" charset="0"/>
                <a:ea typeface="Times New Roman" panose="02020603050405020304" pitchFamily="18" charset="0"/>
                <a:cs typeface="Arial" panose="020B0604020202020204" pitchFamily="34" charset="0"/>
              </a:rPr>
              <a:t>Yash Ratanpal, </a:t>
            </a:r>
            <a:r>
              <a:rPr lang="en-IN" sz="1350" dirty="0">
                <a:solidFill>
                  <a:srgbClr val="000000"/>
                </a:solidFill>
                <a:latin typeface="Arial" panose="020B0604020202020204" pitchFamily="34" charset="0"/>
                <a:ea typeface="Times New Roman" panose="02020603050405020304" pitchFamily="18" charset="0"/>
                <a:cs typeface="Arial" panose="020B0604020202020204" pitchFamily="34" charset="0"/>
              </a:rPr>
              <a:t>Director – Acies, Member of the </a:t>
            </a:r>
            <a:r>
              <a:rPr lang="en-US" sz="1400" dirty="0">
                <a:solidFill>
                  <a:srgbClr val="000000"/>
                </a:solidFill>
                <a:latin typeface="Arial" panose="020B0604020202020204" pitchFamily="34" charset="0"/>
                <a:cs typeface="Arial" panose="020B0604020202020204" pitchFamily="34" charset="0"/>
              </a:rPr>
              <a:t>Advisory Group for Banking Finance and Investments, IAI</a:t>
            </a:r>
            <a:r>
              <a:rPr lang="en-IN" sz="1350" b="1"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endParaRPr lang="en-IN" sz="135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10" name="Rectangle 9">
            <a:extLst>
              <a:ext uri="{FF2B5EF4-FFF2-40B4-BE49-F238E27FC236}">
                <a16:creationId xmlns:a16="http://schemas.microsoft.com/office/drawing/2014/main" id="{32DE58B4-8F93-4519-AE7C-7E41A6A5362B}"/>
              </a:ext>
            </a:extLst>
          </p:cNvPr>
          <p:cNvSpPr/>
          <p:nvPr/>
        </p:nvSpPr>
        <p:spPr>
          <a:xfrm>
            <a:off x="4438651" y="2111692"/>
            <a:ext cx="5848349" cy="3947234"/>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Director at Acies (www.acies.consulting) – a technology and advisory firm based out of Mumbai having a global presence spanning across 5 countries.</a:t>
            </a:r>
          </a:p>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Leads design and development of Antares – Acies </a:t>
            </a:r>
            <a:r>
              <a:rPr lang="en-US" sz="1400" dirty="0" err="1">
                <a:solidFill>
                  <a:srgbClr val="000000"/>
                </a:solidFill>
                <a:latin typeface="Arial" panose="020B0604020202020204" pitchFamily="34" charset="0"/>
                <a:cs typeface="Arial" panose="020B0604020202020204" pitchFamily="34" charset="0"/>
              </a:rPr>
              <a:t>TechWork’s</a:t>
            </a:r>
            <a:r>
              <a:rPr lang="en-US" sz="1400" dirty="0">
                <a:solidFill>
                  <a:srgbClr val="000000"/>
                </a:solidFill>
                <a:latin typeface="Arial" panose="020B0604020202020204" pitchFamily="34" charset="0"/>
                <a:cs typeface="Arial" panose="020B0604020202020204" pitchFamily="34" charset="0"/>
              </a:rPr>
              <a:t> next generation and fully automated liquidity and balance sheet management application for financial institutions</a:t>
            </a:r>
          </a:p>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Non-traditional actuary with extensive experience of working with multi-national and regional banks, NBFCs, insurance firms and corporate conglomerates </a:t>
            </a:r>
          </a:p>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Worked on a diverse set of risk and technology engagements in areas such as ALM, IRRBB, enterprise risk management, predictive modelling, stress testing and capital adequacy. </a:t>
            </a:r>
          </a:p>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Member of the advisory group on banking, finance and investments (AGBFI) constituted by IAI and wider fields group on risk management – IFOA, UK. </a:t>
            </a:r>
          </a:p>
          <a:p>
            <a:pPr marL="214313" indent="-214313">
              <a:spcAft>
                <a:spcPts val="300"/>
              </a:spcAft>
              <a:buFont typeface="Arial" panose="020B0604020202020204" pitchFamily="34" charset="0"/>
              <a:buChar char="•"/>
            </a:pPr>
            <a:r>
              <a:rPr lang="en-US" sz="1400" dirty="0">
                <a:solidFill>
                  <a:srgbClr val="000000"/>
                </a:solidFill>
                <a:latin typeface="Arial" panose="020B0604020202020204" pitchFamily="34" charset="0"/>
                <a:cs typeface="Arial" panose="020B0604020202020204" pitchFamily="34" charset="0"/>
              </a:rPr>
              <a:t>Previously been a part of the global banking working group constituted by the International Actuarial Association (IAA). </a:t>
            </a:r>
          </a:p>
        </p:txBody>
      </p:sp>
      <p:pic>
        <p:nvPicPr>
          <p:cNvPr id="11" name="Picture 10">
            <a:extLst>
              <a:ext uri="{FF2B5EF4-FFF2-40B4-BE49-F238E27FC236}">
                <a16:creationId xmlns:a16="http://schemas.microsoft.com/office/drawing/2014/main" id="{2A1B5E98-08DD-4A73-9069-74DEF132219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918" b="13871"/>
          <a:stretch/>
        </p:blipFill>
        <p:spPr>
          <a:xfrm>
            <a:off x="2306320" y="1426856"/>
            <a:ext cx="1839329" cy="169734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364944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677398"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4: Cashflow generation for non-amenable positions (NMDs)</a:t>
            </a:r>
          </a:p>
        </p:txBody>
      </p:sp>
      <p:sp>
        <p:nvSpPr>
          <p:cNvPr id="18" name="Rectangle 17">
            <a:extLst>
              <a:ext uri="{FF2B5EF4-FFF2-40B4-BE49-F238E27FC236}">
                <a16:creationId xmlns:a16="http://schemas.microsoft.com/office/drawing/2014/main" id="{C69410BA-E747-4662-8454-5B07A6C31D1B}"/>
              </a:ext>
            </a:extLst>
          </p:cNvPr>
          <p:cNvSpPr/>
          <p:nvPr/>
        </p:nvSpPr>
        <p:spPr bwMode="gray">
          <a:xfrm>
            <a:off x="1981199" y="1797367"/>
            <a:ext cx="9677399" cy="338499"/>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4.3: NMD Behavioral Modelling</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6" name="Table 5">
            <a:extLst>
              <a:ext uri="{FF2B5EF4-FFF2-40B4-BE49-F238E27FC236}">
                <a16:creationId xmlns:a16="http://schemas.microsoft.com/office/drawing/2014/main" id="{003882B5-876F-478D-B3F6-AE3091A35C03}"/>
              </a:ext>
            </a:extLst>
          </p:cNvPr>
          <p:cNvGraphicFramePr>
            <a:graphicFrameLocks noGrp="1"/>
          </p:cNvGraphicFramePr>
          <p:nvPr>
            <p:extLst>
              <p:ext uri="{D42A27DB-BD31-4B8C-83A1-F6EECF244321}">
                <p14:modId xmlns:p14="http://schemas.microsoft.com/office/powerpoint/2010/main" val="565830827"/>
              </p:ext>
            </p:extLst>
          </p:nvPr>
        </p:nvGraphicFramePr>
        <p:xfrm>
          <a:off x="1981200" y="2286000"/>
          <a:ext cx="4495799" cy="1473200"/>
        </p:xfrm>
        <a:graphic>
          <a:graphicData uri="http://schemas.openxmlformats.org/drawingml/2006/table">
            <a:tbl>
              <a:tblPr/>
              <a:tblGrid>
                <a:gridCol w="659654">
                  <a:extLst>
                    <a:ext uri="{9D8B030D-6E8A-4147-A177-3AD203B41FA5}">
                      <a16:colId xmlns:a16="http://schemas.microsoft.com/office/drawing/2014/main" val="3256327532"/>
                    </a:ext>
                  </a:extLst>
                </a:gridCol>
                <a:gridCol w="1410646">
                  <a:extLst>
                    <a:ext uri="{9D8B030D-6E8A-4147-A177-3AD203B41FA5}">
                      <a16:colId xmlns:a16="http://schemas.microsoft.com/office/drawing/2014/main" val="2554569866"/>
                    </a:ext>
                  </a:extLst>
                </a:gridCol>
                <a:gridCol w="1715102">
                  <a:extLst>
                    <a:ext uri="{9D8B030D-6E8A-4147-A177-3AD203B41FA5}">
                      <a16:colId xmlns:a16="http://schemas.microsoft.com/office/drawing/2014/main" val="2539723278"/>
                    </a:ext>
                  </a:extLst>
                </a:gridCol>
                <a:gridCol w="710397">
                  <a:extLst>
                    <a:ext uri="{9D8B030D-6E8A-4147-A177-3AD203B41FA5}">
                      <a16:colId xmlns:a16="http://schemas.microsoft.com/office/drawing/2014/main" val="2491295071"/>
                    </a:ext>
                  </a:extLst>
                </a:gridCol>
              </a:tblGrid>
              <a:tr h="368300">
                <a:tc gridSpan="4">
                  <a:txBody>
                    <a:bodyPr/>
                    <a:lstStyle/>
                    <a:p>
                      <a:pPr algn="ctr" fontAlgn="b"/>
                      <a:r>
                        <a:rPr lang="en-IN" sz="1100" b="1" i="0" u="none" strike="noStrike" dirty="0">
                          <a:solidFill>
                            <a:srgbClr val="FFFFFF"/>
                          </a:solidFill>
                          <a:effectLst/>
                          <a:latin typeface="Calibri" panose="020F0502020204030204" pitchFamily="34" charset="0"/>
                        </a:rPr>
                        <a:t>Core vs Non-Core Proportions</a:t>
                      </a: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031729447"/>
                  </a:ext>
                </a:extLst>
              </a:tr>
              <a:tr h="368300">
                <a:tc>
                  <a:txBody>
                    <a:bodyPr/>
                    <a:lstStyle/>
                    <a:p>
                      <a:pPr algn="ctr" fontAlgn="b"/>
                      <a:r>
                        <a:rPr lang="en-IN" sz="1100" b="1" i="0" u="none" strike="noStrike" dirty="0">
                          <a:solidFill>
                            <a:srgbClr val="000000"/>
                          </a:solidFill>
                          <a:effectLst/>
                          <a:latin typeface="Calibri" panose="020F0502020204030204" pitchFamily="34" charset="0"/>
                        </a:rPr>
                        <a:t>Segmen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Retail - Transactional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Retail - Non Transactional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Wholesal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8030176"/>
                  </a:ext>
                </a:extLst>
              </a:tr>
              <a:tr h="368300">
                <a:tc>
                  <a:txBody>
                    <a:bodyPr/>
                    <a:lstStyle/>
                    <a:p>
                      <a:pPr algn="ctr" fontAlgn="b"/>
                      <a:r>
                        <a:rPr lang="en-IN" sz="1100" b="1" i="0" u="none" strike="noStrike" dirty="0">
                          <a:solidFill>
                            <a:srgbClr val="000000"/>
                          </a:solidFill>
                          <a:effectLst/>
                          <a:latin typeface="Calibri" panose="020F0502020204030204" pitchFamily="34" charset="0"/>
                        </a:rPr>
                        <a:t>Core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7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1026584"/>
                  </a:ext>
                </a:extLst>
              </a:tr>
              <a:tr h="368300">
                <a:tc>
                  <a:txBody>
                    <a:bodyPr/>
                    <a:lstStyle/>
                    <a:p>
                      <a:pPr algn="ctr" fontAlgn="b"/>
                      <a:r>
                        <a:rPr lang="en-IN" sz="1100" b="1" i="0" u="none" strike="noStrike" dirty="0">
                          <a:solidFill>
                            <a:srgbClr val="000000"/>
                          </a:solidFill>
                          <a:effectLst/>
                          <a:latin typeface="Calibri" panose="020F0502020204030204" pitchFamily="34" charset="0"/>
                        </a:rPr>
                        <a:t>Non-Co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13386405"/>
                  </a:ext>
                </a:extLst>
              </a:tr>
            </a:tbl>
          </a:graphicData>
        </a:graphic>
      </p:graphicFrame>
      <p:graphicFrame>
        <p:nvGraphicFramePr>
          <p:cNvPr id="7" name="Table 6">
            <a:extLst>
              <a:ext uri="{FF2B5EF4-FFF2-40B4-BE49-F238E27FC236}">
                <a16:creationId xmlns:a16="http://schemas.microsoft.com/office/drawing/2014/main" id="{F6701571-0BF6-4E8B-9C1D-C21CAEA79084}"/>
              </a:ext>
            </a:extLst>
          </p:cNvPr>
          <p:cNvGraphicFramePr>
            <a:graphicFrameLocks noGrp="1"/>
          </p:cNvGraphicFramePr>
          <p:nvPr>
            <p:extLst>
              <p:ext uri="{D42A27DB-BD31-4B8C-83A1-F6EECF244321}">
                <p14:modId xmlns:p14="http://schemas.microsoft.com/office/powerpoint/2010/main" val="1520206851"/>
              </p:ext>
            </p:extLst>
          </p:nvPr>
        </p:nvGraphicFramePr>
        <p:xfrm>
          <a:off x="6705600" y="2286000"/>
          <a:ext cx="4952999" cy="1473200"/>
        </p:xfrm>
        <a:graphic>
          <a:graphicData uri="http://schemas.openxmlformats.org/drawingml/2006/table">
            <a:tbl>
              <a:tblPr/>
              <a:tblGrid>
                <a:gridCol w="1147645">
                  <a:extLst>
                    <a:ext uri="{9D8B030D-6E8A-4147-A177-3AD203B41FA5}">
                      <a16:colId xmlns:a16="http://schemas.microsoft.com/office/drawing/2014/main" val="3518451570"/>
                    </a:ext>
                  </a:extLst>
                </a:gridCol>
                <a:gridCol w="1399323">
                  <a:extLst>
                    <a:ext uri="{9D8B030D-6E8A-4147-A177-3AD203B41FA5}">
                      <a16:colId xmlns:a16="http://schemas.microsoft.com/office/drawing/2014/main" val="1182068616"/>
                    </a:ext>
                  </a:extLst>
                </a:gridCol>
                <a:gridCol w="1701336">
                  <a:extLst>
                    <a:ext uri="{9D8B030D-6E8A-4147-A177-3AD203B41FA5}">
                      <a16:colId xmlns:a16="http://schemas.microsoft.com/office/drawing/2014/main" val="459466759"/>
                    </a:ext>
                  </a:extLst>
                </a:gridCol>
                <a:gridCol w="704695">
                  <a:extLst>
                    <a:ext uri="{9D8B030D-6E8A-4147-A177-3AD203B41FA5}">
                      <a16:colId xmlns:a16="http://schemas.microsoft.com/office/drawing/2014/main" val="3129655780"/>
                    </a:ext>
                  </a:extLst>
                </a:gridCol>
              </a:tblGrid>
              <a:tr h="184150">
                <a:tc gridSpan="4">
                  <a:txBody>
                    <a:bodyPr/>
                    <a:lstStyle/>
                    <a:p>
                      <a:pPr algn="ctr" fontAlgn="b"/>
                      <a:r>
                        <a:rPr lang="en-US" sz="1100" b="1" i="0" u="none" strike="noStrike" dirty="0">
                          <a:solidFill>
                            <a:srgbClr val="FFFFFF"/>
                          </a:solidFill>
                          <a:effectLst/>
                          <a:latin typeface="Calibri" panose="020F0502020204030204" pitchFamily="34" charset="0"/>
                        </a:rPr>
                        <a:t>Maturity Profile for Core Deposits</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003342673"/>
                  </a:ext>
                </a:extLst>
              </a:tr>
              <a:tr h="184150">
                <a:tc>
                  <a:txBody>
                    <a:bodyPr/>
                    <a:lstStyle/>
                    <a:p>
                      <a:pPr algn="ctr" fontAlgn="b"/>
                      <a:r>
                        <a:rPr lang="en-IN" sz="1100" b="1" i="0" u="none" strike="noStrike" dirty="0">
                          <a:solidFill>
                            <a:srgbClr val="000000"/>
                          </a:solidFill>
                          <a:effectLst/>
                          <a:latin typeface="Calibri" panose="020F0502020204030204" pitchFamily="34" charset="0"/>
                        </a:rPr>
                        <a:t>Time Bucke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dirty="0">
                          <a:solidFill>
                            <a:srgbClr val="000000"/>
                          </a:solidFill>
                          <a:effectLst/>
                          <a:latin typeface="Calibri" panose="020F0502020204030204" pitchFamily="34" charset="0"/>
                        </a:rPr>
                        <a:t>Retail - Transactional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Retail - Non Transactional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Wholesal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8003643"/>
                  </a:ext>
                </a:extLst>
              </a:tr>
              <a:tr h="184150">
                <a:tc>
                  <a:txBody>
                    <a:bodyPr/>
                    <a:lstStyle/>
                    <a:p>
                      <a:pPr algn="ctr" fontAlgn="b"/>
                      <a:r>
                        <a:rPr lang="en-IN" sz="1100" b="0" i="0" u="none" strike="noStrike">
                          <a:solidFill>
                            <a:srgbClr val="000000"/>
                          </a:solidFill>
                          <a:effectLst/>
                          <a:latin typeface="Calibri" panose="020F0502020204030204" pitchFamily="34" charset="0"/>
                        </a:rPr>
                        <a:t>1-3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6947976"/>
                  </a:ext>
                </a:extLst>
              </a:tr>
              <a:tr h="184150">
                <a:tc>
                  <a:txBody>
                    <a:bodyPr/>
                    <a:lstStyle/>
                    <a:p>
                      <a:pPr algn="ctr" fontAlgn="b"/>
                      <a:r>
                        <a:rPr lang="en-IN" sz="1100" b="0" i="0" u="none" strike="noStrike">
                          <a:solidFill>
                            <a:srgbClr val="000000"/>
                          </a:solidFill>
                          <a:effectLst/>
                          <a:latin typeface="Calibri" panose="020F0502020204030204" pitchFamily="34" charset="0"/>
                        </a:rPr>
                        <a:t>3-6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0330112"/>
                  </a:ext>
                </a:extLst>
              </a:tr>
              <a:tr h="184150">
                <a:tc>
                  <a:txBody>
                    <a:bodyPr/>
                    <a:lstStyle/>
                    <a:p>
                      <a:pPr algn="ctr" fontAlgn="b"/>
                      <a:r>
                        <a:rPr lang="en-IN" sz="1100" b="0" i="0" u="none" strike="noStrike">
                          <a:solidFill>
                            <a:srgbClr val="000000"/>
                          </a:solidFill>
                          <a:effectLst/>
                          <a:latin typeface="Calibri" panose="020F0502020204030204" pitchFamily="34" charset="0"/>
                        </a:rPr>
                        <a:t>6 Months - 1 Ye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9235037"/>
                  </a:ext>
                </a:extLst>
              </a:tr>
              <a:tr h="184150">
                <a:tc>
                  <a:txBody>
                    <a:bodyPr/>
                    <a:lstStyle/>
                    <a:p>
                      <a:pPr algn="ctr" fontAlgn="b"/>
                      <a:r>
                        <a:rPr lang="en-IN" sz="1100" b="0" i="0" u="none" strike="noStrike">
                          <a:solidFill>
                            <a:srgbClr val="000000"/>
                          </a:solidFill>
                          <a:effectLst/>
                          <a:latin typeface="Calibri" panose="020F0502020204030204" pitchFamily="34" charset="0"/>
                        </a:rPr>
                        <a:t>1-3 Ye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1530274"/>
                  </a:ext>
                </a:extLst>
              </a:tr>
              <a:tr h="184150">
                <a:tc>
                  <a:txBody>
                    <a:bodyPr/>
                    <a:lstStyle/>
                    <a:p>
                      <a:pPr algn="ctr" fontAlgn="b"/>
                      <a:r>
                        <a:rPr lang="en-IN" sz="1100" b="0" i="0" u="none" strike="noStrike">
                          <a:solidFill>
                            <a:srgbClr val="000000"/>
                          </a:solidFill>
                          <a:effectLst/>
                          <a:latin typeface="Calibri" panose="020F0502020204030204" pitchFamily="34" charset="0"/>
                        </a:rPr>
                        <a:t>3-5 Ye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70613592"/>
                  </a:ext>
                </a:extLst>
              </a:tr>
              <a:tr h="184150">
                <a:tc>
                  <a:txBody>
                    <a:bodyPr/>
                    <a:lstStyle/>
                    <a:p>
                      <a:pPr algn="ctr" fontAlgn="b"/>
                      <a:r>
                        <a:rPr lang="en-IN" sz="1100" b="0" i="0" u="none" strike="noStrike">
                          <a:solidFill>
                            <a:srgbClr val="000000"/>
                          </a:solidFill>
                          <a:effectLst/>
                          <a:latin typeface="Calibri" panose="020F0502020204030204" pitchFamily="34" charset="0"/>
                        </a:rPr>
                        <a:t>&gt;5 Year</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1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6372705"/>
                  </a:ext>
                </a:extLst>
              </a:tr>
            </a:tbl>
          </a:graphicData>
        </a:graphic>
      </p:graphicFrame>
      <p:graphicFrame>
        <p:nvGraphicFramePr>
          <p:cNvPr id="24" name="Chart 23">
            <a:extLst>
              <a:ext uri="{FF2B5EF4-FFF2-40B4-BE49-F238E27FC236}">
                <a16:creationId xmlns:a16="http://schemas.microsoft.com/office/drawing/2014/main" id="{E9ECBD9F-1ACA-40CD-BE60-25BAEB182621}"/>
              </a:ext>
            </a:extLst>
          </p:cNvPr>
          <p:cNvGraphicFramePr>
            <a:graphicFrameLocks/>
          </p:cNvGraphicFramePr>
          <p:nvPr>
            <p:extLst>
              <p:ext uri="{D42A27DB-BD31-4B8C-83A1-F6EECF244321}">
                <p14:modId xmlns:p14="http://schemas.microsoft.com/office/powerpoint/2010/main" val="916640083"/>
              </p:ext>
            </p:extLst>
          </p:nvPr>
        </p:nvGraphicFramePr>
        <p:xfrm>
          <a:off x="1981200" y="3969173"/>
          <a:ext cx="4495800" cy="2743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a:extLst>
              <a:ext uri="{FF2B5EF4-FFF2-40B4-BE49-F238E27FC236}">
                <a16:creationId xmlns:a16="http://schemas.microsoft.com/office/drawing/2014/main" id="{F244D68D-BBC8-4154-8AEF-8BA0E2DF61F6}"/>
              </a:ext>
            </a:extLst>
          </p:cNvPr>
          <p:cNvGraphicFramePr>
            <a:graphicFrameLocks/>
          </p:cNvGraphicFramePr>
          <p:nvPr>
            <p:extLst>
              <p:ext uri="{D42A27DB-BD31-4B8C-83A1-F6EECF244321}">
                <p14:modId xmlns:p14="http://schemas.microsoft.com/office/powerpoint/2010/main" val="3227152340"/>
              </p:ext>
            </p:extLst>
          </p:nvPr>
        </p:nvGraphicFramePr>
        <p:xfrm>
          <a:off x="6705600" y="3962400"/>
          <a:ext cx="4952998"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884920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677398"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5: Cashflow generation for non-amenable positions (Behavioural Optionality – Prepayment and redemption risk)</a:t>
            </a:r>
          </a:p>
        </p:txBody>
      </p:sp>
      <p:sp>
        <p:nvSpPr>
          <p:cNvPr id="54" name="Rectangle 53">
            <a:extLst>
              <a:ext uri="{FF2B5EF4-FFF2-40B4-BE49-F238E27FC236}">
                <a16:creationId xmlns:a16="http://schemas.microsoft.com/office/drawing/2014/main" id="{21B82D35-B480-4C1E-B27F-6969282B95E3}"/>
              </a:ext>
            </a:extLst>
          </p:cNvPr>
          <p:cNvSpPr/>
          <p:nvPr/>
        </p:nvSpPr>
        <p:spPr bwMode="gray">
          <a:xfrm>
            <a:off x="1981199" y="1797367"/>
            <a:ext cx="9677399" cy="338499"/>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5.1: Derive baseline rates for various portfolios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BE53431A-04FC-4DE4-91DC-C7E99F5083A2}"/>
              </a:ext>
            </a:extLst>
          </p:cNvPr>
          <p:cNvSpPr/>
          <p:nvPr/>
        </p:nvSpPr>
        <p:spPr bwMode="gray">
          <a:xfrm>
            <a:off x="1981199" y="3745404"/>
            <a:ext cx="9677399" cy="338499"/>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5.2: Derive scenario specific scalars to adjust prepayment speed</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33FCED12-D5D5-47D0-BE87-0544170607DD}"/>
              </a:ext>
            </a:extLst>
          </p:cNvPr>
          <p:cNvSpPr/>
          <p:nvPr/>
        </p:nvSpPr>
        <p:spPr bwMode="gray">
          <a:xfrm>
            <a:off x="1981199" y="2246444"/>
            <a:ext cx="4800601" cy="338499"/>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Conditional Prepayment Rate (CPR)</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D27493E0-AC23-4191-ACF5-08E46C735627}"/>
              </a:ext>
            </a:extLst>
          </p:cNvPr>
          <p:cNvSpPr/>
          <p:nvPr/>
        </p:nvSpPr>
        <p:spPr bwMode="gray">
          <a:xfrm>
            <a:off x="7086600" y="2246444"/>
            <a:ext cx="4495799" cy="338499"/>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erm Deposit Redemption Rate (TDRR)</a:t>
            </a:r>
          </a:p>
        </p:txBody>
      </p:sp>
      <p:pic>
        <p:nvPicPr>
          <p:cNvPr id="62" name="Picture 61">
            <a:extLst>
              <a:ext uri="{FF2B5EF4-FFF2-40B4-BE49-F238E27FC236}">
                <a16:creationId xmlns:a16="http://schemas.microsoft.com/office/drawing/2014/main" id="{D595B63F-EE42-4D94-BB38-328A13156094}"/>
              </a:ext>
            </a:extLst>
          </p:cNvPr>
          <p:cNvPicPr>
            <a:picLocks noChangeAspect="1"/>
          </p:cNvPicPr>
          <p:nvPr/>
        </p:nvPicPr>
        <p:blipFill>
          <a:blip r:embed="rId6"/>
          <a:stretch>
            <a:fillRect/>
          </a:stretch>
        </p:blipFill>
        <p:spPr>
          <a:xfrm>
            <a:off x="4106435" y="3250151"/>
            <a:ext cx="543439" cy="361367"/>
          </a:xfrm>
          <a:prstGeom prst="rect">
            <a:avLst/>
          </a:prstGeom>
        </p:spPr>
      </p:pic>
      <p:pic>
        <p:nvPicPr>
          <p:cNvPr id="63" name="Picture 62">
            <a:extLst>
              <a:ext uri="{FF2B5EF4-FFF2-40B4-BE49-F238E27FC236}">
                <a16:creationId xmlns:a16="http://schemas.microsoft.com/office/drawing/2014/main" id="{E80CCF94-793C-47B4-A8A2-5ADCAECD1BEF}"/>
              </a:ext>
            </a:extLst>
          </p:cNvPr>
          <p:cNvPicPr>
            <a:picLocks noChangeAspect="1"/>
          </p:cNvPicPr>
          <p:nvPr/>
        </p:nvPicPr>
        <p:blipFill>
          <a:blip r:embed="rId7"/>
          <a:stretch>
            <a:fillRect/>
          </a:stretch>
        </p:blipFill>
        <p:spPr>
          <a:xfrm>
            <a:off x="9012486" y="3258764"/>
            <a:ext cx="720226" cy="340472"/>
          </a:xfrm>
          <a:prstGeom prst="rect">
            <a:avLst/>
          </a:prstGeom>
        </p:spPr>
      </p:pic>
      <p:sp>
        <p:nvSpPr>
          <p:cNvPr id="64" name="TextBox 63">
            <a:extLst>
              <a:ext uri="{FF2B5EF4-FFF2-40B4-BE49-F238E27FC236}">
                <a16:creationId xmlns:a16="http://schemas.microsoft.com/office/drawing/2014/main" id="{791FD374-DCDB-424A-AE64-54096D1F3E1E}"/>
              </a:ext>
            </a:extLst>
          </p:cNvPr>
          <p:cNvSpPr txBox="1"/>
          <p:nvPr/>
        </p:nvSpPr>
        <p:spPr>
          <a:xfrm>
            <a:off x="1977855" y="2686437"/>
            <a:ext cx="4836118" cy="600164"/>
          </a:xfrm>
          <a:prstGeom prst="rect">
            <a:avLst/>
          </a:prstGeom>
          <a:noFill/>
        </p:spPr>
        <p:txBody>
          <a:bodyPr wrap="square">
            <a:spAutoFit/>
          </a:bodyPr>
          <a:lstStyle/>
          <a:p>
            <a:pPr algn="just"/>
            <a:r>
              <a:rPr lang="en-US" sz="1100" kern="0" dirty="0">
                <a:solidFill>
                  <a:prstClr val="black"/>
                </a:solidFill>
                <a:latin typeface="Arial" panose="020B0604020202020204" pitchFamily="34" charset="0"/>
                <a:cs typeface="Arial" panose="020B0604020202020204" pitchFamily="34" charset="0"/>
              </a:rPr>
              <a:t>B</a:t>
            </a:r>
            <a:r>
              <a:rPr kumimoji="0" lang="en-US" sz="11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e</a:t>
            </a:r>
            <a:r>
              <a:rPr kumimoji="0" lang="en-US"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stant) conditional prepayment rate of a portfolio 𝑝 of homogeneous prepayment-exposed loans given in currency c and given the prevailing term structure of interest rates</a:t>
            </a:r>
            <a:endParaRPr lang="en-IN" sz="2400" dirty="0"/>
          </a:p>
        </p:txBody>
      </p:sp>
      <p:sp>
        <p:nvSpPr>
          <p:cNvPr id="65" name="TextBox 64">
            <a:extLst>
              <a:ext uri="{FF2B5EF4-FFF2-40B4-BE49-F238E27FC236}">
                <a16:creationId xmlns:a16="http://schemas.microsoft.com/office/drawing/2014/main" id="{AC59EF3B-E96B-4522-B6C1-000421178691}"/>
              </a:ext>
            </a:extLst>
          </p:cNvPr>
          <p:cNvSpPr txBox="1"/>
          <p:nvPr/>
        </p:nvSpPr>
        <p:spPr>
          <a:xfrm>
            <a:off x="7086600" y="2662696"/>
            <a:ext cx="4571999" cy="600164"/>
          </a:xfrm>
          <a:prstGeom prst="rect">
            <a:avLst/>
          </a:prstGeom>
          <a:noFill/>
        </p:spPr>
        <p:txBody>
          <a:bodyPr wrap="square">
            <a:spAutoFit/>
          </a:bodyPr>
          <a:lstStyle/>
          <a:p>
            <a:pPr algn="just"/>
            <a:r>
              <a:rPr lang="en-US" sz="1100" kern="0" dirty="0">
                <a:solidFill>
                  <a:prstClr val="black"/>
                </a:solidFill>
                <a:latin typeface="Arial" panose="020B0604020202020204" pitchFamily="34" charset="0"/>
                <a:cs typeface="Arial" panose="020B0604020202020204" pitchFamily="34" charset="0"/>
              </a:rPr>
              <a:t>B</a:t>
            </a:r>
            <a:r>
              <a:rPr kumimoji="0" lang="en-US" sz="1100" b="0"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e</a:t>
            </a:r>
            <a:r>
              <a:rPr kumimoji="0" lang="en-US"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nstant) term deposit redemption rate of a portfolio 𝑝 of homogeneous prepayment-exposed loans given in currency c and given the prevailing term structure of interest rates</a:t>
            </a:r>
            <a:endParaRPr lang="en-IN" sz="2400" dirty="0"/>
          </a:p>
        </p:txBody>
      </p:sp>
      <p:sp>
        <p:nvSpPr>
          <p:cNvPr id="69" name="Rectangle 68">
            <a:extLst>
              <a:ext uri="{FF2B5EF4-FFF2-40B4-BE49-F238E27FC236}">
                <a16:creationId xmlns:a16="http://schemas.microsoft.com/office/drawing/2014/main" id="{135C4BFC-71B3-4CC9-9805-FCDAD1221CCB}"/>
              </a:ext>
            </a:extLst>
          </p:cNvPr>
          <p:cNvSpPr/>
          <p:nvPr/>
        </p:nvSpPr>
        <p:spPr bwMode="gray">
          <a:xfrm>
            <a:off x="1977855" y="4221001"/>
            <a:ext cx="4800601" cy="338499"/>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Prepayment Scalars (Inverse Relationship)</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0" name="Rectangle 69">
            <a:extLst>
              <a:ext uri="{FF2B5EF4-FFF2-40B4-BE49-F238E27FC236}">
                <a16:creationId xmlns:a16="http://schemas.microsoft.com/office/drawing/2014/main" id="{296F1208-646E-47DA-BD13-F7D0A3590235}"/>
              </a:ext>
            </a:extLst>
          </p:cNvPr>
          <p:cNvSpPr/>
          <p:nvPr/>
        </p:nvSpPr>
        <p:spPr bwMode="gray">
          <a:xfrm>
            <a:off x="7083256" y="4221001"/>
            <a:ext cx="4495799" cy="338499"/>
          </a:xfrm>
          <a:prstGeom prst="rect">
            <a:avLst/>
          </a:prstGeom>
          <a:solidFill>
            <a:srgbClr val="002060"/>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Early Redemption Scalars (Direct Relationship)</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75" name="Picture 74">
            <a:extLst>
              <a:ext uri="{FF2B5EF4-FFF2-40B4-BE49-F238E27FC236}">
                <a16:creationId xmlns:a16="http://schemas.microsoft.com/office/drawing/2014/main" id="{C120912B-144E-469D-B637-888A0D6C01F8}"/>
              </a:ext>
            </a:extLst>
          </p:cNvPr>
          <p:cNvPicPr>
            <a:picLocks noChangeAspect="1"/>
          </p:cNvPicPr>
          <p:nvPr/>
        </p:nvPicPr>
        <p:blipFill>
          <a:blip r:embed="rId8"/>
          <a:stretch>
            <a:fillRect/>
          </a:stretch>
        </p:blipFill>
        <p:spPr>
          <a:xfrm>
            <a:off x="3622631" y="6285081"/>
            <a:ext cx="1668108" cy="285750"/>
          </a:xfrm>
          <a:prstGeom prst="rect">
            <a:avLst/>
          </a:prstGeom>
          <a:ln>
            <a:solidFill>
              <a:schemeClr val="tx1"/>
            </a:solidFill>
          </a:ln>
        </p:spPr>
      </p:pic>
      <p:pic>
        <p:nvPicPr>
          <p:cNvPr id="77" name="Picture 76">
            <a:extLst>
              <a:ext uri="{FF2B5EF4-FFF2-40B4-BE49-F238E27FC236}">
                <a16:creationId xmlns:a16="http://schemas.microsoft.com/office/drawing/2014/main" id="{B08DDE88-98E8-4140-B288-0AA929D38234}"/>
              </a:ext>
            </a:extLst>
          </p:cNvPr>
          <p:cNvPicPr>
            <a:picLocks noChangeAspect="1"/>
          </p:cNvPicPr>
          <p:nvPr/>
        </p:nvPicPr>
        <p:blipFill>
          <a:blip r:embed="rId9"/>
          <a:stretch>
            <a:fillRect/>
          </a:stretch>
        </p:blipFill>
        <p:spPr>
          <a:xfrm>
            <a:off x="8534400" y="6280318"/>
            <a:ext cx="1895475" cy="295275"/>
          </a:xfrm>
          <a:prstGeom prst="rect">
            <a:avLst/>
          </a:prstGeom>
          <a:ln>
            <a:solidFill>
              <a:schemeClr val="tx1"/>
            </a:solidFill>
          </a:ln>
        </p:spPr>
      </p:pic>
      <p:pic>
        <p:nvPicPr>
          <p:cNvPr id="78" name="Picture 77">
            <a:extLst>
              <a:ext uri="{FF2B5EF4-FFF2-40B4-BE49-F238E27FC236}">
                <a16:creationId xmlns:a16="http://schemas.microsoft.com/office/drawing/2014/main" id="{7D13C39B-3C98-43E4-A9FD-CF3700A274CD}"/>
              </a:ext>
            </a:extLst>
          </p:cNvPr>
          <p:cNvPicPr>
            <a:picLocks noChangeAspect="1"/>
          </p:cNvPicPr>
          <p:nvPr/>
        </p:nvPicPr>
        <p:blipFill rotWithShape="1">
          <a:blip r:embed="rId10"/>
          <a:srcRect t="1939" b="324"/>
          <a:stretch/>
        </p:blipFill>
        <p:spPr>
          <a:xfrm>
            <a:off x="2004949" y="4695938"/>
            <a:ext cx="4773508" cy="1400062"/>
          </a:xfrm>
          <a:prstGeom prst="rect">
            <a:avLst/>
          </a:prstGeom>
          <a:ln>
            <a:solidFill>
              <a:schemeClr val="tx1"/>
            </a:solidFill>
          </a:ln>
        </p:spPr>
      </p:pic>
      <p:pic>
        <p:nvPicPr>
          <p:cNvPr id="79" name="Picture 78">
            <a:extLst>
              <a:ext uri="{FF2B5EF4-FFF2-40B4-BE49-F238E27FC236}">
                <a16:creationId xmlns:a16="http://schemas.microsoft.com/office/drawing/2014/main" id="{8633D31D-7285-4F84-BC29-CB23551DA560}"/>
              </a:ext>
            </a:extLst>
          </p:cNvPr>
          <p:cNvPicPr>
            <a:picLocks noChangeAspect="1"/>
          </p:cNvPicPr>
          <p:nvPr/>
        </p:nvPicPr>
        <p:blipFill>
          <a:blip r:embed="rId11"/>
          <a:stretch>
            <a:fillRect/>
          </a:stretch>
        </p:blipFill>
        <p:spPr>
          <a:xfrm>
            <a:off x="7083256" y="4687306"/>
            <a:ext cx="4495799" cy="1408693"/>
          </a:xfrm>
          <a:prstGeom prst="rect">
            <a:avLst/>
          </a:prstGeom>
          <a:ln>
            <a:solidFill>
              <a:schemeClr val="tx1"/>
            </a:solidFill>
          </a:ln>
        </p:spPr>
      </p:pic>
    </p:spTree>
    <p:extLst>
      <p:ext uri="{BB962C8B-B14F-4D97-AF65-F5344CB8AC3E}">
        <p14:creationId xmlns:p14="http://schemas.microsoft.com/office/powerpoint/2010/main" val="32956562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677398"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5: Cashflow generation for non-amenable positions (Behavioural Optionality – Prepayment and redemption risk)</a:t>
            </a:r>
          </a:p>
        </p:txBody>
      </p:sp>
      <p:sp>
        <p:nvSpPr>
          <p:cNvPr id="54" name="Rectangle 53">
            <a:extLst>
              <a:ext uri="{FF2B5EF4-FFF2-40B4-BE49-F238E27FC236}">
                <a16:creationId xmlns:a16="http://schemas.microsoft.com/office/drawing/2014/main" id="{21B82D35-B480-4C1E-B27F-6969282B95E3}"/>
              </a:ext>
            </a:extLst>
          </p:cNvPr>
          <p:cNvSpPr/>
          <p:nvPr/>
        </p:nvSpPr>
        <p:spPr bwMode="gray">
          <a:xfrm>
            <a:off x="1981199" y="1797367"/>
            <a:ext cx="9677399" cy="338499"/>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5.3 : Prepayment adjusted behavioral cashflows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BA60CBB1-F764-4870-A264-B430782C905A}"/>
              </a:ext>
            </a:extLst>
          </p:cNvPr>
          <p:cNvGraphicFramePr>
            <a:graphicFrameLocks noGrp="1"/>
          </p:cNvGraphicFramePr>
          <p:nvPr>
            <p:extLst>
              <p:ext uri="{D42A27DB-BD31-4B8C-83A1-F6EECF244321}">
                <p14:modId xmlns:p14="http://schemas.microsoft.com/office/powerpoint/2010/main" val="267496039"/>
              </p:ext>
            </p:extLst>
          </p:nvPr>
        </p:nvGraphicFramePr>
        <p:xfrm>
          <a:off x="2438400" y="2302115"/>
          <a:ext cx="2159000" cy="368300"/>
        </p:xfrm>
        <a:graphic>
          <a:graphicData uri="http://schemas.openxmlformats.org/drawingml/2006/table">
            <a:tbl>
              <a:tblPr/>
              <a:tblGrid>
                <a:gridCol w="1003075">
                  <a:extLst>
                    <a:ext uri="{9D8B030D-6E8A-4147-A177-3AD203B41FA5}">
                      <a16:colId xmlns:a16="http://schemas.microsoft.com/office/drawing/2014/main" val="3954728086"/>
                    </a:ext>
                  </a:extLst>
                </a:gridCol>
                <a:gridCol w="1155925">
                  <a:extLst>
                    <a:ext uri="{9D8B030D-6E8A-4147-A177-3AD203B41FA5}">
                      <a16:colId xmlns:a16="http://schemas.microsoft.com/office/drawing/2014/main" val="1763264845"/>
                    </a:ext>
                  </a:extLst>
                </a:gridCol>
              </a:tblGrid>
              <a:tr h="184150">
                <a:tc gridSpan="2">
                  <a:txBody>
                    <a:bodyPr/>
                    <a:lstStyle/>
                    <a:p>
                      <a:pPr algn="ctr" fontAlgn="b"/>
                      <a:r>
                        <a:rPr lang="en-IN" sz="1100" b="1" i="0" u="none" strike="noStrike">
                          <a:solidFill>
                            <a:srgbClr val="FFFFFF"/>
                          </a:solidFill>
                          <a:effectLst/>
                          <a:latin typeface="Calibri" panose="020F0502020204030204" pitchFamily="34" charset="0"/>
                        </a:rPr>
                        <a:t>Base Rate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extLst>
                  <a:ext uri="{0D108BD9-81ED-4DB2-BD59-A6C34878D82A}">
                    <a16:rowId xmlns:a16="http://schemas.microsoft.com/office/drawing/2014/main" val="3350872231"/>
                  </a:ext>
                </a:extLst>
              </a:tr>
              <a:tr h="184150">
                <a:tc>
                  <a:txBody>
                    <a:bodyPr/>
                    <a:lstStyle/>
                    <a:p>
                      <a:pPr algn="ctr" fontAlgn="b"/>
                      <a:r>
                        <a:rPr lang="en-IN" sz="1100" b="0" i="0" u="none" strike="noStrike">
                          <a:solidFill>
                            <a:srgbClr val="000000"/>
                          </a:solidFill>
                          <a:effectLst/>
                          <a:latin typeface="Calibri" panose="020F0502020204030204" pitchFamily="34" charset="0"/>
                        </a:rPr>
                        <a:t>Base CP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439756"/>
                  </a:ext>
                </a:extLst>
              </a:tr>
            </a:tbl>
          </a:graphicData>
        </a:graphic>
      </p:graphicFrame>
      <p:graphicFrame>
        <p:nvGraphicFramePr>
          <p:cNvPr id="14" name="Table 13">
            <a:extLst>
              <a:ext uri="{FF2B5EF4-FFF2-40B4-BE49-F238E27FC236}">
                <a16:creationId xmlns:a16="http://schemas.microsoft.com/office/drawing/2014/main" id="{E459DEFA-A776-411F-BDB4-8D7E28B62A0C}"/>
              </a:ext>
            </a:extLst>
          </p:cNvPr>
          <p:cNvGraphicFramePr>
            <a:graphicFrameLocks noGrp="1"/>
          </p:cNvGraphicFramePr>
          <p:nvPr>
            <p:extLst>
              <p:ext uri="{D42A27DB-BD31-4B8C-83A1-F6EECF244321}">
                <p14:modId xmlns:p14="http://schemas.microsoft.com/office/powerpoint/2010/main" val="650922276"/>
              </p:ext>
            </p:extLst>
          </p:nvPr>
        </p:nvGraphicFramePr>
        <p:xfrm>
          <a:off x="1981199" y="2816098"/>
          <a:ext cx="3238500" cy="1371488"/>
        </p:xfrm>
        <a:graphic>
          <a:graphicData uri="http://schemas.openxmlformats.org/drawingml/2006/table">
            <a:tbl>
              <a:tblPr/>
              <a:tblGrid>
                <a:gridCol w="1003075">
                  <a:extLst>
                    <a:ext uri="{9D8B030D-6E8A-4147-A177-3AD203B41FA5}">
                      <a16:colId xmlns:a16="http://schemas.microsoft.com/office/drawing/2014/main" val="400693888"/>
                    </a:ext>
                  </a:extLst>
                </a:gridCol>
                <a:gridCol w="1155925">
                  <a:extLst>
                    <a:ext uri="{9D8B030D-6E8A-4147-A177-3AD203B41FA5}">
                      <a16:colId xmlns:a16="http://schemas.microsoft.com/office/drawing/2014/main" val="259754541"/>
                    </a:ext>
                  </a:extLst>
                </a:gridCol>
                <a:gridCol w="1079500">
                  <a:extLst>
                    <a:ext uri="{9D8B030D-6E8A-4147-A177-3AD203B41FA5}">
                      <a16:colId xmlns:a16="http://schemas.microsoft.com/office/drawing/2014/main" val="1740723474"/>
                    </a:ext>
                  </a:extLst>
                </a:gridCol>
              </a:tblGrid>
              <a:tr h="171436">
                <a:tc gridSpan="3">
                  <a:txBody>
                    <a:bodyPr/>
                    <a:lstStyle/>
                    <a:p>
                      <a:pPr algn="ctr" fontAlgn="b"/>
                      <a:r>
                        <a:rPr lang="en-IN" sz="1100" b="1" i="0" u="none" strike="noStrike">
                          <a:solidFill>
                            <a:srgbClr val="FFFFFF"/>
                          </a:solidFill>
                          <a:effectLst/>
                          <a:latin typeface="Calibri" panose="020F0502020204030204" pitchFamily="34" charset="0"/>
                        </a:rPr>
                        <a:t>Scenario specific behavioral scalars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298269192"/>
                  </a:ext>
                </a:extLst>
              </a:tr>
              <a:tr h="171436">
                <a:tc>
                  <a:txBody>
                    <a:bodyPr/>
                    <a:lstStyle/>
                    <a:p>
                      <a:pPr algn="ctr" fontAlgn="b"/>
                      <a:r>
                        <a:rPr lang="en-IN" sz="1100" b="1" i="0" u="none" strike="noStrike">
                          <a:solidFill>
                            <a:srgbClr val="000000"/>
                          </a:solidFill>
                          <a:effectLst/>
                          <a:latin typeface="Calibri" panose="020F0502020204030204" pitchFamily="34" charset="0"/>
                        </a:rPr>
                        <a:t>Scenar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Prepayment Scal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a:solidFill>
                            <a:srgbClr val="000000"/>
                          </a:solidFill>
                          <a:effectLst/>
                          <a:latin typeface="Calibri" panose="020F0502020204030204" pitchFamily="34" charset="0"/>
                        </a:rPr>
                        <a:t>Prepayment R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1600273"/>
                  </a:ext>
                </a:extLst>
              </a:tr>
              <a:tr h="171436">
                <a:tc>
                  <a:txBody>
                    <a:bodyPr/>
                    <a:lstStyle/>
                    <a:p>
                      <a:pPr algn="ctr" fontAlgn="b"/>
                      <a:r>
                        <a:rPr lang="en-IN" sz="1100" b="0" i="0" u="none" strike="noStrike">
                          <a:solidFill>
                            <a:srgbClr val="000000"/>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0656599"/>
                  </a:ext>
                </a:extLst>
              </a:tr>
              <a:tr h="171436">
                <a:tc>
                  <a:txBody>
                    <a:bodyPr/>
                    <a:lstStyle/>
                    <a:p>
                      <a:pPr algn="ctr" fontAlgn="b"/>
                      <a:r>
                        <a:rPr lang="en-IN" sz="1100" b="0" i="0" u="none" strike="noStrike">
                          <a:solidFill>
                            <a:srgbClr val="000000"/>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1327203"/>
                  </a:ext>
                </a:extLst>
              </a:tr>
              <a:tr h="171436">
                <a:tc>
                  <a:txBody>
                    <a:bodyPr/>
                    <a:lstStyle/>
                    <a:p>
                      <a:pPr algn="ctr" fontAlgn="b"/>
                      <a:r>
                        <a:rPr lang="en-IN" sz="1100" b="0" i="0" u="none" strike="noStrike">
                          <a:solidFill>
                            <a:srgbClr val="000000"/>
                          </a:solidFill>
                          <a:effectLst/>
                          <a:latin typeface="Calibri" panose="020F0502020204030204" pitchFamily="34" charset="0"/>
                        </a:rPr>
                        <a:t>Steep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317270"/>
                  </a:ext>
                </a:extLst>
              </a:tr>
              <a:tr h="171436">
                <a:tc>
                  <a:txBody>
                    <a:bodyPr/>
                    <a:lstStyle/>
                    <a:p>
                      <a:pPr algn="ctr" fontAlgn="b"/>
                      <a:r>
                        <a:rPr lang="en-IN" sz="1100" b="0" i="0" u="none" strike="noStrike">
                          <a:solidFill>
                            <a:srgbClr val="000000"/>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1411028"/>
                  </a:ext>
                </a:extLst>
              </a:tr>
              <a:tr h="171436">
                <a:tc>
                  <a:txBody>
                    <a:bodyPr/>
                    <a:lstStyle/>
                    <a:p>
                      <a:pPr algn="ctr" fontAlgn="b"/>
                      <a:r>
                        <a:rPr lang="en-IN" sz="1100" b="0" i="0" u="none" strike="noStrike">
                          <a:solidFill>
                            <a:srgbClr val="000000"/>
                          </a:solidFill>
                          <a:effectLst/>
                          <a:latin typeface="Calibri" panose="020F0502020204030204" pitchFamily="34" charset="0"/>
                        </a:rPr>
                        <a:t>Short 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2544530"/>
                  </a:ext>
                </a:extLst>
              </a:tr>
              <a:tr h="171436">
                <a:tc>
                  <a:txBody>
                    <a:bodyPr/>
                    <a:lstStyle/>
                    <a:p>
                      <a:pPr algn="ctr" fontAlgn="b"/>
                      <a:r>
                        <a:rPr lang="en-IN" sz="1100" b="0" i="0" u="none" strike="noStrike">
                          <a:solidFill>
                            <a:srgbClr val="000000"/>
                          </a:solidFill>
                          <a:effectLst/>
                          <a:latin typeface="Calibri" panose="020F0502020204030204" pitchFamily="34" charset="0"/>
                        </a:rPr>
                        <a:t>Short 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9.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9853287"/>
                  </a:ext>
                </a:extLst>
              </a:tr>
            </a:tbl>
          </a:graphicData>
        </a:graphic>
      </p:graphicFrame>
      <p:graphicFrame>
        <p:nvGraphicFramePr>
          <p:cNvPr id="15" name="Table 14">
            <a:extLst>
              <a:ext uri="{FF2B5EF4-FFF2-40B4-BE49-F238E27FC236}">
                <a16:creationId xmlns:a16="http://schemas.microsoft.com/office/drawing/2014/main" id="{E844C038-F9D0-4882-8936-FFBCD14493F1}"/>
              </a:ext>
            </a:extLst>
          </p:cNvPr>
          <p:cNvGraphicFramePr>
            <a:graphicFrameLocks noGrp="1"/>
          </p:cNvGraphicFramePr>
          <p:nvPr>
            <p:extLst>
              <p:ext uri="{D42A27DB-BD31-4B8C-83A1-F6EECF244321}">
                <p14:modId xmlns:p14="http://schemas.microsoft.com/office/powerpoint/2010/main" val="232591153"/>
              </p:ext>
            </p:extLst>
          </p:nvPr>
        </p:nvGraphicFramePr>
        <p:xfrm>
          <a:off x="5538891" y="2277346"/>
          <a:ext cx="6096000" cy="2011680"/>
        </p:xfrm>
        <a:graphic>
          <a:graphicData uri="http://schemas.openxmlformats.org/drawingml/2006/table">
            <a:tbl>
              <a:tblPr/>
              <a:tblGrid>
                <a:gridCol w="838200">
                  <a:extLst>
                    <a:ext uri="{9D8B030D-6E8A-4147-A177-3AD203B41FA5}">
                      <a16:colId xmlns:a16="http://schemas.microsoft.com/office/drawing/2014/main" val="298787161"/>
                    </a:ext>
                  </a:extLst>
                </a:gridCol>
                <a:gridCol w="609600">
                  <a:extLst>
                    <a:ext uri="{9D8B030D-6E8A-4147-A177-3AD203B41FA5}">
                      <a16:colId xmlns:a16="http://schemas.microsoft.com/office/drawing/2014/main" val="2893081200"/>
                    </a:ext>
                  </a:extLst>
                </a:gridCol>
                <a:gridCol w="698500">
                  <a:extLst>
                    <a:ext uri="{9D8B030D-6E8A-4147-A177-3AD203B41FA5}">
                      <a16:colId xmlns:a16="http://schemas.microsoft.com/office/drawing/2014/main" val="2085663060"/>
                    </a:ext>
                  </a:extLst>
                </a:gridCol>
                <a:gridCol w="876300">
                  <a:extLst>
                    <a:ext uri="{9D8B030D-6E8A-4147-A177-3AD203B41FA5}">
                      <a16:colId xmlns:a16="http://schemas.microsoft.com/office/drawing/2014/main" val="1420639733"/>
                    </a:ext>
                  </a:extLst>
                </a:gridCol>
                <a:gridCol w="609600">
                  <a:extLst>
                    <a:ext uri="{9D8B030D-6E8A-4147-A177-3AD203B41FA5}">
                      <a16:colId xmlns:a16="http://schemas.microsoft.com/office/drawing/2014/main" val="3950289316"/>
                    </a:ext>
                  </a:extLst>
                </a:gridCol>
                <a:gridCol w="609600">
                  <a:extLst>
                    <a:ext uri="{9D8B030D-6E8A-4147-A177-3AD203B41FA5}">
                      <a16:colId xmlns:a16="http://schemas.microsoft.com/office/drawing/2014/main" val="2614024769"/>
                    </a:ext>
                  </a:extLst>
                </a:gridCol>
                <a:gridCol w="838200">
                  <a:extLst>
                    <a:ext uri="{9D8B030D-6E8A-4147-A177-3AD203B41FA5}">
                      <a16:colId xmlns:a16="http://schemas.microsoft.com/office/drawing/2014/main" val="815938279"/>
                    </a:ext>
                  </a:extLst>
                </a:gridCol>
                <a:gridCol w="1016000">
                  <a:extLst>
                    <a:ext uri="{9D8B030D-6E8A-4147-A177-3AD203B41FA5}">
                      <a16:colId xmlns:a16="http://schemas.microsoft.com/office/drawing/2014/main" val="867886786"/>
                    </a:ext>
                  </a:extLst>
                </a:gridCol>
              </a:tblGrid>
              <a:tr h="157341">
                <a:tc>
                  <a:txBody>
                    <a:bodyPr/>
                    <a:lstStyle/>
                    <a:p>
                      <a:pPr algn="ctr" fontAlgn="b"/>
                      <a:r>
                        <a:rPr lang="en-IN" sz="1100" b="1" i="0" u="none" strike="noStrike" dirty="0">
                          <a:solidFill>
                            <a:srgbClr val="FFFFFF"/>
                          </a:solidFill>
                          <a:effectLst/>
                          <a:latin typeface="Calibri" panose="020F0502020204030204" pitchFamily="34" charset="0"/>
                        </a:rPr>
                        <a:t>D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Baseli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teep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hort 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hort 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4017533314"/>
                  </a:ext>
                </a:extLst>
              </a:tr>
              <a:tr h="157341">
                <a:tc>
                  <a:txBody>
                    <a:bodyPr/>
                    <a:lstStyle/>
                    <a:p>
                      <a:pPr algn="ctr" fontAlgn="b"/>
                      <a:r>
                        <a:rPr lang="en-IN" sz="1100" b="0" i="0" u="none" strike="noStrike" dirty="0">
                          <a:solidFill>
                            <a:srgbClr val="000000"/>
                          </a:solidFill>
                          <a:effectLst/>
                          <a:latin typeface="Calibri" panose="020F0502020204030204" pitchFamily="34" charset="0"/>
                        </a:rPr>
                        <a:t>31-Jan-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6573593"/>
                  </a:ext>
                </a:extLst>
              </a:tr>
              <a:tr h="157341">
                <a:tc>
                  <a:txBody>
                    <a:bodyPr/>
                    <a:lstStyle/>
                    <a:p>
                      <a:pPr algn="ctr" fontAlgn="b"/>
                      <a:r>
                        <a:rPr lang="en-IN" sz="1100" b="0" i="0" u="none" strike="noStrike">
                          <a:solidFill>
                            <a:srgbClr val="000000"/>
                          </a:solidFill>
                          <a:effectLst/>
                          <a:latin typeface="Calibri" panose="020F0502020204030204" pitchFamily="34" charset="0"/>
                        </a:rPr>
                        <a:t>29-Feb-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46726"/>
                  </a:ext>
                </a:extLst>
              </a:tr>
              <a:tr h="157341">
                <a:tc>
                  <a:txBody>
                    <a:bodyPr/>
                    <a:lstStyle/>
                    <a:p>
                      <a:pPr algn="ctr" fontAlgn="b"/>
                      <a:r>
                        <a:rPr lang="en-IN" sz="1100" b="0" i="0" u="none" strike="noStrike">
                          <a:solidFill>
                            <a:srgbClr val="000000"/>
                          </a:solidFill>
                          <a:effectLst/>
                          <a:latin typeface="Calibri" panose="020F0502020204030204" pitchFamily="34" charset="0"/>
                        </a:rPr>
                        <a:t>31-Mar-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8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0377369"/>
                  </a:ext>
                </a:extLst>
              </a:tr>
              <a:tr h="157341">
                <a:tc>
                  <a:txBody>
                    <a:bodyPr/>
                    <a:lstStyle/>
                    <a:p>
                      <a:pPr algn="ctr" fontAlgn="b"/>
                      <a:r>
                        <a:rPr lang="en-IN" sz="1100" b="0" i="0" u="none" strike="noStrike">
                          <a:solidFill>
                            <a:srgbClr val="000000"/>
                          </a:solidFill>
                          <a:effectLst/>
                          <a:latin typeface="Calibri" panose="020F0502020204030204" pitchFamily="34" charset="0"/>
                        </a:rPr>
                        <a:t>30-Apr-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7993868"/>
                  </a:ext>
                </a:extLst>
              </a:tr>
              <a:tr h="157341">
                <a:tc>
                  <a:txBody>
                    <a:bodyPr/>
                    <a:lstStyle/>
                    <a:p>
                      <a:pPr algn="ctr" fontAlgn="b"/>
                      <a:r>
                        <a:rPr lang="en-IN" sz="1100" b="0" i="0" u="none" strike="noStrike">
                          <a:solidFill>
                            <a:srgbClr val="000000"/>
                          </a:solidFill>
                          <a:effectLst/>
                          <a:latin typeface="Calibri" panose="020F0502020204030204" pitchFamily="34" charset="0"/>
                        </a:rPr>
                        <a:t>31-May-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0526710"/>
                  </a:ext>
                </a:extLst>
              </a:tr>
              <a:tr h="157341">
                <a:tc>
                  <a:txBody>
                    <a:bodyPr/>
                    <a:lstStyle/>
                    <a:p>
                      <a:pPr algn="ctr" fontAlgn="b"/>
                      <a:r>
                        <a:rPr lang="en-IN" sz="1100" b="0" i="0" u="none" strike="noStrike">
                          <a:solidFill>
                            <a:srgbClr val="000000"/>
                          </a:solidFill>
                          <a:effectLst/>
                          <a:latin typeface="Calibri" panose="020F0502020204030204" pitchFamily="34" charset="0"/>
                        </a:rPr>
                        <a:t>30-Jun-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49.7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7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7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0767593"/>
                  </a:ext>
                </a:extLst>
              </a:tr>
              <a:tr h="157341">
                <a:tc>
                  <a:txBody>
                    <a:bodyPr/>
                    <a:lstStyle/>
                    <a:p>
                      <a:pPr algn="ctr" fontAlgn="b"/>
                      <a:r>
                        <a:rPr lang="en-IN" sz="1100" b="0" i="0" u="none" strike="noStrike">
                          <a:solidFill>
                            <a:srgbClr val="000000"/>
                          </a:solidFill>
                          <a:effectLst/>
                          <a:latin typeface="Calibri" panose="020F0502020204030204" pitchFamily="34" charset="0"/>
                        </a:rPr>
                        <a:t>31-Jul-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3906256"/>
                  </a:ext>
                </a:extLst>
              </a:tr>
              <a:tr h="157341">
                <a:tc>
                  <a:txBody>
                    <a:bodyPr/>
                    <a:lstStyle/>
                    <a:p>
                      <a:pPr algn="ctr" fontAlgn="b"/>
                      <a:r>
                        <a:rPr lang="en-IN" sz="1100" b="0" i="0" u="none" strike="noStrike">
                          <a:solidFill>
                            <a:srgbClr val="000000"/>
                          </a:solidFill>
                          <a:effectLst/>
                          <a:latin typeface="Calibri" panose="020F0502020204030204" pitchFamily="34" charset="0"/>
                        </a:rPr>
                        <a:t>31-Aug-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29.8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96078"/>
                  </a:ext>
                </a:extLst>
              </a:tr>
              <a:tr h="157341">
                <a:tc>
                  <a:txBody>
                    <a:bodyPr/>
                    <a:lstStyle/>
                    <a:p>
                      <a:pPr algn="ctr" fontAlgn="b"/>
                      <a:r>
                        <a:rPr lang="en-IN" sz="1100" b="0" i="0" u="none" strike="noStrike">
                          <a:solidFill>
                            <a:srgbClr val="000000"/>
                          </a:solidFill>
                          <a:effectLst/>
                          <a:latin typeface="Calibri" panose="020F0502020204030204" pitchFamily="34" charset="0"/>
                        </a:rPr>
                        <a:t>30-Sep-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19.8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6406920"/>
                  </a:ext>
                </a:extLst>
              </a:tr>
              <a:tr h="157341">
                <a:tc>
                  <a:txBody>
                    <a:bodyPr/>
                    <a:lstStyle/>
                    <a:p>
                      <a:pPr algn="ctr" fontAlgn="b"/>
                      <a:r>
                        <a:rPr lang="en-IN" sz="1100" b="0" i="0" u="none" strike="noStrike">
                          <a:solidFill>
                            <a:srgbClr val="000000"/>
                          </a:solidFill>
                          <a:effectLst/>
                          <a:latin typeface="Calibri" panose="020F0502020204030204" pitchFamily="34" charset="0"/>
                        </a:rPr>
                        <a:t>31-Oc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9.9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054527"/>
                  </a:ext>
                </a:extLst>
              </a:tr>
              <a:tr h="157341">
                <a:tc>
                  <a:txBody>
                    <a:bodyPr/>
                    <a:lstStyle/>
                    <a:p>
                      <a:pPr algn="ctr" fontAlgn="b"/>
                      <a:r>
                        <a:rPr lang="en-IN" sz="1100" b="0" i="0" u="none" strike="noStrike">
                          <a:solidFill>
                            <a:srgbClr val="000000"/>
                          </a:solidFill>
                          <a:effectLst/>
                          <a:latin typeface="Calibri" panose="020F0502020204030204" pitchFamily="34" charset="0"/>
                        </a:rPr>
                        <a:t>30-Nov-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52161"/>
                  </a:ext>
                </a:extLst>
              </a:tr>
            </a:tbl>
          </a:graphicData>
        </a:graphic>
      </p:graphicFrame>
      <p:graphicFrame>
        <p:nvGraphicFramePr>
          <p:cNvPr id="48" name="Chart 47">
            <a:extLst>
              <a:ext uri="{FF2B5EF4-FFF2-40B4-BE49-F238E27FC236}">
                <a16:creationId xmlns:a16="http://schemas.microsoft.com/office/drawing/2014/main" id="{8E1FCCB1-000A-4532-B2D9-BFB40C2A7CA4}"/>
              </a:ext>
            </a:extLst>
          </p:cNvPr>
          <p:cNvGraphicFramePr>
            <a:graphicFrameLocks/>
          </p:cNvGraphicFramePr>
          <p:nvPr>
            <p:extLst>
              <p:ext uri="{D42A27DB-BD31-4B8C-83A1-F6EECF244321}">
                <p14:modId xmlns:p14="http://schemas.microsoft.com/office/powerpoint/2010/main" val="2062039147"/>
              </p:ext>
            </p:extLst>
          </p:nvPr>
        </p:nvGraphicFramePr>
        <p:xfrm>
          <a:off x="1989666" y="4379695"/>
          <a:ext cx="9677398" cy="240210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046194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981200" y="1333134"/>
            <a:ext cx="9677398"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5: Cashflow generation for non-amenable positions (Behavioural Optionality – Prepayment and redemption risk)</a:t>
            </a:r>
          </a:p>
        </p:txBody>
      </p:sp>
      <p:sp>
        <p:nvSpPr>
          <p:cNvPr id="54" name="Rectangle 53">
            <a:extLst>
              <a:ext uri="{FF2B5EF4-FFF2-40B4-BE49-F238E27FC236}">
                <a16:creationId xmlns:a16="http://schemas.microsoft.com/office/drawing/2014/main" id="{21B82D35-B480-4C1E-B27F-6969282B95E3}"/>
              </a:ext>
            </a:extLst>
          </p:cNvPr>
          <p:cNvSpPr/>
          <p:nvPr/>
        </p:nvSpPr>
        <p:spPr bwMode="gray">
          <a:xfrm>
            <a:off x="1981199" y="1797367"/>
            <a:ext cx="9677399" cy="338499"/>
          </a:xfrm>
          <a:prstGeom prst="rect">
            <a:avLst/>
          </a:prstGeom>
          <a:solidFill>
            <a:schemeClr val="bg1">
              <a:lumMod val="50000"/>
            </a:schemeClr>
          </a:solidFill>
          <a:ln w="19050" algn="ctr">
            <a:solidFill>
              <a:schemeClr val="tx1">
                <a:lumMod val="65000"/>
                <a:lumOff val="35000"/>
              </a:schemeClr>
            </a:solidFill>
            <a:miter lim="800000"/>
            <a:headEnd/>
            <a:tailEnd/>
          </a:ln>
        </p:spPr>
        <p:txBody>
          <a:bodyPr wrap="square" lIns="88900" tIns="88900" rIns="88900" bIns="88900" rtlCol="0" anchor="ctr"/>
          <a:lstStyle/>
          <a:p>
            <a:pPr marL="0" marR="0" lvl="0" indent="0" algn="ctr" defTabSz="457200" rtl="0" eaLnBrk="1" fontAlgn="auto" latinLnBrk="0" hangingPunct="1">
              <a:lnSpc>
                <a:spcPct val="106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Step 5.4: TDRR adjusted behavioral cashflows </a:t>
            </a:r>
            <a:endPar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3" name="Table 12">
            <a:extLst>
              <a:ext uri="{FF2B5EF4-FFF2-40B4-BE49-F238E27FC236}">
                <a16:creationId xmlns:a16="http://schemas.microsoft.com/office/drawing/2014/main" id="{BA60CBB1-F764-4870-A264-B430782C905A}"/>
              </a:ext>
            </a:extLst>
          </p:cNvPr>
          <p:cNvGraphicFramePr>
            <a:graphicFrameLocks noGrp="1"/>
          </p:cNvGraphicFramePr>
          <p:nvPr>
            <p:extLst>
              <p:ext uri="{D42A27DB-BD31-4B8C-83A1-F6EECF244321}">
                <p14:modId xmlns:p14="http://schemas.microsoft.com/office/powerpoint/2010/main" val="371822413"/>
              </p:ext>
            </p:extLst>
          </p:nvPr>
        </p:nvGraphicFramePr>
        <p:xfrm>
          <a:off x="2438400" y="2302115"/>
          <a:ext cx="2159000" cy="368300"/>
        </p:xfrm>
        <a:graphic>
          <a:graphicData uri="http://schemas.openxmlformats.org/drawingml/2006/table">
            <a:tbl>
              <a:tblPr/>
              <a:tblGrid>
                <a:gridCol w="1003075">
                  <a:extLst>
                    <a:ext uri="{9D8B030D-6E8A-4147-A177-3AD203B41FA5}">
                      <a16:colId xmlns:a16="http://schemas.microsoft.com/office/drawing/2014/main" val="3954728086"/>
                    </a:ext>
                  </a:extLst>
                </a:gridCol>
                <a:gridCol w="1155925">
                  <a:extLst>
                    <a:ext uri="{9D8B030D-6E8A-4147-A177-3AD203B41FA5}">
                      <a16:colId xmlns:a16="http://schemas.microsoft.com/office/drawing/2014/main" val="1763264845"/>
                    </a:ext>
                  </a:extLst>
                </a:gridCol>
              </a:tblGrid>
              <a:tr h="184150">
                <a:tc gridSpan="2">
                  <a:txBody>
                    <a:bodyPr/>
                    <a:lstStyle/>
                    <a:p>
                      <a:pPr algn="ctr" fontAlgn="b"/>
                      <a:r>
                        <a:rPr lang="en-IN" sz="1100" b="1" i="0" u="none" strike="noStrike">
                          <a:solidFill>
                            <a:srgbClr val="FFFFFF"/>
                          </a:solidFill>
                          <a:effectLst/>
                          <a:latin typeface="Calibri" panose="020F0502020204030204" pitchFamily="34" charset="0"/>
                        </a:rPr>
                        <a:t>Base Rate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extLst>
                  <a:ext uri="{0D108BD9-81ED-4DB2-BD59-A6C34878D82A}">
                    <a16:rowId xmlns:a16="http://schemas.microsoft.com/office/drawing/2014/main" val="3350872231"/>
                  </a:ext>
                </a:extLst>
              </a:tr>
              <a:tr h="184150">
                <a:tc>
                  <a:txBody>
                    <a:bodyPr/>
                    <a:lstStyle/>
                    <a:p>
                      <a:pPr algn="ctr" fontAlgn="b"/>
                      <a:r>
                        <a:rPr lang="en-IN" sz="1100" b="0" i="0" u="none" strike="noStrike" dirty="0">
                          <a:solidFill>
                            <a:srgbClr val="000000"/>
                          </a:solidFill>
                          <a:effectLst/>
                          <a:latin typeface="Calibri" panose="020F0502020204030204" pitchFamily="34" charset="0"/>
                        </a:rPr>
                        <a:t>Base TDR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alibri" panose="020F0502020204030204" pitchFamily="34" charset="0"/>
                        </a:rPr>
                        <a:t>1</a:t>
                      </a:r>
                      <a:r>
                        <a:rPr lang="en-IN" sz="11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4439756"/>
                  </a:ext>
                </a:extLst>
              </a:tr>
            </a:tbl>
          </a:graphicData>
        </a:graphic>
      </p:graphicFrame>
      <p:graphicFrame>
        <p:nvGraphicFramePr>
          <p:cNvPr id="14" name="Table 13">
            <a:extLst>
              <a:ext uri="{FF2B5EF4-FFF2-40B4-BE49-F238E27FC236}">
                <a16:creationId xmlns:a16="http://schemas.microsoft.com/office/drawing/2014/main" id="{E459DEFA-A776-411F-BDB4-8D7E28B62A0C}"/>
              </a:ext>
            </a:extLst>
          </p:cNvPr>
          <p:cNvGraphicFramePr>
            <a:graphicFrameLocks noGrp="1"/>
          </p:cNvGraphicFramePr>
          <p:nvPr>
            <p:extLst>
              <p:ext uri="{D42A27DB-BD31-4B8C-83A1-F6EECF244321}">
                <p14:modId xmlns:p14="http://schemas.microsoft.com/office/powerpoint/2010/main" val="447545715"/>
              </p:ext>
            </p:extLst>
          </p:nvPr>
        </p:nvGraphicFramePr>
        <p:xfrm>
          <a:off x="1981199" y="2816098"/>
          <a:ext cx="3238500" cy="1386812"/>
        </p:xfrm>
        <a:graphic>
          <a:graphicData uri="http://schemas.openxmlformats.org/drawingml/2006/table">
            <a:tbl>
              <a:tblPr/>
              <a:tblGrid>
                <a:gridCol w="1003075">
                  <a:extLst>
                    <a:ext uri="{9D8B030D-6E8A-4147-A177-3AD203B41FA5}">
                      <a16:colId xmlns:a16="http://schemas.microsoft.com/office/drawing/2014/main" val="400693888"/>
                    </a:ext>
                  </a:extLst>
                </a:gridCol>
                <a:gridCol w="1155925">
                  <a:extLst>
                    <a:ext uri="{9D8B030D-6E8A-4147-A177-3AD203B41FA5}">
                      <a16:colId xmlns:a16="http://schemas.microsoft.com/office/drawing/2014/main" val="259754541"/>
                    </a:ext>
                  </a:extLst>
                </a:gridCol>
                <a:gridCol w="1079500">
                  <a:extLst>
                    <a:ext uri="{9D8B030D-6E8A-4147-A177-3AD203B41FA5}">
                      <a16:colId xmlns:a16="http://schemas.microsoft.com/office/drawing/2014/main" val="1740723474"/>
                    </a:ext>
                  </a:extLst>
                </a:gridCol>
              </a:tblGrid>
              <a:tr h="171436">
                <a:tc gridSpan="3">
                  <a:txBody>
                    <a:bodyPr/>
                    <a:lstStyle/>
                    <a:p>
                      <a:pPr algn="ctr" fontAlgn="b"/>
                      <a:r>
                        <a:rPr lang="en-IN" sz="1100" b="1" i="0" u="none" strike="noStrike">
                          <a:solidFill>
                            <a:srgbClr val="FFFFFF"/>
                          </a:solidFill>
                          <a:effectLst/>
                          <a:latin typeface="Calibri" panose="020F0502020204030204" pitchFamily="34" charset="0"/>
                        </a:rPr>
                        <a:t>Scenario specific behavioral scalars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298269192"/>
                  </a:ext>
                </a:extLst>
              </a:tr>
              <a:tr h="171436">
                <a:tc>
                  <a:txBody>
                    <a:bodyPr/>
                    <a:lstStyle/>
                    <a:p>
                      <a:pPr algn="ctr" fontAlgn="b"/>
                      <a:r>
                        <a:rPr lang="en-IN" sz="1100" b="1" i="0" u="none" strike="noStrike">
                          <a:solidFill>
                            <a:srgbClr val="000000"/>
                          </a:solidFill>
                          <a:effectLst/>
                          <a:latin typeface="Calibri" panose="020F0502020204030204" pitchFamily="34" charset="0"/>
                        </a:rPr>
                        <a:t>Scenar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dirty="0">
                          <a:solidFill>
                            <a:srgbClr val="000000"/>
                          </a:solidFill>
                          <a:effectLst/>
                          <a:latin typeface="Calibri" panose="020F0502020204030204" pitchFamily="34" charset="0"/>
                        </a:rPr>
                        <a:t>TDRR Scala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1" i="0" u="none" strike="noStrike" dirty="0">
                          <a:solidFill>
                            <a:srgbClr val="000000"/>
                          </a:solidFill>
                          <a:effectLst/>
                          <a:latin typeface="Calibri" panose="020F0502020204030204" pitchFamily="34" charset="0"/>
                        </a:rPr>
                        <a:t>TDRR R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1600273"/>
                  </a:ext>
                </a:extLst>
              </a:tr>
              <a:tr h="171436">
                <a:tc>
                  <a:txBody>
                    <a:bodyPr/>
                    <a:lstStyle/>
                    <a:p>
                      <a:pPr algn="ctr" fontAlgn="b"/>
                      <a:r>
                        <a:rPr lang="en-IN" sz="1100" b="0" i="0" u="none" strike="noStrike">
                          <a:solidFill>
                            <a:srgbClr val="000000"/>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1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0656599"/>
                  </a:ext>
                </a:extLst>
              </a:tr>
              <a:tr h="171436">
                <a:tc>
                  <a:txBody>
                    <a:bodyPr/>
                    <a:lstStyle/>
                    <a:p>
                      <a:pPr algn="ctr" fontAlgn="b"/>
                      <a:r>
                        <a:rPr lang="en-IN" sz="1100" b="0" i="0" u="none" strike="noStrike">
                          <a:solidFill>
                            <a:srgbClr val="000000"/>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1327203"/>
                  </a:ext>
                </a:extLst>
              </a:tr>
              <a:tr h="171436">
                <a:tc>
                  <a:txBody>
                    <a:bodyPr/>
                    <a:lstStyle/>
                    <a:p>
                      <a:pPr algn="ctr" fontAlgn="b"/>
                      <a:r>
                        <a:rPr lang="en-IN" sz="1100" b="0" i="0" u="none" strike="noStrike">
                          <a:solidFill>
                            <a:srgbClr val="000000"/>
                          </a:solidFill>
                          <a:effectLst/>
                          <a:latin typeface="Calibri" panose="020F0502020204030204" pitchFamily="34" charset="0"/>
                        </a:rPr>
                        <a:t>Steep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317270"/>
                  </a:ext>
                </a:extLst>
              </a:tr>
              <a:tr h="171436">
                <a:tc>
                  <a:txBody>
                    <a:bodyPr/>
                    <a:lstStyle/>
                    <a:p>
                      <a:pPr algn="ctr" fontAlgn="b"/>
                      <a:r>
                        <a:rPr lang="en-IN" sz="1100" b="0" i="0" u="none" strike="noStrike">
                          <a:solidFill>
                            <a:srgbClr val="000000"/>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1411028"/>
                  </a:ext>
                </a:extLst>
              </a:tr>
              <a:tr h="171436">
                <a:tc>
                  <a:txBody>
                    <a:bodyPr/>
                    <a:lstStyle/>
                    <a:p>
                      <a:pPr algn="ctr" fontAlgn="b"/>
                      <a:r>
                        <a:rPr lang="en-IN" sz="1100" b="0" i="0" u="none" strike="noStrike">
                          <a:solidFill>
                            <a:srgbClr val="000000"/>
                          </a:solidFill>
                          <a:effectLst/>
                          <a:latin typeface="Calibri" panose="020F0502020204030204" pitchFamily="34" charset="0"/>
                        </a:rPr>
                        <a:t>Short 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2.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2544530"/>
                  </a:ext>
                </a:extLst>
              </a:tr>
              <a:tr h="171436">
                <a:tc>
                  <a:txBody>
                    <a:bodyPr/>
                    <a:lstStyle/>
                    <a:p>
                      <a:pPr algn="ctr" fontAlgn="b"/>
                      <a:r>
                        <a:rPr lang="en-IN" sz="1100" b="0" i="0" u="none" strike="noStrike">
                          <a:solidFill>
                            <a:srgbClr val="000000"/>
                          </a:solidFill>
                          <a:effectLst/>
                          <a:latin typeface="Calibri" panose="020F0502020204030204" pitchFamily="34" charset="0"/>
                        </a:rPr>
                        <a:t>Short 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9853287"/>
                  </a:ext>
                </a:extLst>
              </a:tr>
            </a:tbl>
          </a:graphicData>
        </a:graphic>
      </p:graphicFrame>
      <p:graphicFrame>
        <p:nvGraphicFramePr>
          <p:cNvPr id="15" name="Table 14">
            <a:extLst>
              <a:ext uri="{FF2B5EF4-FFF2-40B4-BE49-F238E27FC236}">
                <a16:creationId xmlns:a16="http://schemas.microsoft.com/office/drawing/2014/main" id="{E844C038-F9D0-4882-8936-FFBCD14493F1}"/>
              </a:ext>
            </a:extLst>
          </p:cNvPr>
          <p:cNvGraphicFramePr>
            <a:graphicFrameLocks noGrp="1"/>
          </p:cNvGraphicFramePr>
          <p:nvPr>
            <p:extLst>
              <p:ext uri="{D42A27DB-BD31-4B8C-83A1-F6EECF244321}">
                <p14:modId xmlns:p14="http://schemas.microsoft.com/office/powerpoint/2010/main" val="2861160253"/>
              </p:ext>
            </p:extLst>
          </p:nvPr>
        </p:nvGraphicFramePr>
        <p:xfrm>
          <a:off x="5538891" y="2277346"/>
          <a:ext cx="6096000" cy="2081530"/>
        </p:xfrm>
        <a:graphic>
          <a:graphicData uri="http://schemas.openxmlformats.org/drawingml/2006/table">
            <a:tbl>
              <a:tblPr/>
              <a:tblGrid>
                <a:gridCol w="838200">
                  <a:extLst>
                    <a:ext uri="{9D8B030D-6E8A-4147-A177-3AD203B41FA5}">
                      <a16:colId xmlns:a16="http://schemas.microsoft.com/office/drawing/2014/main" val="298787161"/>
                    </a:ext>
                  </a:extLst>
                </a:gridCol>
                <a:gridCol w="609600">
                  <a:extLst>
                    <a:ext uri="{9D8B030D-6E8A-4147-A177-3AD203B41FA5}">
                      <a16:colId xmlns:a16="http://schemas.microsoft.com/office/drawing/2014/main" val="2893081200"/>
                    </a:ext>
                  </a:extLst>
                </a:gridCol>
                <a:gridCol w="698500">
                  <a:extLst>
                    <a:ext uri="{9D8B030D-6E8A-4147-A177-3AD203B41FA5}">
                      <a16:colId xmlns:a16="http://schemas.microsoft.com/office/drawing/2014/main" val="2085663060"/>
                    </a:ext>
                  </a:extLst>
                </a:gridCol>
                <a:gridCol w="876300">
                  <a:extLst>
                    <a:ext uri="{9D8B030D-6E8A-4147-A177-3AD203B41FA5}">
                      <a16:colId xmlns:a16="http://schemas.microsoft.com/office/drawing/2014/main" val="1420639733"/>
                    </a:ext>
                  </a:extLst>
                </a:gridCol>
                <a:gridCol w="609600">
                  <a:extLst>
                    <a:ext uri="{9D8B030D-6E8A-4147-A177-3AD203B41FA5}">
                      <a16:colId xmlns:a16="http://schemas.microsoft.com/office/drawing/2014/main" val="3950289316"/>
                    </a:ext>
                  </a:extLst>
                </a:gridCol>
                <a:gridCol w="609600">
                  <a:extLst>
                    <a:ext uri="{9D8B030D-6E8A-4147-A177-3AD203B41FA5}">
                      <a16:colId xmlns:a16="http://schemas.microsoft.com/office/drawing/2014/main" val="2614024769"/>
                    </a:ext>
                  </a:extLst>
                </a:gridCol>
                <a:gridCol w="838200">
                  <a:extLst>
                    <a:ext uri="{9D8B030D-6E8A-4147-A177-3AD203B41FA5}">
                      <a16:colId xmlns:a16="http://schemas.microsoft.com/office/drawing/2014/main" val="815938279"/>
                    </a:ext>
                  </a:extLst>
                </a:gridCol>
                <a:gridCol w="1016000">
                  <a:extLst>
                    <a:ext uri="{9D8B030D-6E8A-4147-A177-3AD203B41FA5}">
                      <a16:colId xmlns:a16="http://schemas.microsoft.com/office/drawing/2014/main" val="867886786"/>
                    </a:ext>
                  </a:extLst>
                </a:gridCol>
              </a:tblGrid>
              <a:tr h="157341">
                <a:tc>
                  <a:txBody>
                    <a:bodyPr/>
                    <a:lstStyle/>
                    <a:p>
                      <a:pPr algn="ctr" fontAlgn="b"/>
                      <a:r>
                        <a:rPr lang="en-IN" sz="1100" b="1" i="0" u="none" strike="noStrike">
                          <a:solidFill>
                            <a:srgbClr val="FFFFFF"/>
                          </a:solidFill>
                          <a:effectLst/>
                          <a:latin typeface="Calibri" panose="020F0502020204030204" pitchFamily="34" charset="0"/>
                        </a:rPr>
                        <a:t>D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Baseli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teep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hort 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IN" sz="1100" b="1" i="0" u="none" strike="noStrike">
                          <a:solidFill>
                            <a:srgbClr val="FFFFFF"/>
                          </a:solidFill>
                          <a:effectLst/>
                          <a:latin typeface="Calibri" panose="020F0502020204030204" pitchFamily="34" charset="0"/>
                        </a:rPr>
                        <a:t>Short 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4017533314"/>
                  </a:ext>
                </a:extLst>
              </a:tr>
              <a:tr h="157341">
                <a:tc>
                  <a:txBody>
                    <a:bodyPr/>
                    <a:lstStyle/>
                    <a:p>
                      <a:pPr algn="ctr" fontAlgn="b"/>
                      <a:r>
                        <a:rPr lang="en-IN" sz="1100" b="0" i="0" u="none" strike="noStrike" dirty="0">
                          <a:solidFill>
                            <a:srgbClr val="000000"/>
                          </a:solidFill>
                          <a:effectLst/>
                          <a:latin typeface="Calibri" panose="020F0502020204030204" pitchFamily="34" charset="0"/>
                        </a:rPr>
                        <a:t>31-Jan-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6573593"/>
                  </a:ext>
                </a:extLst>
              </a:tr>
              <a:tr h="157341">
                <a:tc>
                  <a:txBody>
                    <a:bodyPr/>
                    <a:lstStyle/>
                    <a:p>
                      <a:pPr algn="ctr" fontAlgn="b"/>
                      <a:r>
                        <a:rPr lang="en-IN" sz="1100" b="0" i="0" u="none" strike="noStrike">
                          <a:solidFill>
                            <a:srgbClr val="000000"/>
                          </a:solidFill>
                          <a:effectLst/>
                          <a:latin typeface="Calibri" panose="020F0502020204030204" pitchFamily="34" charset="0"/>
                        </a:rPr>
                        <a:t>29-Feb-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89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89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89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046726"/>
                  </a:ext>
                </a:extLst>
              </a:tr>
              <a:tr h="157341">
                <a:tc>
                  <a:txBody>
                    <a:bodyPr/>
                    <a:lstStyle/>
                    <a:p>
                      <a:pPr algn="ctr" fontAlgn="b"/>
                      <a:r>
                        <a:rPr lang="en-IN" sz="1100" b="0" i="0" u="none" strike="noStrike">
                          <a:solidFill>
                            <a:srgbClr val="000000"/>
                          </a:solidFill>
                          <a:effectLst/>
                          <a:latin typeface="Calibri" panose="020F0502020204030204" pitchFamily="34" charset="0"/>
                        </a:rPr>
                        <a:t>31-Mar-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8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0377369"/>
                  </a:ext>
                </a:extLst>
              </a:tr>
              <a:tr h="157341">
                <a:tc>
                  <a:txBody>
                    <a:bodyPr/>
                    <a:lstStyle/>
                    <a:p>
                      <a:pPr algn="ctr" fontAlgn="b"/>
                      <a:r>
                        <a:rPr lang="en-IN" sz="1100" b="0" i="0" u="none" strike="noStrike">
                          <a:solidFill>
                            <a:srgbClr val="000000"/>
                          </a:solidFill>
                          <a:effectLst/>
                          <a:latin typeface="Calibri" panose="020F0502020204030204" pitchFamily="34" charset="0"/>
                        </a:rPr>
                        <a:t>30-Apr-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7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4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4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74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7993868"/>
                  </a:ext>
                </a:extLst>
              </a:tr>
              <a:tr h="157341">
                <a:tc>
                  <a:txBody>
                    <a:bodyPr/>
                    <a:lstStyle/>
                    <a:p>
                      <a:pPr algn="ctr" fontAlgn="b"/>
                      <a:r>
                        <a:rPr lang="en-IN" sz="1100" b="0" i="0" u="none" strike="noStrike">
                          <a:solidFill>
                            <a:srgbClr val="000000"/>
                          </a:solidFill>
                          <a:effectLst/>
                          <a:latin typeface="Calibri" panose="020F0502020204030204" pitchFamily="34" charset="0"/>
                        </a:rPr>
                        <a:t>31-May-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6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0526710"/>
                  </a:ext>
                </a:extLst>
              </a:tr>
              <a:tr h="157341">
                <a:tc>
                  <a:txBody>
                    <a:bodyPr/>
                    <a:lstStyle/>
                    <a:p>
                      <a:pPr algn="ctr" fontAlgn="b"/>
                      <a:r>
                        <a:rPr lang="en-IN" sz="1100" b="0" i="0" u="none" strike="noStrike">
                          <a:solidFill>
                            <a:srgbClr val="000000"/>
                          </a:solidFill>
                          <a:effectLst/>
                          <a:latin typeface="Calibri" panose="020F0502020204030204" pitchFamily="34" charset="0"/>
                        </a:rPr>
                        <a:t>30-Jun-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5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7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7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70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9.8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0767593"/>
                  </a:ext>
                </a:extLst>
              </a:tr>
              <a:tr h="157341">
                <a:tc>
                  <a:txBody>
                    <a:bodyPr/>
                    <a:lstStyle/>
                    <a:p>
                      <a:pPr algn="ctr" fontAlgn="b"/>
                      <a:r>
                        <a:rPr lang="en-IN" sz="1100" b="0" i="0" u="none" strike="noStrike">
                          <a:solidFill>
                            <a:srgbClr val="000000"/>
                          </a:solidFill>
                          <a:effectLst/>
                          <a:latin typeface="Calibri" panose="020F0502020204030204" pitchFamily="34" charset="0"/>
                        </a:rPr>
                        <a:t>31-Jul-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4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7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9.8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3906256"/>
                  </a:ext>
                </a:extLst>
              </a:tr>
              <a:tr h="157341">
                <a:tc>
                  <a:txBody>
                    <a:bodyPr/>
                    <a:lstStyle/>
                    <a:p>
                      <a:pPr algn="ctr" fontAlgn="b"/>
                      <a:r>
                        <a:rPr lang="en-IN" sz="1100" b="0" i="0" u="none" strike="noStrike">
                          <a:solidFill>
                            <a:srgbClr val="000000"/>
                          </a:solidFill>
                          <a:effectLst/>
                          <a:latin typeface="Calibri" panose="020F0502020204030204" pitchFamily="34" charset="0"/>
                        </a:rPr>
                        <a:t>31-Aug-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3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4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4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74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9.8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96078"/>
                  </a:ext>
                </a:extLst>
              </a:tr>
              <a:tr h="157341">
                <a:tc>
                  <a:txBody>
                    <a:bodyPr/>
                    <a:lstStyle/>
                    <a:p>
                      <a:pPr algn="ctr" fontAlgn="b"/>
                      <a:r>
                        <a:rPr lang="en-IN" sz="1100" b="0" i="0" u="none" strike="noStrike">
                          <a:solidFill>
                            <a:srgbClr val="000000"/>
                          </a:solidFill>
                          <a:effectLst/>
                          <a:latin typeface="Calibri" panose="020F0502020204030204" pitchFamily="34" charset="0"/>
                        </a:rPr>
                        <a:t>30-Sep-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0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0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09</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9.87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6406920"/>
                  </a:ext>
                </a:extLst>
              </a:tr>
              <a:tr h="157341">
                <a:tc>
                  <a:txBody>
                    <a:bodyPr/>
                    <a:lstStyle/>
                    <a:p>
                      <a:pPr algn="ctr" fontAlgn="b"/>
                      <a:r>
                        <a:rPr lang="en-IN" sz="1100" b="0" i="0" u="none" strike="noStrike">
                          <a:solidFill>
                            <a:srgbClr val="000000"/>
                          </a:solidFill>
                          <a:effectLst/>
                          <a:latin typeface="Calibri" panose="020F0502020204030204" pitchFamily="34" charset="0"/>
                        </a:rPr>
                        <a:t>31-Oct-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1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89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89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89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9.92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054527"/>
                  </a:ext>
                </a:extLst>
              </a:tr>
              <a:tr h="157341">
                <a:tc>
                  <a:txBody>
                    <a:bodyPr/>
                    <a:lstStyle/>
                    <a:p>
                      <a:pPr algn="ctr" fontAlgn="b"/>
                      <a:r>
                        <a:rPr lang="en-IN" sz="1100" b="0" i="0" u="none" strike="noStrike">
                          <a:solidFill>
                            <a:srgbClr val="000000"/>
                          </a:solidFill>
                          <a:effectLst/>
                          <a:latin typeface="Calibri" panose="020F0502020204030204" pitchFamily="34" charset="0"/>
                        </a:rPr>
                        <a:t>30-Nov-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100" b="0" i="0" u="none" strike="noStrike" dirty="0">
                          <a:solidFill>
                            <a:srgbClr val="000000"/>
                          </a:solidFill>
                          <a:effectLst/>
                          <a:latin typeface="Calibri" panose="020F0502020204030204" pitchFamily="34" charset="0"/>
                        </a:rPr>
                        <a:t>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52161"/>
                  </a:ext>
                </a:extLst>
              </a:tr>
            </a:tbl>
          </a:graphicData>
        </a:graphic>
      </p:graphicFrame>
      <p:graphicFrame>
        <p:nvGraphicFramePr>
          <p:cNvPr id="16" name="Chart 15">
            <a:extLst>
              <a:ext uri="{FF2B5EF4-FFF2-40B4-BE49-F238E27FC236}">
                <a16:creationId xmlns:a16="http://schemas.microsoft.com/office/drawing/2014/main" id="{3984D6A0-D34A-4DD2-B452-876B15D77B29}"/>
              </a:ext>
            </a:extLst>
          </p:cNvPr>
          <p:cNvGraphicFramePr>
            <a:graphicFrameLocks/>
          </p:cNvGraphicFramePr>
          <p:nvPr>
            <p:extLst>
              <p:ext uri="{D42A27DB-BD31-4B8C-83A1-F6EECF244321}">
                <p14:modId xmlns:p14="http://schemas.microsoft.com/office/powerpoint/2010/main" val="1252311525"/>
              </p:ext>
            </p:extLst>
          </p:nvPr>
        </p:nvGraphicFramePr>
        <p:xfrm>
          <a:off x="1957492" y="4480643"/>
          <a:ext cx="9677399" cy="231458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6008357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1254129"/>
            <a:ext cx="10439400"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6: Cashflow Bucketing </a:t>
            </a:r>
          </a:p>
        </p:txBody>
      </p:sp>
      <p:sp>
        <p:nvSpPr>
          <p:cNvPr id="12" name="TextBox 11">
            <a:extLst>
              <a:ext uri="{FF2B5EF4-FFF2-40B4-BE49-F238E27FC236}">
                <a16:creationId xmlns:a16="http://schemas.microsoft.com/office/drawing/2014/main" id="{BE2F3391-CC39-4E3B-9B91-E6493B5B0EB8}"/>
              </a:ext>
            </a:extLst>
          </p:cNvPr>
          <p:cNvSpPr txBox="1"/>
          <p:nvPr/>
        </p:nvSpPr>
        <p:spPr>
          <a:xfrm>
            <a:off x="1844764" y="1707835"/>
            <a:ext cx="9709571" cy="531364"/>
          </a:xfrm>
          <a:prstGeom prst="rect">
            <a:avLst/>
          </a:prstGeom>
          <a:noFill/>
        </p:spPr>
        <p:txBody>
          <a:bodyPr wrap="square">
            <a:spAutoFit/>
          </a:bodyPr>
          <a:lstStyle/>
          <a:p>
            <a:pPr marL="171450" marR="0" lvl="0" indent="-171450" algn="just" defTabSz="914400" rtl="0" eaLnBrk="1" fontAlgn="auto" latinLnBrk="0" hangingPunct="1">
              <a:lnSpc>
                <a:spcPct val="125000"/>
              </a:lnSpc>
              <a:spcBef>
                <a:spcPts val="0"/>
              </a:spcBef>
              <a:spcAft>
                <a:spcPts val="300"/>
              </a:spcAft>
              <a:buClrTx/>
              <a:buSzPct val="100000"/>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Projected future cash in-flows from assets and cash outflows from liabilities are aggregated based on residual maturity and bucketed as per predefined time buckets below under each interest rate shock scenario </a:t>
            </a:r>
            <a:r>
              <a:rPr lang="en-US" sz="1200" dirty="0" err="1">
                <a:solidFill>
                  <a:prstClr val="black"/>
                </a:solidFill>
                <a:latin typeface="Arial" panose="020B0604020202020204" pitchFamily="34" charset="0"/>
                <a:cs typeface="Arial" panose="020B0604020202020204" pitchFamily="34" charset="0"/>
              </a:rPr>
              <a:t>i</a:t>
            </a:r>
            <a:r>
              <a:rPr lang="en-US" sz="1200" dirty="0">
                <a:solidFill>
                  <a:prstClr val="black"/>
                </a:solidFill>
                <a:latin typeface="Arial" panose="020B0604020202020204" pitchFamily="34" charset="0"/>
                <a:cs typeface="Arial" panose="020B0604020202020204" pitchFamily="34" charset="0"/>
              </a:rPr>
              <a:t> and currency c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3B52BFCF-8422-4A4E-8FFB-572EC3632547}"/>
              </a:ext>
            </a:extLst>
          </p:cNvPr>
          <p:cNvGraphicFramePr>
            <a:graphicFrameLocks noGrp="1"/>
          </p:cNvGraphicFramePr>
          <p:nvPr>
            <p:extLst>
              <p:ext uri="{D42A27DB-BD31-4B8C-83A1-F6EECF244321}">
                <p14:modId xmlns:p14="http://schemas.microsoft.com/office/powerpoint/2010/main" val="1695333317"/>
              </p:ext>
            </p:extLst>
          </p:nvPr>
        </p:nvGraphicFramePr>
        <p:xfrm>
          <a:off x="1752600" y="2335448"/>
          <a:ext cx="10363201" cy="4386162"/>
        </p:xfrm>
        <a:graphic>
          <a:graphicData uri="http://schemas.openxmlformats.org/drawingml/2006/table">
            <a:tbl>
              <a:tblPr/>
              <a:tblGrid>
                <a:gridCol w="1171668">
                  <a:extLst>
                    <a:ext uri="{9D8B030D-6E8A-4147-A177-3AD203B41FA5}">
                      <a16:colId xmlns:a16="http://schemas.microsoft.com/office/drawing/2014/main" val="291168864"/>
                    </a:ext>
                  </a:extLst>
                </a:gridCol>
                <a:gridCol w="707041">
                  <a:extLst>
                    <a:ext uri="{9D8B030D-6E8A-4147-A177-3AD203B41FA5}">
                      <a16:colId xmlns:a16="http://schemas.microsoft.com/office/drawing/2014/main" val="4212917281"/>
                    </a:ext>
                  </a:extLst>
                </a:gridCol>
                <a:gridCol w="707041">
                  <a:extLst>
                    <a:ext uri="{9D8B030D-6E8A-4147-A177-3AD203B41FA5}">
                      <a16:colId xmlns:a16="http://schemas.microsoft.com/office/drawing/2014/main" val="3148606987"/>
                    </a:ext>
                  </a:extLst>
                </a:gridCol>
                <a:gridCol w="707041">
                  <a:extLst>
                    <a:ext uri="{9D8B030D-6E8A-4147-A177-3AD203B41FA5}">
                      <a16:colId xmlns:a16="http://schemas.microsoft.com/office/drawing/2014/main" val="929513936"/>
                    </a:ext>
                  </a:extLst>
                </a:gridCol>
                <a:gridCol w="707041">
                  <a:extLst>
                    <a:ext uri="{9D8B030D-6E8A-4147-A177-3AD203B41FA5}">
                      <a16:colId xmlns:a16="http://schemas.microsoft.com/office/drawing/2014/main" val="2200699378"/>
                    </a:ext>
                  </a:extLst>
                </a:gridCol>
                <a:gridCol w="707041">
                  <a:extLst>
                    <a:ext uri="{9D8B030D-6E8A-4147-A177-3AD203B41FA5}">
                      <a16:colId xmlns:a16="http://schemas.microsoft.com/office/drawing/2014/main" val="2501406113"/>
                    </a:ext>
                  </a:extLst>
                </a:gridCol>
                <a:gridCol w="707041">
                  <a:extLst>
                    <a:ext uri="{9D8B030D-6E8A-4147-A177-3AD203B41FA5}">
                      <a16:colId xmlns:a16="http://schemas.microsoft.com/office/drawing/2014/main" val="1723655321"/>
                    </a:ext>
                  </a:extLst>
                </a:gridCol>
                <a:gridCol w="707041">
                  <a:extLst>
                    <a:ext uri="{9D8B030D-6E8A-4147-A177-3AD203B41FA5}">
                      <a16:colId xmlns:a16="http://schemas.microsoft.com/office/drawing/2014/main" val="4169094558"/>
                    </a:ext>
                  </a:extLst>
                </a:gridCol>
                <a:gridCol w="707041">
                  <a:extLst>
                    <a:ext uri="{9D8B030D-6E8A-4147-A177-3AD203B41FA5}">
                      <a16:colId xmlns:a16="http://schemas.microsoft.com/office/drawing/2014/main" val="264922992"/>
                    </a:ext>
                  </a:extLst>
                </a:gridCol>
                <a:gridCol w="707041">
                  <a:extLst>
                    <a:ext uri="{9D8B030D-6E8A-4147-A177-3AD203B41FA5}">
                      <a16:colId xmlns:a16="http://schemas.microsoft.com/office/drawing/2014/main" val="1546568244"/>
                    </a:ext>
                  </a:extLst>
                </a:gridCol>
                <a:gridCol w="707041">
                  <a:extLst>
                    <a:ext uri="{9D8B030D-6E8A-4147-A177-3AD203B41FA5}">
                      <a16:colId xmlns:a16="http://schemas.microsoft.com/office/drawing/2014/main" val="1465854870"/>
                    </a:ext>
                  </a:extLst>
                </a:gridCol>
                <a:gridCol w="707041">
                  <a:extLst>
                    <a:ext uri="{9D8B030D-6E8A-4147-A177-3AD203B41FA5}">
                      <a16:colId xmlns:a16="http://schemas.microsoft.com/office/drawing/2014/main" val="1168891568"/>
                    </a:ext>
                  </a:extLst>
                </a:gridCol>
                <a:gridCol w="707041">
                  <a:extLst>
                    <a:ext uri="{9D8B030D-6E8A-4147-A177-3AD203B41FA5}">
                      <a16:colId xmlns:a16="http://schemas.microsoft.com/office/drawing/2014/main" val="1995172874"/>
                    </a:ext>
                  </a:extLst>
                </a:gridCol>
                <a:gridCol w="707041">
                  <a:extLst>
                    <a:ext uri="{9D8B030D-6E8A-4147-A177-3AD203B41FA5}">
                      <a16:colId xmlns:a16="http://schemas.microsoft.com/office/drawing/2014/main" val="2307505760"/>
                    </a:ext>
                  </a:extLst>
                </a:gridCol>
              </a:tblGrid>
              <a:tr h="173367">
                <a:tc gridSpan="14">
                  <a:txBody>
                    <a:bodyPr/>
                    <a:lstStyle/>
                    <a:p>
                      <a:pPr algn="ctr" fontAlgn="b"/>
                      <a:r>
                        <a:rPr lang="en-IN" sz="800" b="1" i="0" u="none" strike="noStrike" dirty="0">
                          <a:solidFill>
                            <a:srgbClr val="FFFFFF"/>
                          </a:solidFill>
                          <a:effectLst/>
                          <a:latin typeface="Arial" panose="020B0604020202020204" pitchFamily="34" charset="0"/>
                        </a:rPr>
                        <a:t>Baseline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892116665"/>
                  </a:ext>
                </a:extLst>
              </a:tr>
              <a:tr h="167587">
                <a:tc>
                  <a:txBody>
                    <a:bodyPr/>
                    <a:lstStyle/>
                    <a:p>
                      <a:pPr algn="ctr" fontAlgn="b"/>
                      <a:r>
                        <a:rPr lang="en-IN" sz="8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8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8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8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087277831"/>
                  </a:ext>
                </a:extLst>
              </a:tr>
              <a:tr h="167587">
                <a:tc>
                  <a:txBody>
                    <a:bodyPr/>
                    <a:lstStyle/>
                    <a:p>
                      <a:pPr algn="ctr" rtl="0" fontAlgn="ctr"/>
                      <a:r>
                        <a:rPr lang="en-IN" sz="8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663828707"/>
                  </a:ext>
                </a:extLst>
              </a:tr>
              <a:tr h="167587">
                <a:tc>
                  <a:txBody>
                    <a:bodyPr/>
                    <a:lstStyle/>
                    <a:p>
                      <a:pPr algn="ctr" rtl="0" fontAlgn="ctr"/>
                      <a:r>
                        <a:rPr lang="en-IN" sz="8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504947161"/>
                  </a:ext>
                </a:extLst>
              </a:tr>
              <a:tr h="167587">
                <a:tc>
                  <a:txBody>
                    <a:bodyPr/>
                    <a:lstStyle/>
                    <a:p>
                      <a:pPr algn="ctr" rtl="0" fontAlgn="ctr"/>
                      <a:r>
                        <a:rPr lang="en-IN" sz="8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932349688"/>
                  </a:ext>
                </a:extLst>
              </a:tr>
              <a:tr h="167587">
                <a:tc>
                  <a:txBody>
                    <a:bodyPr/>
                    <a:lstStyle/>
                    <a:p>
                      <a:pPr algn="ctr" rtl="0" fontAlgn="ctr"/>
                      <a:r>
                        <a:rPr lang="en-IN" sz="800" b="1" i="0" u="none" strike="noStrike">
                          <a:solidFill>
                            <a:srgbClr val="000000"/>
                          </a:solidFill>
                          <a:effectLst/>
                          <a:latin typeface="Arial" panose="020B0604020202020204" pitchFamily="34" charset="0"/>
                        </a:rPr>
                        <a:t>Ass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9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8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6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2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3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3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8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5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5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5877670"/>
                  </a:ext>
                </a:extLst>
              </a:tr>
              <a:tr h="167587">
                <a:tc>
                  <a:txBody>
                    <a:bodyPr/>
                    <a:lstStyle/>
                    <a:p>
                      <a:pPr algn="ctr" rtl="0" fontAlgn="ctr"/>
                      <a:r>
                        <a:rPr lang="en-IN" sz="800" b="1" i="0" u="none" strike="noStrike">
                          <a:solidFill>
                            <a:srgbClr val="000000"/>
                          </a:solidFill>
                          <a:effectLst/>
                          <a:latin typeface="Arial" panose="020B0604020202020204" pitchFamily="34" charset="0"/>
                        </a:rPr>
                        <a:t>Liability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9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99.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85.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6.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6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58.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2.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7.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21.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6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2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7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1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616935"/>
                  </a:ext>
                </a:extLst>
              </a:tr>
              <a:tr h="167587">
                <a:tc>
                  <a:txBody>
                    <a:bodyPr/>
                    <a:lstStyle/>
                    <a:p>
                      <a:pPr algn="ctr" rtl="0" fontAlgn="ctr"/>
                      <a:r>
                        <a:rPr lang="en-IN" sz="800" b="1" i="0" u="none" strike="noStrike" dirty="0">
                          <a:solidFill>
                            <a:srgbClr val="000000"/>
                          </a:solidFill>
                          <a:effectLst/>
                          <a:latin typeface="Arial" panose="020B0604020202020204" pitchFamily="34" charset="0"/>
                        </a:rPr>
                        <a:t>N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800" b="0" i="0" u="none" strike="noStrike">
                          <a:solidFill>
                            <a:srgbClr val="000000"/>
                          </a:solidFill>
                          <a:effectLst/>
                          <a:latin typeface="Arial" panose="020B0604020202020204" pitchFamily="34" charset="0"/>
                        </a:rPr>
                        <a:t>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1.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9.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8.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7.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6.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2.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3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3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8974570"/>
                  </a:ext>
                </a:extLst>
              </a:tr>
              <a:tr h="173367">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2929111"/>
                  </a:ext>
                </a:extLst>
              </a:tr>
              <a:tr h="173367">
                <a:tc gridSpan="14">
                  <a:txBody>
                    <a:bodyPr/>
                    <a:lstStyle/>
                    <a:p>
                      <a:pPr algn="ctr" fontAlgn="b"/>
                      <a:r>
                        <a:rPr lang="en-IN" sz="800" b="1" i="0" u="none" strike="noStrike">
                          <a:solidFill>
                            <a:srgbClr val="FFFFFF"/>
                          </a:solidFill>
                          <a:effectLst/>
                          <a:latin typeface="Arial" panose="020B0604020202020204" pitchFamily="34" charset="0"/>
                        </a:rPr>
                        <a:t>Parallel-Up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068167914"/>
                  </a:ext>
                </a:extLst>
              </a:tr>
              <a:tr h="167587">
                <a:tc>
                  <a:txBody>
                    <a:bodyPr/>
                    <a:lstStyle/>
                    <a:p>
                      <a:pPr algn="ctr" fontAlgn="b"/>
                      <a:r>
                        <a:rPr lang="en-IN" sz="8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8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8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8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853955062"/>
                  </a:ext>
                </a:extLst>
              </a:tr>
              <a:tr h="167587">
                <a:tc>
                  <a:txBody>
                    <a:bodyPr/>
                    <a:lstStyle/>
                    <a:p>
                      <a:pPr algn="ctr" rtl="0" fontAlgn="ctr"/>
                      <a:r>
                        <a:rPr lang="en-IN" sz="8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329282551"/>
                  </a:ext>
                </a:extLst>
              </a:tr>
              <a:tr h="167587">
                <a:tc>
                  <a:txBody>
                    <a:bodyPr/>
                    <a:lstStyle/>
                    <a:p>
                      <a:pPr algn="ctr" rtl="0" fontAlgn="ctr"/>
                      <a:r>
                        <a:rPr lang="en-IN" sz="8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303180056"/>
                  </a:ext>
                </a:extLst>
              </a:tr>
              <a:tr h="167587">
                <a:tc>
                  <a:txBody>
                    <a:bodyPr/>
                    <a:lstStyle/>
                    <a:p>
                      <a:pPr algn="ctr" rtl="0" fontAlgn="ctr"/>
                      <a:r>
                        <a:rPr lang="en-IN" sz="8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628226412"/>
                  </a:ext>
                </a:extLst>
              </a:tr>
              <a:tr h="167587">
                <a:tc>
                  <a:txBody>
                    <a:bodyPr/>
                    <a:lstStyle/>
                    <a:p>
                      <a:pPr algn="ctr" rtl="0" fontAlgn="ctr"/>
                      <a:r>
                        <a:rPr lang="en-IN" sz="800" b="1" i="0" u="none" strike="noStrike">
                          <a:solidFill>
                            <a:srgbClr val="000000"/>
                          </a:solidFill>
                          <a:effectLst/>
                          <a:latin typeface="Arial" panose="020B0604020202020204" pitchFamily="34" charset="0"/>
                        </a:rPr>
                        <a:t>Ass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2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3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4.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0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84.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5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56.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6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16.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6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42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2283493"/>
                  </a:ext>
                </a:extLst>
              </a:tr>
              <a:tr h="167587">
                <a:tc>
                  <a:txBody>
                    <a:bodyPr/>
                    <a:lstStyle/>
                    <a:p>
                      <a:pPr algn="ctr" rtl="0" fontAlgn="ctr"/>
                      <a:r>
                        <a:rPr lang="en-IN" sz="800" b="1" i="0" u="none" strike="noStrike">
                          <a:solidFill>
                            <a:srgbClr val="000000"/>
                          </a:solidFill>
                          <a:effectLst/>
                          <a:latin typeface="Arial" panose="020B0604020202020204" pitchFamily="34" charset="0"/>
                        </a:rPr>
                        <a:t>Liability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85.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94.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81.2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2.6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59.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55.5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06.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1.1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5.4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53.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13.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56.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99.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8239651"/>
                  </a:ext>
                </a:extLst>
              </a:tr>
              <a:tr h="167587">
                <a:tc>
                  <a:txBody>
                    <a:bodyPr/>
                    <a:lstStyle/>
                    <a:p>
                      <a:pPr algn="ctr" rtl="0" fontAlgn="ctr"/>
                      <a:r>
                        <a:rPr lang="en-IN" sz="800" b="1" i="0" u="none" strike="noStrike" dirty="0">
                          <a:solidFill>
                            <a:srgbClr val="000000"/>
                          </a:solidFill>
                          <a:effectLst/>
                          <a:latin typeface="Arial" panose="020B0604020202020204" pitchFamily="34" charset="0"/>
                        </a:rPr>
                        <a:t>N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800" b="0" i="0" u="none" strike="noStrike">
                          <a:solidFill>
                            <a:srgbClr val="000000"/>
                          </a:solidFill>
                          <a:effectLst/>
                          <a:latin typeface="Arial" panose="020B0604020202020204" pitchFamily="34" charset="0"/>
                        </a:rPr>
                        <a:t>34.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37.9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32.7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9.3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4.1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2.4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43.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44.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46.5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62.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86.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0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20.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5633477"/>
                  </a:ext>
                </a:extLst>
              </a:tr>
              <a:tr h="173367">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7578094"/>
                  </a:ext>
                </a:extLst>
              </a:tr>
              <a:tr h="173367">
                <a:tc gridSpan="14">
                  <a:txBody>
                    <a:bodyPr/>
                    <a:lstStyle/>
                    <a:p>
                      <a:pPr algn="ctr" fontAlgn="b"/>
                      <a:r>
                        <a:rPr lang="en-IN" sz="800" b="1" i="0" u="none" strike="noStrike">
                          <a:solidFill>
                            <a:srgbClr val="FFFFFF"/>
                          </a:solidFill>
                          <a:effectLst/>
                          <a:latin typeface="Arial" panose="020B0604020202020204" pitchFamily="34" charset="0"/>
                        </a:rPr>
                        <a:t>Parallel-Down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426053826"/>
                  </a:ext>
                </a:extLst>
              </a:tr>
              <a:tr h="167587">
                <a:tc>
                  <a:txBody>
                    <a:bodyPr/>
                    <a:lstStyle/>
                    <a:p>
                      <a:pPr algn="ctr" fontAlgn="b"/>
                      <a:r>
                        <a:rPr lang="en-IN" sz="8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8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8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8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94221965"/>
                  </a:ext>
                </a:extLst>
              </a:tr>
              <a:tr h="167587">
                <a:tc>
                  <a:txBody>
                    <a:bodyPr/>
                    <a:lstStyle/>
                    <a:p>
                      <a:pPr algn="ctr" rtl="0" fontAlgn="ctr"/>
                      <a:r>
                        <a:rPr lang="en-IN" sz="8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307482693"/>
                  </a:ext>
                </a:extLst>
              </a:tr>
              <a:tr h="167587">
                <a:tc>
                  <a:txBody>
                    <a:bodyPr/>
                    <a:lstStyle/>
                    <a:p>
                      <a:pPr algn="ctr" rtl="0" fontAlgn="ctr"/>
                      <a:r>
                        <a:rPr lang="en-IN" sz="8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8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854117179"/>
                  </a:ext>
                </a:extLst>
              </a:tr>
              <a:tr h="167587">
                <a:tc>
                  <a:txBody>
                    <a:bodyPr/>
                    <a:lstStyle/>
                    <a:p>
                      <a:pPr algn="ctr" rtl="0" fontAlgn="ctr"/>
                      <a:r>
                        <a:rPr lang="en-IN" sz="8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4070155295"/>
                  </a:ext>
                </a:extLst>
              </a:tr>
              <a:tr h="167587">
                <a:tc>
                  <a:txBody>
                    <a:bodyPr/>
                    <a:lstStyle/>
                    <a:p>
                      <a:pPr algn="ctr" rtl="0" fontAlgn="ctr"/>
                      <a:r>
                        <a:rPr lang="en-IN" sz="800" b="1" i="0" u="none" strike="noStrike">
                          <a:solidFill>
                            <a:srgbClr val="000000"/>
                          </a:solidFill>
                          <a:effectLst/>
                          <a:latin typeface="Arial" panose="020B0604020202020204" pitchFamily="34" charset="0"/>
                        </a:rPr>
                        <a:t>Ass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8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9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80.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2.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59.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55.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06.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0.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4.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5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12.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5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97.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274530"/>
                  </a:ext>
                </a:extLst>
              </a:tr>
              <a:tr h="167587">
                <a:tc>
                  <a:txBody>
                    <a:bodyPr/>
                    <a:lstStyle/>
                    <a:p>
                      <a:pPr algn="ctr" rtl="0" fontAlgn="ctr"/>
                      <a:r>
                        <a:rPr lang="en-IN" sz="800" b="1" i="0" u="none" strike="noStrike" dirty="0">
                          <a:solidFill>
                            <a:srgbClr val="000000"/>
                          </a:solidFill>
                          <a:effectLst/>
                          <a:latin typeface="Arial" panose="020B0604020202020204" pitchFamily="34" charset="0"/>
                        </a:rPr>
                        <a:t>Liability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800" b="0" i="0" u="none" strike="noStrike">
                          <a:solidFill>
                            <a:srgbClr val="000000"/>
                          </a:solidFill>
                          <a:effectLst/>
                          <a:latin typeface="Arial" panose="020B0604020202020204" pitchFamily="34" charset="0"/>
                        </a:rPr>
                        <a:t>-10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18.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02.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91.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5.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70.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3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40.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45.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194.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27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24.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800" b="0" i="0" u="none" strike="noStrike">
                          <a:solidFill>
                            <a:srgbClr val="000000"/>
                          </a:solidFill>
                          <a:effectLst/>
                          <a:latin typeface="Arial" panose="020B0604020202020204" pitchFamily="34" charset="0"/>
                        </a:rPr>
                        <a:t>-37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9034413"/>
                  </a:ext>
                </a:extLst>
              </a:tr>
              <a:tr h="167587">
                <a:tc>
                  <a:txBody>
                    <a:bodyPr/>
                    <a:lstStyle/>
                    <a:p>
                      <a:pPr algn="ctr" rtl="0" fontAlgn="ctr"/>
                      <a:r>
                        <a:rPr lang="en-IN" sz="800" b="1" i="0" u="none" strike="noStrike" dirty="0">
                          <a:solidFill>
                            <a:srgbClr val="000000"/>
                          </a:solidFill>
                          <a:effectLst/>
                          <a:latin typeface="Arial" panose="020B0604020202020204" pitchFamily="34" charset="0"/>
                        </a:rPr>
                        <a:t>Net Cashflow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800" b="0" i="0" u="none" strike="noStrike">
                          <a:solidFill>
                            <a:srgbClr val="000000"/>
                          </a:solidFill>
                          <a:effectLst/>
                          <a:latin typeface="Arial" panose="020B0604020202020204" pitchFamily="34" charset="0"/>
                        </a:rPr>
                        <a:t>-2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5.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1.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9.5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6.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14.9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8.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29.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31.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41.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57.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a:solidFill>
                            <a:srgbClr val="000000"/>
                          </a:solidFill>
                          <a:effectLst/>
                          <a:latin typeface="Arial" panose="020B0604020202020204" pitchFamily="34" charset="0"/>
                        </a:rPr>
                        <a:t>-69.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800" b="0" i="0" u="none" strike="noStrike" dirty="0">
                          <a:solidFill>
                            <a:srgbClr val="000000"/>
                          </a:solidFill>
                          <a:effectLst/>
                          <a:latin typeface="Arial" panose="020B0604020202020204" pitchFamily="34" charset="0"/>
                        </a:rPr>
                        <a:t>-80.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91574561"/>
                  </a:ext>
                </a:extLst>
              </a:tr>
            </a:tbl>
          </a:graphicData>
        </a:graphic>
      </p:graphicFrame>
    </p:spTree>
    <p:extLst>
      <p:ext uri="{BB962C8B-B14F-4D97-AF65-F5344CB8AC3E}">
        <p14:creationId xmlns:p14="http://schemas.microsoft.com/office/powerpoint/2010/main" val="17727426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2 – Cashflow Generation and Bucketing</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905000" y="828664"/>
            <a:ext cx="8763000" cy="38752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6: Cashflow Bucketing </a:t>
            </a:r>
          </a:p>
        </p:txBody>
      </p:sp>
      <p:graphicFrame>
        <p:nvGraphicFramePr>
          <p:cNvPr id="11" name="Chart 10">
            <a:extLst>
              <a:ext uri="{FF2B5EF4-FFF2-40B4-BE49-F238E27FC236}">
                <a16:creationId xmlns:a16="http://schemas.microsoft.com/office/drawing/2014/main" id="{3D86213D-3AC0-4026-8A5D-308F7EB71721}"/>
              </a:ext>
            </a:extLst>
          </p:cNvPr>
          <p:cNvGraphicFramePr>
            <a:graphicFrameLocks/>
          </p:cNvGraphicFramePr>
          <p:nvPr>
            <p:extLst>
              <p:ext uri="{D42A27DB-BD31-4B8C-83A1-F6EECF244321}">
                <p14:modId xmlns:p14="http://schemas.microsoft.com/office/powerpoint/2010/main" val="2238720930"/>
              </p:ext>
            </p:extLst>
          </p:nvPr>
        </p:nvGraphicFramePr>
        <p:xfrm>
          <a:off x="4061851" y="1347788"/>
          <a:ext cx="4858076" cy="259004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a:extLst>
              <a:ext uri="{FF2B5EF4-FFF2-40B4-BE49-F238E27FC236}">
                <a16:creationId xmlns:a16="http://schemas.microsoft.com/office/drawing/2014/main" id="{F3344343-87C1-4016-B50A-DD2A9BF6D5F9}"/>
              </a:ext>
            </a:extLst>
          </p:cNvPr>
          <p:cNvGraphicFramePr>
            <a:graphicFrameLocks/>
          </p:cNvGraphicFramePr>
          <p:nvPr>
            <p:extLst>
              <p:ext uri="{D42A27DB-BD31-4B8C-83A1-F6EECF244321}">
                <p14:modId xmlns:p14="http://schemas.microsoft.com/office/powerpoint/2010/main" val="1589244429"/>
              </p:ext>
            </p:extLst>
          </p:nvPr>
        </p:nvGraphicFramePr>
        <p:xfrm>
          <a:off x="1959241" y="4150110"/>
          <a:ext cx="4858076" cy="259004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a:extLst>
              <a:ext uri="{FF2B5EF4-FFF2-40B4-BE49-F238E27FC236}">
                <a16:creationId xmlns:a16="http://schemas.microsoft.com/office/drawing/2014/main" id="{9B4A6201-D346-4822-B9E2-AAFC14A4FADA}"/>
              </a:ext>
            </a:extLst>
          </p:cNvPr>
          <p:cNvGraphicFramePr>
            <a:graphicFrameLocks/>
          </p:cNvGraphicFramePr>
          <p:nvPr>
            <p:extLst>
              <p:ext uri="{D42A27DB-BD31-4B8C-83A1-F6EECF244321}">
                <p14:modId xmlns:p14="http://schemas.microsoft.com/office/powerpoint/2010/main" val="3517237149"/>
              </p:ext>
            </p:extLst>
          </p:nvPr>
        </p:nvGraphicFramePr>
        <p:xfrm>
          <a:off x="7088257" y="4111337"/>
          <a:ext cx="4858076" cy="259004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815481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3 – Calculation of EVE (Without AIRO Adjustment)</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810119"/>
            <a:ext cx="8941776" cy="31512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7: Generate Projected Discount Rates and Factors</a:t>
            </a:r>
          </a:p>
        </p:txBody>
      </p:sp>
      <p:grpSp>
        <p:nvGrpSpPr>
          <p:cNvPr id="5" name="Group 4">
            <a:extLst>
              <a:ext uri="{FF2B5EF4-FFF2-40B4-BE49-F238E27FC236}">
                <a16:creationId xmlns:a16="http://schemas.microsoft.com/office/drawing/2014/main" id="{AB567BBF-E20A-4D4F-A511-29494BB24725}"/>
              </a:ext>
            </a:extLst>
          </p:cNvPr>
          <p:cNvGrpSpPr/>
          <p:nvPr/>
        </p:nvGrpSpPr>
        <p:grpSpPr>
          <a:xfrm>
            <a:off x="1809789" y="1219200"/>
            <a:ext cx="6419811" cy="5562600"/>
            <a:chOff x="3657600" y="1262212"/>
            <a:chExt cx="5997575" cy="5623367"/>
          </a:xfrm>
        </p:grpSpPr>
        <p:graphicFrame>
          <p:nvGraphicFramePr>
            <p:cNvPr id="16" name="Chart 15">
              <a:extLst>
                <a:ext uri="{FF2B5EF4-FFF2-40B4-BE49-F238E27FC236}">
                  <a16:creationId xmlns:a16="http://schemas.microsoft.com/office/drawing/2014/main" id="{65E1F6FE-ECB6-449F-ACEE-C86C01D7E7E7}"/>
                </a:ext>
              </a:extLst>
            </p:cNvPr>
            <p:cNvGraphicFramePr>
              <a:graphicFrameLocks/>
            </p:cNvGraphicFramePr>
            <p:nvPr>
              <p:extLst>
                <p:ext uri="{D42A27DB-BD31-4B8C-83A1-F6EECF244321}">
                  <p14:modId xmlns:p14="http://schemas.microsoft.com/office/powerpoint/2010/main" val="2070048567"/>
                </p:ext>
              </p:extLst>
            </p:nvPr>
          </p:nvGraphicFramePr>
          <p:xfrm>
            <a:off x="3657600" y="1262212"/>
            <a:ext cx="5997575" cy="2743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9A31CC74-C5B2-4C20-BFF6-B4E31B9CF35A}"/>
                </a:ext>
              </a:extLst>
            </p:cNvPr>
            <p:cNvGraphicFramePr>
              <a:graphicFrameLocks/>
            </p:cNvGraphicFramePr>
            <p:nvPr>
              <p:extLst>
                <p:ext uri="{D42A27DB-BD31-4B8C-83A1-F6EECF244321}">
                  <p14:modId xmlns:p14="http://schemas.microsoft.com/office/powerpoint/2010/main" val="4224517550"/>
                </p:ext>
              </p:extLst>
            </p:nvPr>
          </p:nvGraphicFramePr>
          <p:xfrm>
            <a:off x="3657600" y="4142379"/>
            <a:ext cx="5997575" cy="2743200"/>
          </p:xfrm>
          <a:graphic>
            <a:graphicData uri="http://schemas.openxmlformats.org/drawingml/2006/chart">
              <c:chart xmlns:c="http://schemas.openxmlformats.org/drawingml/2006/chart" xmlns:r="http://schemas.openxmlformats.org/officeDocument/2006/relationships" r:id="rId7"/>
            </a:graphicData>
          </a:graphic>
        </p:graphicFrame>
      </p:grpSp>
      <p:sp>
        <p:nvSpPr>
          <p:cNvPr id="18" name="Oval 17">
            <a:extLst>
              <a:ext uri="{FF2B5EF4-FFF2-40B4-BE49-F238E27FC236}">
                <a16:creationId xmlns:a16="http://schemas.microsoft.com/office/drawing/2014/main" id="{A9E105BD-1F36-4B8E-AD40-72DCE36C1C65}"/>
              </a:ext>
            </a:extLst>
          </p:cNvPr>
          <p:cNvSpPr/>
          <p:nvPr/>
        </p:nvSpPr>
        <p:spPr>
          <a:xfrm>
            <a:off x="8839200" y="4733968"/>
            <a:ext cx="2442812" cy="1205233"/>
          </a:xfrm>
          <a:prstGeom prst="ellipse">
            <a:avLst/>
          </a:prstGeom>
          <a:solidFill>
            <a:srgbClr val="4F81BD">
              <a:lumMod val="50000"/>
            </a:srgb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alibri"/>
              </a:rPr>
              <a:t>Inverse relationship with interest rates</a:t>
            </a:r>
            <a:endParaRPr kumimoji="0" lang="en-IN" sz="1400" b="0"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Calibri"/>
            </a:endParaRPr>
          </a:p>
        </p:txBody>
      </p:sp>
      <p:sp>
        <p:nvSpPr>
          <p:cNvPr id="19" name="Isosceles Triangle 18">
            <a:extLst>
              <a:ext uri="{FF2B5EF4-FFF2-40B4-BE49-F238E27FC236}">
                <a16:creationId xmlns:a16="http://schemas.microsoft.com/office/drawing/2014/main" id="{D03A3505-8E2E-4130-924C-F7867245141E}"/>
              </a:ext>
            </a:extLst>
          </p:cNvPr>
          <p:cNvSpPr/>
          <p:nvPr/>
        </p:nvSpPr>
        <p:spPr bwMode="gray">
          <a:xfrm rot="16200000">
            <a:off x="7837767" y="5253307"/>
            <a:ext cx="1500565" cy="166555"/>
          </a:xfrm>
          <a:prstGeom prst="triangl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Calibri"/>
            </a:endParaRPr>
          </a:p>
        </p:txBody>
      </p:sp>
      <p:sp>
        <p:nvSpPr>
          <p:cNvPr id="20" name="Oval 19">
            <a:extLst>
              <a:ext uri="{FF2B5EF4-FFF2-40B4-BE49-F238E27FC236}">
                <a16:creationId xmlns:a16="http://schemas.microsoft.com/office/drawing/2014/main" id="{4D64A1E9-B1BD-40B2-AAF4-5F4ADD120ADD}"/>
              </a:ext>
            </a:extLst>
          </p:cNvPr>
          <p:cNvSpPr/>
          <p:nvPr/>
        </p:nvSpPr>
        <p:spPr>
          <a:xfrm>
            <a:off x="8815259" y="2002671"/>
            <a:ext cx="2442812" cy="1205233"/>
          </a:xfrm>
          <a:prstGeom prst="ellipse">
            <a:avLst/>
          </a:prstGeom>
          <a:solidFill>
            <a:srgbClr val="4F81BD">
              <a:lumMod val="50000"/>
            </a:srgb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r>
              <a:rPr kumimoji="0" lang="en-IN" sz="1400" b="1" i="0" u="none" strike="noStrike" kern="0" cap="none" spc="0" normalizeH="0" baseline="0" noProof="0" dirty="0">
                <a:ln>
                  <a:noFill/>
                </a:ln>
                <a:solidFill>
                  <a:prstClr val="white"/>
                </a:solidFill>
                <a:effectLst/>
                <a:uLnTx/>
                <a:uFillTx/>
                <a:latin typeface="Calibri"/>
              </a:rPr>
              <a:t>Direct relationship with interest rates</a:t>
            </a:r>
            <a:endParaRPr kumimoji="0" lang="en-IN" sz="1400" b="0"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Calibri"/>
            </a:endParaRPr>
          </a:p>
        </p:txBody>
      </p:sp>
      <p:sp>
        <p:nvSpPr>
          <p:cNvPr id="21" name="Isosceles Triangle 20">
            <a:extLst>
              <a:ext uri="{FF2B5EF4-FFF2-40B4-BE49-F238E27FC236}">
                <a16:creationId xmlns:a16="http://schemas.microsoft.com/office/drawing/2014/main" id="{32C2111F-3553-4FBF-A5C0-790E5CF2EE63}"/>
              </a:ext>
            </a:extLst>
          </p:cNvPr>
          <p:cNvSpPr/>
          <p:nvPr/>
        </p:nvSpPr>
        <p:spPr bwMode="gray">
          <a:xfrm rot="16200000">
            <a:off x="7813826" y="2522010"/>
            <a:ext cx="1500565" cy="166555"/>
          </a:xfrm>
          <a:prstGeom prst="triangl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Calibri"/>
            </a:endParaRPr>
          </a:p>
        </p:txBody>
      </p:sp>
    </p:spTree>
    <p:extLst>
      <p:ext uri="{BB962C8B-B14F-4D97-AF65-F5344CB8AC3E}">
        <p14:creationId xmlns:p14="http://schemas.microsoft.com/office/powerpoint/2010/main" val="4605031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3 – Calculation of EVE (Without AIRO Adjustment)</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810119"/>
            <a:ext cx="8941776" cy="31512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8: Generate Discounted Cashflows </a:t>
            </a:r>
          </a:p>
        </p:txBody>
      </p:sp>
      <p:graphicFrame>
        <p:nvGraphicFramePr>
          <p:cNvPr id="7" name="Table 6">
            <a:extLst>
              <a:ext uri="{FF2B5EF4-FFF2-40B4-BE49-F238E27FC236}">
                <a16:creationId xmlns:a16="http://schemas.microsoft.com/office/drawing/2014/main" id="{20B3FFC1-C5A8-4CF3-BD1D-126DFA17DB48}"/>
              </a:ext>
            </a:extLst>
          </p:cNvPr>
          <p:cNvGraphicFramePr>
            <a:graphicFrameLocks noGrp="1"/>
          </p:cNvGraphicFramePr>
          <p:nvPr>
            <p:extLst>
              <p:ext uri="{D42A27DB-BD31-4B8C-83A1-F6EECF244321}">
                <p14:modId xmlns:p14="http://schemas.microsoft.com/office/powerpoint/2010/main" val="1150889100"/>
              </p:ext>
            </p:extLst>
          </p:nvPr>
        </p:nvGraphicFramePr>
        <p:xfrm>
          <a:off x="1752600" y="1575036"/>
          <a:ext cx="10363200" cy="5206753"/>
        </p:xfrm>
        <a:graphic>
          <a:graphicData uri="http://schemas.openxmlformats.org/drawingml/2006/table">
            <a:tbl>
              <a:tblPr/>
              <a:tblGrid>
                <a:gridCol w="1381760">
                  <a:extLst>
                    <a:ext uri="{9D8B030D-6E8A-4147-A177-3AD203B41FA5}">
                      <a16:colId xmlns:a16="http://schemas.microsoft.com/office/drawing/2014/main" val="3232441621"/>
                    </a:ext>
                  </a:extLst>
                </a:gridCol>
                <a:gridCol w="690880">
                  <a:extLst>
                    <a:ext uri="{9D8B030D-6E8A-4147-A177-3AD203B41FA5}">
                      <a16:colId xmlns:a16="http://schemas.microsoft.com/office/drawing/2014/main" val="3115064791"/>
                    </a:ext>
                  </a:extLst>
                </a:gridCol>
                <a:gridCol w="690880">
                  <a:extLst>
                    <a:ext uri="{9D8B030D-6E8A-4147-A177-3AD203B41FA5}">
                      <a16:colId xmlns:a16="http://schemas.microsoft.com/office/drawing/2014/main" val="2453204886"/>
                    </a:ext>
                  </a:extLst>
                </a:gridCol>
                <a:gridCol w="690880">
                  <a:extLst>
                    <a:ext uri="{9D8B030D-6E8A-4147-A177-3AD203B41FA5}">
                      <a16:colId xmlns:a16="http://schemas.microsoft.com/office/drawing/2014/main" val="3191664996"/>
                    </a:ext>
                  </a:extLst>
                </a:gridCol>
                <a:gridCol w="690880">
                  <a:extLst>
                    <a:ext uri="{9D8B030D-6E8A-4147-A177-3AD203B41FA5}">
                      <a16:colId xmlns:a16="http://schemas.microsoft.com/office/drawing/2014/main" val="1616377716"/>
                    </a:ext>
                  </a:extLst>
                </a:gridCol>
                <a:gridCol w="690880">
                  <a:extLst>
                    <a:ext uri="{9D8B030D-6E8A-4147-A177-3AD203B41FA5}">
                      <a16:colId xmlns:a16="http://schemas.microsoft.com/office/drawing/2014/main" val="1731351775"/>
                    </a:ext>
                  </a:extLst>
                </a:gridCol>
                <a:gridCol w="690880">
                  <a:extLst>
                    <a:ext uri="{9D8B030D-6E8A-4147-A177-3AD203B41FA5}">
                      <a16:colId xmlns:a16="http://schemas.microsoft.com/office/drawing/2014/main" val="400584126"/>
                    </a:ext>
                  </a:extLst>
                </a:gridCol>
                <a:gridCol w="690880">
                  <a:extLst>
                    <a:ext uri="{9D8B030D-6E8A-4147-A177-3AD203B41FA5}">
                      <a16:colId xmlns:a16="http://schemas.microsoft.com/office/drawing/2014/main" val="4014705404"/>
                    </a:ext>
                  </a:extLst>
                </a:gridCol>
                <a:gridCol w="690880">
                  <a:extLst>
                    <a:ext uri="{9D8B030D-6E8A-4147-A177-3AD203B41FA5}">
                      <a16:colId xmlns:a16="http://schemas.microsoft.com/office/drawing/2014/main" val="3774433913"/>
                    </a:ext>
                  </a:extLst>
                </a:gridCol>
                <a:gridCol w="690880">
                  <a:extLst>
                    <a:ext uri="{9D8B030D-6E8A-4147-A177-3AD203B41FA5}">
                      <a16:colId xmlns:a16="http://schemas.microsoft.com/office/drawing/2014/main" val="2419638082"/>
                    </a:ext>
                  </a:extLst>
                </a:gridCol>
                <a:gridCol w="690880">
                  <a:extLst>
                    <a:ext uri="{9D8B030D-6E8A-4147-A177-3AD203B41FA5}">
                      <a16:colId xmlns:a16="http://schemas.microsoft.com/office/drawing/2014/main" val="3989623095"/>
                    </a:ext>
                  </a:extLst>
                </a:gridCol>
                <a:gridCol w="690880">
                  <a:extLst>
                    <a:ext uri="{9D8B030D-6E8A-4147-A177-3AD203B41FA5}">
                      <a16:colId xmlns:a16="http://schemas.microsoft.com/office/drawing/2014/main" val="3246719901"/>
                    </a:ext>
                  </a:extLst>
                </a:gridCol>
                <a:gridCol w="690880">
                  <a:extLst>
                    <a:ext uri="{9D8B030D-6E8A-4147-A177-3AD203B41FA5}">
                      <a16:colId xmlns:a16="http://schemas.microsoft.com/office/drawing/2014/main" val="1369085140"/>
                    </a:ext>
                  </a:extLst>
                </a:gridCol>
                <a:gridCol w="690880">
                  <a:extLst>
                    <a:ext uri="{9D8B030D-6E8A-4147-A177-3AD203B41FA5}">
                      <a16:colId xmlns:a16="http://schemas.microsoft.com/office/drawing/2014/main" val="1437665048"/>
                    </a:ext>
                  </a:extLst>
                </a:gridCol>
              </a:tblGrid>
              <a:tr h="184637">
                <a:tc gridSpan="14">
                  <a:txBody>
                    <a:bodyPr/>
                    <a:lstStyle/>
                    <a:p>
                      <a:pPr algn="ctr" fontAlgn="b"/>
                      <a:r>
                        <a:rPr lang="en-IN" sz="900" b="1" i="0" u="none" strike="noStrike">
                          <a:solidFill>
                            <a:srgbClr val="FFFFFF"/>
                          </a:solidFill>
                          <a:effectLst/>
                          <a:latin typeface="Arial" panose="020B0604020202020204" pitchFamily="34" charset="0"/>
                        </a:rPr>
                        <a:t>Baseline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810619066"/>
                  </a:ext>
                </a:extLst>
              </a:tr>
              <a:tr h="178482">
                <a:tc>
                  <a:txBody>
                    <a:bodyPr/>
                    <a:lstStyle/>
                    <a:p>
                      <a:pPr algn="ctr" fontAlgn="b"/>
                      <a:r>
                        <a:rPr lang="en-IN" sz="9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9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9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9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4276579163"/>
                  </a:ext>
                </a:extLst>
              </a:tr>
              <a:tr h="178482">
                <a:tc>
                  <a:txBody>
                    <a:bodyPr/>
                    <a:lstStyle/>
                    <a:p>
                      <a:pPr algn="ctr" rtl="0" fontAlgn="ctr"/>
                      <a:r>
                        <a:rPr lang="en-IN" sz="9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616362398"/>
                  </a:ext>
                </a:extLst>
              </a:tr>
              <a:tr h="178482">
                <a:tc>
                  <a:txBody>
                    <a:bodyPr/>
                    <a:lstStyle/>
                    <a:p>
                      <a:pPr algn="ctr" rtl="0" fontAlgn="ctr"/>
                      <a:r>
                        <a:rPr lang="en-IN" sz="9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407008478"/>
                  </a:ext>
                </a:extLst>
              </a:tr>
              <a:tr h="178482">
                <a:tc>
                  <a:txBody>
                    <a:bodyPr/>
                    <a:lstStyle/>
                    <a:p>
                      <a:pPr algn="ctr" rtl="0" fontAlgn="ctr"/>
                      <a:r>
                        <a:rPr lang="en-IN" sz="9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533776433"/>
                  </a:ext>
                </a:extLst>
              </a:tr>
              <a:tr h="178482">
                <a:tc>
                  <a:txBody>
                    <a:bodyPr/>
                    <a:lstStyle/>
                    <a:p>
                      <a:pPr algn="ctr" rtl="0" fontAlgn="ctr"/>
                      <a:r>
                        <a:rPr lang="en-IN" sz="900" b="1" i="0" u="none" strike="noStrike">
                          <a:solidFill>
                            <a:srgbClr val="000000"/>
                          </a:solidFill>
                          <a:effectLst/>
                          <a:latin typeface="Arial" panose="020B0604020202020204" pitchFamily="34" charset="0"/>
                        </a:rPr>
                        <a:t>Net Cashf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1.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9.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8.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7.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6.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2.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8.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3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3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6590649"/>
                  </a:ext>
                </a:extLst>
              </a:tr>
              <a:tr h="178482">
                <a:tc>
                  <a:txBody>
                    <a:bodyPr/>
                    <a:lstStyle/>
                    <a:p>
                      <a:pPr algn="ctr" rtl="0" fontAlgn="ctr"/>
                      <a:r>
                        <a:rPr lang="en-IN" sz="900" b="1" i="0" u="none" strike="noStrike">
                          <a:solidFill>
                            <a:srgbClr val="000000"/>
                          </a:solidFill>
                          <a:effectLst/>
                          <a:latin typeface="Arial" panose="020B0604020202020204" pitchFamily="34" charset="0"/>
                        </a:rPr>
                        <a:t>Projected Discount R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1958107"/>
                  </a:ext>
                </a:extLst>
              </a:tr>
              <a:tr h="178482">
                <a:tc>
                  <a:txBody>
                    <a:bodyPr/>
                    <a:lstStyle/>
                    <a:p>
                      <a:pPr algn="ctr" rtl="0" fontAlgn="ctr"/>
                      <a:r>
                        <a:rPr lang="en-IN" sz="900" b="1" i="0" u="none" strike="noStrike">
                          <a:solidFill>
                            <a:srgbClr val="000000"/>
                          </a:solidFill>
                          <a:effectLst/>
                          <a:latin typeface="Arial" panose="020B0604020202020204" pitchFamily="34" charset="0"/>
                        </a:rPr>
                        <a:t>Discount Fact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0.99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9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9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7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6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4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84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7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71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56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36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23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11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3495924"/>
                  </a:ext>
                </a:extLst>
              </a:tr>
              <a:tr h="178482">
                <a:tc>
                  <a:txBody>
                    <a:bodyPr/>
                    <a:lstStyle/>
                    <a:p>
                      <a:pPr algn="ctr" rtl="0" fontAlgn="ctr"/>
                      <a:r>
                        <a:rPr lang="en-IN" sz="900" b="1" i="0" u="none" strike="noStrike">
                          <a:solidFill>
                            <a:srgbClr val="000000"/>
                          </a:solidFill>
                          <a:effectLst/>
                          <a:latin typeface="Arial" panose="020B0604020202020204" pitchFamily="34" charset="0"/>
                        </a:rPr>
                        <a:t>Net Present Val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9.99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0.97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4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31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73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14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0.54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0.13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67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0.10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19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01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4.07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5167647"/>
                  </a:ext>
                </a:extLst>
              </a:tr>
              <a:tr h="184637">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5331787"/>
                  </a:ext>
                </a:extLst>
              </a:tr>
              <a:tr h="184637">
                <a:tc gridSpan="14">
                  <a:txBody>
                    <a:bodyPr/>
                    <a:lstStyle/>
                    <a:p>
                      <a:pPr algn="ctr" fontAlgn="b"/>
                      <a:r>
                        <a:rPr lang="en-IN" sz="900" b="1" i="0" u="none" strike="noStrike">
                          <a:solidFill>
                            <a:srgbClr val="FFFFFF"/>
                          </a:solidFill>
                          <a:effectLst/>
                          <a:latin typeface="Arial" panose="020B0604020202020204" pitchFamily="34" charset="0"/>
                        </a:rPr>
                        <a:t>Parallel-Up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260935214"/>
                  </a:ext>
                </a:extLst>
              </a:tr>
              <a:tr h="178482">
                <a:tc>
                  <a:txBody>
                    <a:bodyPr/>
                    <a:lstStyle/>
                    <a:p>
                      <a:pPr algn="ctr" fontAlgn="b"/>
                      <a:r>
                        <a:rPr lang="en-IN" sz="9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9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9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9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356046027"/>
                  </a:ext>
                </a:extLst>
              </a:tr>
              <a:tr h="178482">
                <a:tc>
                  <a:txBody>
                    <a:bodyPr/>
                    <a:lstStyle/>
                    <a:p>
                      <a:pPr algn="ctr" rtl="0" fontAlgn="ctr"/>
                      <a:r>
                        <a:rPr lang="en-IN" sz="9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892113836"/>
                  </a:ext>
                </a:extLst>
              </a:tr>
              <a:tr h="178482">
                <a:tc>
                  <a:txBody>
                    <a:bodyPr/>
                    <a:lstStyle/>
                    <a:p>
                      <a:pPr algn="ctr" rtl="0" fontAlgn="ctr"/>
                      <a:r>
                        <a:rPr lang="en-IN" sz="9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3944462635"/>
                  </a:ext>
                </a:extLst>
              </a:tr>
              <a:tr h="178482">
                <a:tc>
                  <a:txBody>
                    <a:bodyPr/>
                    <a:lstStyle/>
                    <a:p>
                      <a:pPr algn="ctr" rtl="0" fontAlgn="ctr"/>
                      <a:r>
                        <a:rPr lang="en-IN" sz="9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258627451"/>
                  </a:ext>
                </a:extLst>
              </a:tr>
              <a:tr h="178482">
                <a:tc>
                  <a:txBody>
                    <a:bodyPr/>
                    <a:lstStyle/>
                    <a:p>
                      <a:pPr algn="ctr" rtl="0" fontAlgn="ctr"/>
                      <a:r>
                        <a:rPr lang="en-IN" sz="900" b="1" i="0" u="none" strike="noStrike">
                          <a:solidFill>
                            <a:srgbClr val="000000"/>
                          </a:solidFill>
                          <a:effectLst/>
                          <a:latin typeface="Arial" panose="020B0604020202020204" pitchFamily="34" charset="0"/>
                        </a:rPr>
                        <a:t>Net Cashf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34.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37.9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32.7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9.3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4.1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2.4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43.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44.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46.5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62.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86.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0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20.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9412966"/>
                  </a:ext>
                </a:extLst>
              </a:tr>
              <a:tr h="178482">
                <a:tc>
                  <a:txBody>
                    <a:bodyPr/>
                    <a:lstStyle/>
                    <a:p>
                      <a:pPr algn="ctr" rtl="0" fontAlgn="ctr"/>
                      <a:r>
                        <a:rPr lang="en-IN" sz="900" b="1" i="0" u="none" strike="noStrike">
                          <a:solidFill>
                            <a:srgbClr val="000000"/>
                          </a:solidFill>
                          <a:effectLst/>
                          <a:latin typeface="Arial" panose="020B0604020202020204" pitchFamily="34" charset="0"/>
                        </a:rPr>
                        <a:t>Projected Discount R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6.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8.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0.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5602065"/>
                  </a:ext>
                </a:extLst>
              </a:tr>
              <a:tr h="178482">
                <a:tc>
                  <a:txBody>
                    <a:bodyPr/>
                    <a:lstStyle/>
                    <a:p>
                      <a:pPr algn="ctr" rtl="0" fontAlgn="ctr"/>
                      <a:r>
                        <a:rPr lang="en-IN" sz="900" b="1" i="0" u="none" strike="noStrike">
                          <a:solidFill>
                            <a:srgbClr val="000000"/>
                          </a:solidFill>
                          <a:effectLst/>
                          <a:latin typeface="Arial" panose="020B0604020202020204" pitchFamily="34" charset="0"/>
                        </a:rPr>
                        <a:t>Discount Fact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0.99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9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8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7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5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3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8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74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67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50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3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1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08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8831950"/>
                  </a:ext>
                </a:extLst>
              </a:tr>
              <a:tr h="178482">
                <a:tc>
                  <a:txBody>
                    <a:bodyPr/>
                    <a:lstStyle/>
                    <a:p>
                      <a:pPr algn="ctr" rtl="0" fontAlgn="ctr"/>
                      <a:r>
                        <a:rPr lang="en-IN" sz="900" b="1" i="0" u="none" strike="noStrike">
                          <a:solidFill>
                            <a:srgbClr val="000000"/>
                          </a:solidFill>
                          <a:effectLst/>
                          <a:latin typeface="Arial" panose="020B0604020202020204" pitchFamily="34" charset="0"/>
                        </a:rPr>
                        <a:t>Net Present Val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34.49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7.84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2.38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8.52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3.01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0.90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5.04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3.19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1.20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1.1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6.30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8.62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9.66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043281"/>
                  </a:ext>
                </a:extLst>
              </a:tr>
              <a:tr h="184637">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IN" sz="9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9748699"/>
                  </a:ext>
                </a:extLst>
              </a:tr>
              <a:tr h="184637">
                <a:tc gridSpan="14">
                  <a:txBody>
                    <a:bodyPr/>
                    <a:lstStyle/>
                    <a:p>
                      <a:pPr algn="ctr" fontAlgn="b"/>
                      <a:r>
                        <a:rPr lang="en-IN" sz="900" b="1" i="0" u="none" strike="noStrike">
                          <a:solidFill>
                            <a:srgbClr val="FFFFFF"/>
                          </a:solidFill>
                          <a:effectLst/>
                          <a:latin typeface="Arial" panose="020B0604020202020204" pitchFamily="34" charset="0"/>
                        </a:rPr>
                        <a:t>Parallel-Down Scenario (IN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2549057824"/>
                  </a:ext>
                </a:extLst>
              </a:tr>
              <a:tr h="178482">
                <a:tc>
                  <a:txBody>
                    <a:bodyPr/>
                    <a:lstStyle/>
                    <a:p>
                      <a:pPr algn="ctr" fontAlgn="b"/>
                      <a:r>
                        <a:rPr lang="en-IN" sz="900" b="1" i="0" u="none" strike="noStrike">
                          <a:solidFill>
                            <a:srgbClr val="000000"/>
                          </a:solidFill>
                          <a:effectLst/>
                          <a:latin typeface="Arial" panose="020B0604020202020204" pitchFamily="34" charset="0"/>
                        </a:rPr>
                        <a:t>Particular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gridSpan="6">
                  <a:txBody>
                    <a:bodyPr/>
                    <a:lstStyle/>
                    <a:p>
                      <a:pPr algn="ctr" fontAlgn="b"/>
                      <a:r>
                        <a:rPr lang="en-IN" sz="900" b="1" i="0" u="none" strike="noStrike">
                          <a:solidFill>
                            <a:srgbClr val="000000"/>
                          </a:solidFill>
                          <a:effectLst/>
                          <a:latin typeface="Arial" panose="020B0604020202020204" pitchFamily="34" charset="0"/>
                        </a:rPr>
                        <a:t>Short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gridSpan="3">
                  <a:txBody>
                    <a:bodyPr/>
                    <a:lstStyle/>
                    <a:p>
                      <a:pPr algn="ctr" fontAlgn="b"/>
                      <a:r>
                        <a:rPr lang="en-IN" sz="900" b="1" i="0" u="none" strike="noStrike">
                          <a:solidFill>
                            <a:srgbClr val="000000"/>
                          </a:solidFill>
                          <a:effectLst/>
                          <a:latin typeface="Arial" panose="020B0604020202020204" pitchFamily="34" charset="0"/>
                        </a:rPr>
                        <a:t>Medium Term</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hMerge="1">
                  <a:txBody>
                    <a:bodyPr/>
                    <a:lstStyle/>
                    <a:p>
                      <a:endParaRPr lang="en-IN"/>
                    </a:p>
                  </a:txBody>
                  <a:tcPr/>
                </a:tc>
                <a:tc hMerge="1">
                  <a:txBody>
                    <a:bodyPr/>
                    <a:lstStyle/>
                    <a:p>
                      <a:endParaRPr lang="en-IN"/>
                    </a:p>
                  </a:txBody>
                  <a:tcPr/>
                </a:tc>
                <a:tc gridSpan="4">
                  <a:txBody>
                    <a:bodyPr/>
                    <a:lstStyle/>
                    <a:p>
                      <a:pPr algn="ctr" fontAlgn="b"/>
                      <a:r>
                        <a:rPr lang="en-IN" sz="900" b="1" i="0" u="none" strike="noStrike">
                          <a:solidFill>
                            <a:srgbClr val="000000"/>
                          </a:solidFill>
                          <a:effectLst/>
                          <a:latin typeface="Arial" panose="020B0604020202020204" pitchFamily="34" charset="0"/>
                        </a:rPr>
                        <a:t>Long Term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853210144"/>
                  </a:ext>
                </a:extLst>
              </a:tr>
              <a:tr h="178482">
                <a:tc>
                  <a:txBody>
                    <a:bodyPr/>
                    <a:lstStyle/>
                    <a:p>
                      <a:pPr algn="ctr" rtl="0" fontAlgn="ctr"/>
                      <a:r>
                        <a:rPr lang="en-IN" sz="900" b="1" i="0" u="none" strike="noStrike">
                          <a:solidFill>
                            <a:srgbClr val="000000"/>
                          </a:solidFill>
                          <a:effectLst/>
                          <a:latin typeface="Arial" panose="020B0604020202020204" pitchFamily="34" charset="0"/>
                        </a:rPr>
                        <a:t>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3689585107"/>
                  </a:ext>
                </a:extLst>
              </a:tr>
              <a:tr h="178482">
                <a:tc>
                  <a:txBody>
                    <a:bodyPr/>
                    <a:lstStyle/>
                    <a:p>
                      <a:pPr algn="ctr" rtl="0" fontAlgn="ctr"/>
                      <a:r>
                        <a:rPr lang="en-IN" sz="900" b="1" i="0" u="none" strike="noStrike">
                          <a:solidFill>
                            <a:srgbClr val="000000"/>
                          </a:solidFill>
                          <a:effectLst/>
                          <a:latin typeface="Arial" panose="020B0604020202020204" pitchFamily="34" charset="0"/>
                        </a:rPr>
                        <a:t>Buck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O/N - 1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M - 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M - 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6M- 9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9M - 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Y - 3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3Y-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5Y - 7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7Y - 1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0Y - 15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15Y- 201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ctr"/>
                      <a:r>
                        <a:rPr lang="en-IN" sz="900" b="0" i="0" u="none" strike="noStrike">
                          <a:solidFill>
                            <a:srgbClr val="000000"/>
                          </a:solidFill>
                          <a:effectLst/>
                          <a:latin typeface="Arial" panose="020B0604020202020204" pitchFamily="34" charset="0"/>
                        </a:rPr>
                        <a:t>&gt; 20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390061519"/>
                  </a:ext>
                </a:extLst>
              </a:tr>
              <a:tr h="178482">
                <a:tc>
                  <a:txBody>
                    <a:bodyPr/>
                    <a:lstStyle/>
                    <a:p>
                      <a:pPr algn="ctr" rtl="0" fontAlgn="ctr"/>
                      <a:r>
                        <a:rPr lang="en-IN" sz="900" b="1" i="0" u="none" strike="noStrike">
                          <a:solidFill>
                            <a:srgbClr val="000000"/>
                          </a:solidFill>
                          <a:effectLst/>
                          <a:latin typeface="Arial" panose="020B0604020202020204" pitchFamily="34" charset="0"/>
                        </a:rPr>
                        <a:t>Midpoint (Yea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0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0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16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3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6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0.8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711724983"/>
                  </a:ext>
                </a:extLst>
              </a:tr>
              <a:tr h="178482">
                <a:tc>
                  <a:txBody>
                    <a:bodyPr/>
                    <a:lstStyle/>
                    <a:p>
                      <a:pPr algn="ctr" rtl="0" fontAlgn="ctr"/>
                      <a:r>
                        <a:rPr lang="en-IN" sz="900" b="1" i="0" u="none" strike="noStrike">
                          <a:solidFill>
                            <a:srgbClr val="000000"/>
                          </a:solidFill>
                          <a:effectLst/>
                          <a:latin typeface="Arial" panose="020B0604020202020204" pitchFamily="34" charset="0"/>
                        </a:rPr>
                        <a:t>Net Cashflo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rtl="0" fontAlgn="b"/>
                      <a:r>
                        <a:rPr lang="en-IN" sz="900" b="0" i="0" u="none" strike="noStrike">
                          <a:solidFill>
                            <a:srgbClr val="000000"/>
                          </a:solidFill>
                          <a:effectLst/>
                          <a:latin typeface="Arial" panose="020B0604020202020204" pitchFamily="34" charset="0"/>
                        </a:rPr>
                        <a:t>-2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5.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1.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9.5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6.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14.9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8.7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29.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31.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41.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57.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69.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IN" sz="900" b="0" i="0" u="none" strike="noStrike">
                          <a:solidFill>
                            <a:srgbClr val="000000"/>
                          </a:solidFill>
                          <a:effectLst/>
                          <a:latin typeface="Arial" panose="020B0604020202020204" pitchFamily="34" charset="0"/>
                        </a:rPr>
                        <a:t>-80.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8994222"/>
                  </a:ext>
                </a:extLst>
              </a:tr>
              <a:tr h="178482">
                <a:tc>
                  <a:txBody>
                    <a:bodyPr/>
                    <a:lstStyle/>
                    <a:p>
                      <a:pPr algn="ctr" rtl="0" fontAlgn="ctr"/>
                      <a:r>
                        <a:rPr lang="en-IN" sz="900" b="1" i="0" u="none" strike="noStrike">
                          <a:solidFill>
                            <a:srgbClr val="000000"/>
                          </a:solidFill>
                          <a:effectLst/>
                          <a:latin typeface="Arial" panose="020B0604020202020204" pitchFamily="34" charset="0"/>
                        </a:rPr>
                        <a:t>Projected Discount R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3.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3.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4.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4.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4.7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5.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6.8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7.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6622590"/>
                  </a:ext>
                </a:extLst>
              </a:tr>
              <a:tr h="178482">
                <a:tc>
                  <a:txBody>
                    <a:bodyPr/>
                    <a:lstStyle/>
                    <a:p>
                      <a:pPr algn="ctr" rtl="0" fontAlgn="ctr"/>
                      <a:r>
                        <a:rPr lang="en-IN" sz="900" b="1" i="0" u="none" strike="noStrike">
                          <a:solidFill>
                            <a:srgbClr val="000000"/>
                          </a:solidFill>
                          <a:effectLst/>
                          <a:latin typeface="Arial" panose="020B0604020202020204" pitchFamily="34" charset="0"/>
                        </a:rPr>
                        <a:t>Discount Fact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0.99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9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9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8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7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95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87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82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76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62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44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30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0.16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7963423"/>
                  </a:ext>
                </a:extLst>
              </a:tr>
              <a:tr h="178482">
                <a:tc>
                  <a:txBody>
                    <a:bodyPr/>
                    <a:lstStyle/>
                    <a:p>
                      <a:pPr algn="ctr" rtl="0" fontAlgn="ctr"/>
                      <a:r>
                        <a:rPr lang="en-IN" sz="900" b="1" i="0" u="none" strike="noStrike">
                          <a:solidFill>
                            <a:srgbClr val="000000"/>
                          </a:solidFill>
                          <a:effectLst/>
                          <a:latin typeface="Arial" panose="020B0604020202020204" pitchFamily="34" charset="0"/>
                        </a:rPr>
                        <a:t>Net Present Val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b"/>
                      <a:r>
                        <a:rPr lang="en-IN" sz="900" b="0" i="0" u="none" strike="noStrike">
                          <a:solidFill>
                            <a:srgbClr val="000000"/>
                          </a:solidFill>
                          <a:effectLst/>
                          <a:latin typeface="Calibri" panose="020F0502020204030204" pitchFamily="34" charset="0"/>
                        </a:rPr>
                        <a:t>-22.99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5.25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1.70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9.23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5.63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14.3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5.18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4.57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3.80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6.00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5.51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a:solidFill>
                            <a:srgbClr val="000000"/>
                          </a:solidFill>
                          <a:effectLst/>
                          <a:latin typeface="Calibri" panose="020F0502020204030204" pitchFamily="34" charset="0"/>
                        </a:rPr>
                        <a:t>-20.99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900" b="0" i="0" u="none" strike="noStrike" dirty="0">
                          <a:solidFill>
                            <a:srgbClr val="000000"/>
                          </a:solidFill>
                          <a:effectLst/>
                          <a:latin typeface="Calibri" panose="020F0502020204030204" pitchFamily="34" charset="0"/>
                        </a:rPr>
                        <a:t>-13.64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1922677"/>
                  </a:ext>
                </a:extLst>
              </a:tr>
            </a:tbl>
          </a:graphicData>
        </a:graphic>
      </p:graphicFrame>
    </p:spTree>
    <p:extLst>
      <p:ext uri="{BB962C8B-B14F-4D97-AF65-F5344CB8AC3E}">
        <p14:creationId xmlns:p14="http://schemas.microsoft.com/office/powerpoint/2010/main" val="3635289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3 – Calculation of EVE (Without AIRO Adjustment)</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810119"/>
            <a:ext cx="8941776" cy="31512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9: Calculate </a:t>
            </a:r>
            <a:r>
              <a:rPr lang="el-GR" sz="1200" b="1" i="0" u="none" strike="noStrike" dirty="0">
                <a:solidFill>
                  <a:srgbClr val="FFFFFF"/>
                </a:solidFill>
                <a:effectLst/>
                <a:latin typeface="Calibri" panose="020F0502020204030204" pitchFamily="34" charset="0"/>
              </a:rPr>
              <a:t>Δ </a:t>
            </a:r>
            <a:r>
              <a:rPr lang="en-IN" sz="1200" b="1" dirty="0">
                <a:solidFill>
                  <a:schemeClr val="bg1"/>
                </a:solidFill>
                <a:latin typeface="Arial" panose="020B0604020202020204" pitchFamily="34" charset="0"/>
                <a:cs typeface="Arial" panose="020B0604020202020204" pitchFamily="34" charset="0"/>
              </a:rPr>
              <a:t>EVE (Without AIRO Adjustment)</a:t>
            </a:r>
          </a:p>
        </p:txBody>
      </p:sp>
      <p:graphicFrame>
        <p:nvGraphicFramePr>
          <p:cNvPr id="6" name="Table 5">
            <a:extLst>
              <a:ext uri="{FF2B5EF4-FFF2-40B4-BE49-F238E27FC236}">
                <a16:creationId xmlns:a16="http://schemas.microsoft.com/office/drawing/2014/main" id="{4CC6646F-5381-44E0-8999-8E27837E2EC3}"/>
              </a:ext>
            </a:extLst>
          </p:cNvPr>
          <p:cNvGraphicFramePr>
            <a:graphicFrameLocks noGrp="1"/>
          </p:cNvGraphicFramePr>
          <p:nvPr>
            <p:extLst>
              <p:ext uri="{D42A27DB-BD31-4B8C-83A1-F6EECF244321}">
                <p14:modId xmlns:p14="http://schemas.microsoft.com/office/powerpoint/2010/main" val="1791250634"/>
              </p:ext>
            </p:extLst>
          </p:nvPr>
        </p:nvGraphicFramePr>
        <p:xfrm>
          <a:off x="1809789" y="1844675"/>
          <a:ext cx="3505200" cy="4876800"/>
        </p:xfrm>
        <a:graphic>
          <a:graphicData uri="http://schemas.openxmlformats.org/drawingml/2006/table">
            <a:tbl>
              <a:tblPr/>
              <a:tblGrid>
                <a:gridCol w="2047776">
                  <a:extLst>
                    <a:ext uri="{9D8B030D-6E8A-4147-A177-3AD203B41FA5}">
                      <a16:colId xmlns:a16="http://schemas.microsoft.com/office/drawing/2014/main" val="914019755"/>
                    </a:ext>
                  </a:extLst>
                </a:gridCol>
                <a:gridCol w="535004">
                  <a:extLst>
                    <a:ext uri="{9D8B030D-6E8A-4147-A177-3AD203B41FA5}">
                      <a16:colId xmlns:a16="http://schemas.microsoft.com/office/drawing/2014/main" val="2903551780"/>
                    </a:ext>
                  </a:extLst>
                </a:gridCol>
                <a:gridCol w="922420">
                  <a:extLst>
                    <a:ext uri="{9D8B030D-6E8A-4147-A177-3AD203B41FA5}">
                      <a16:colId xmlns:a16="http://schemas.microsoft.com/office/drawing/2014/main" val="2580056830"/>
                    </a:ext>
                  </a:extLst>
                </a:gridCol>
              </a:tblGrid>
              <a:tr h="224790">
                <a:tc gridSpan="3">
                  <a:txBody>
                    <a:bodyPr/>
                    <a:lstStyle/>
                    <a:p>
                      <a:pPr algn="ctr" fontAlgn="b"/>
                      <a:r>
                        <a:rPr lang="en-IN" sz="1600" b="1" i="0" u="none" strike="noStrike" dirty="0">
                          <a:solidFill>
                            <a:srgbClr val="FFFFFF"/>
                          </a:solidFill>
                          <a:effectLst/>
                          <a:latin typeface="Calibri" panose="020F0502020204030204" pitchFamily="34" charset="0"/>
                        </a:rPr>
                        <a:t>EVE (INR)</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699808818"/>
                  </a:ext>
                </a:extLst>
              </a:tr>
              <a:tr h="224790">
                <a:tc>
                  <a:txBody>
                    <a:bodyPr/>
                    <a:lstStyle/>
                    <a:p>
                      <a:pPr algn="ctr" fontAlgn="b"/>
                      <a:r>
                        <a:rPr lang="en-IN" sz="1600" b="1" i="0" u="none" strike="noStrike" dirty="0">
                          <a:solidFill>
                            <a:srgbClr val="FFFFFF"/>
                          </a:solidFill>
                          <a:effectLst/>
                          <a:latin typeface="Calibri" panose="020F0502020204030204" pitchFamily="34" charset="0"/>
                        </a:rPr>
                        <a:t>Scenar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600" b="1" i="0" u="none" strike="noStrike">
                          <a:solidFill>
                            <a:srgbClr val="FFFFFF"/>
                          </a:solidFill>
                          <a:effectLst/>
                          <a:latin typeface="Calibri" panose="020F0502020204030204" pitchFamily="34" charset="0"/>
                        </a:rPr>
                        <a:t>E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l-GR" sz="1600" b="1" i="0" u="none" strike="noStrike" dirty="0">
                          <a:solidFill>
                            <a:srgbClr val="FFFFFF"/>
                          </a:solidFill>
                          <a:effectLst/>
                          <a:latin typeface="Calibri" panose="020F0502020204030204" pitchFamily="34" charset="0"/>
                        </a:rPr>
                        <a:t>Δ </a:t>
                      </a:r>
                      <a:r>
                        <a:rPr lang="en-IN" sz="1600" b="1" i="0" u="none" strike="noStrike" dirty="0">
                          <a:solidFill>
                            <a:srgbClr val="FFFFFF"/>
                          </a:solidFill>
                          <a:effectLst/>
                          <a:latin typeface="Calibri" panose="020F0502020204030204" pitchFamily="34" charset="0"/>
                        </a:rPr>
                        <a:t>E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873573235"/>
                  </a:ext>
                </a:extLst>
              </a:tr>
              <a:tr h="224790">
                <a:tc>
                  <a:txBody>
                    <a:bodyPr/>
                    <a:lstStyle/>
                    <a:p>
                      <a:pPr algn="ctr" fontAlgn="b"/>
                      <a:r>
                        <a:rPr lang="en-IN" sz="1600" b="0" i="0" u="none" strike="noStrike" dirty="0">
                          <a:solidFill>
                            <a:srgbClr val="000000"/>
                          </a:solidFill>
                          <a:effectLst/>
                          <a:latin typeface="Calibri" panose="020F0502020204030204" pitchFamily="34" charset="0"/>
                        </a:rPr>
                        <a:t>Baseli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067731"/>
                  </a:ext>
                </a:extLst>
              </a:tr>
              <a:tr h="224790">
                <a:tc>
                  <a:txBody>
                    <a:bodyPr/>
                    <a:lstStyle/>
                    <a:p>
                      <a:pPr algn="ctr" fontAlgn="b"/>
                      <a:r>
                        <a:rPr lang="en-IN" sz="1600" b="0" i="0" u="none" strike="noStrike" dirty="0">
                          <a:solidFill>
                            <a:srgbClr val="000000"/>
                          </a:solidFill>
                          <a:effectLst/>
                          <a:latin typeface="Calibri" panose="020F0502020204030204" pitchFamily="34" charset="0"/>
                        </a:rPr>
                        <a:t>Parallel-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950024"/>
                  </a:ext>
                </a:extLst>
              </a:tr>
              <a:tr h="224790">
                <a:tc>
                  <a:txBody>
                    <a:bodyPr/>
                    <a:lstStyle/>
                    <a:p>
                      <a:pPr algn="ctr" fontAlgn="b"/>
                      <a:r>
                        <a:rPr lang="en-IN" sz="1600" b="0" i="0" u="none" strike="noStrike" dirty="0">
                          <a:solidFill>
                            <a:srgbClr val="000000"/>
                          </a:solidFill>
                          <a:effectLst/>
                          <a:latin typeface="Calibri" panose="020F0502020204030204" pitchFamily="34" charset="0"/>
                        </a:rPr>
                        <a:t>Parallel-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2310815"/>
                  </a:ext>
                </a:extLst>
              </a:tr>
              <a:tr h="224790">
                <a:tc>
                  <a:txBody>
                    <a:bodyPr/>
                    <a:lstStyle/>
                    <a:p>
                      <a:pPr algn="ctr" fontAlgn="b"/>
                      <a:r>
                        <a:rPr lang="en-IN" sz="1600" b="0" i="0" u="none" strike="noStrike" dirty="0" err="1">
                          <a:solidFill>
                            <a:srgbClr val="000000"/>
                          </a:solidFill>
                          <a:effectLst/>
                          <a:latin typeface="Calibri" panose="020F0502020204030204" pitchFamily="34" charset="0"/>
                        </a:rPr>
                        <a:t>Steepener</a:t>
                      </a:r>
                      <a:endParaRPr lang="en-IN" sz="16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4579899"/>
                  </a:ext>
                </a:extLst>
              </a:tr>
              <a:tr h="224790">
                <a:tc>
                  <a:txBody>
                    <a:bodyPr/>
                    <a:lstStyle/>
                    <a:p>
                      <a:pPr algn="ctr" fontAlgn="b"/>
                      <a:r>
                        <a:rPr lang="en-IN" sz="1600" b="0" i="0" u="none" strike="noStrike" dirty="0">
                          <a:solidFill>
                            <a:srgbClr val="000000"/>
                          </a:solidFill>
                          <a:effectLst/>
                          <a:latin typeface="Calibri" panose="020F0502020204030204" pitchFamily="34" charset="0"/>
                        </a:rPr>
                        <a:t>Flatte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7863325"/>
                  </a:ext>
                </a:extLst>
              </a:tr>
              <a:tr h="224790">
                <a:tc>
                  <a:txBody>
                    <a:bodyPr/>
                    <a:lstStyle/>
                    <a:p>
                      <a:pPr algn="ctr" fontAlgn="b"/>
                      <a:r>
                        <a:rPr lang="en-IN" sz="1600" b="0" i="0" u="none" strike="noStrike">
                          <a:solidFill>
                            <a:srgbClr val="000000"/>
                          </a:solidFill>
                          <a:effectLst/>
                          <a:latin typeface="Calibri" panose="020F0502020204030204" pitchFamily="34" charset="0"/>
                        </a:rPr>
                        <a:t>Short-Rate 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2354545"/>
                  </a:ext>
                </a:extLst>
              </a:tr>
              <a:tr h="224790">
                <a:tc>
                  <a:txBody>
                    <a:bodyPr/>
                    <a:lstStyle/>
                    <a:p>
                      <a:pPr algn="ctr" fontAlgn="b"/>
                      <a:r>
                        <a:rPr lang="en-IN" sz="1600" b="0" i="0" u="none" strike="noStrike" dirty="0">
                          <a:solidFill>
                            <a:srgbClr val="000000"/>
                          </a:solidFill>
                          <a:effectLst/>
                          <a:latin typeface="Calibri" panose="020F0502020204030204" pitchFamily="34" charset="0"/>
                        </a:rPr>
                        <a:t>Short-Rate 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1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3247715"/>
                  </a:ext>
                </a:extLst>
              </a:tr>
              <a:tr h="224790">
                <a:tc>
                  <a:txBody>
                    <a:bodyPr/>
                    <a:lstStyle/>
                    <a:p>
                      <a:pPr algn="l" fontAlgn="b"/>
                      <a:endParaRPr lang="en-IN" sz="16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6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6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33308350"/>
                  </a:ext>
                </a:extLst>
              </a:tr>
              <a:tr h="224790">
                <a:tc>
                  <a:txBody>
                    <a:bodyPr/>
                    <a:lstStyle/>
                    <a:p>
                      <a:pPr algn="l" fontAlgn="b"/>
                      <a:endParaRPr lang="en-IN" sz="16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endParaRPr lang="en-IN" sz="16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endParaRPr lang="en-IN" sz="16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502805314"/>
                  </a:ext>
                </a:extLst>
              </a:tr>
              <a:tr h="224790">
                <a:tc gridSpan="3">
                  <a:txBody>
                    <a:bodyPr/>
                    <a:lstStyle/>
                    <a:p>
                      <a:pPr algn="ctr" fontAlgn="b"/>
                      <a:r>
                        <a:rPr lang="en-IN" sz="1600" b="1" i="0" u="none" strike="noStrike" dirty="0">
                          <a:solidFill>
                            <a:srgbClr val="FFFFFF"/>
                          </a:solidFill>
                          <a:effectLst/>
                          <a:latin typeface="Calibri" panose="020F0502020204030204" pitchFamily="34" charset="0"/>
                        </a:rPr>
                        <a:t>EVE (USD)</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218537382"/>
                  </a:ext>
                </a:extLst>
              </a:tr>
              <a:tr h="224790">
                <a:tc>
                  <a:txBody>
                    <a:bodyPr/>
                    <a:lstStyle/>
                    <a:p>
                      <a:pPr algn="ctr" fontAlgn="b"/>
                      <a:r>
                        <a:rPr lang="en-IN" sz="1600" b="1" i="0" u="none" strike="noStrike" dirty="0">
                          <a:solidFill>
                            <a:srgbClr val="FFFFFF"/>
                          </a:solidFill>
                          <a:effectLst/>
                          <a:latin typeface="Calibri" panose="020F0502020204030204" pitchFamily="34" charset="0"/>
                        </a:rPr>
                        <a:t>Scenari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600" b="1" i="0" u="none" strike="noStrike">
                          <a:solidFill>
                            <a:srgbClr val="FFFFFF"/>
                          </a:solidFill>
                          <a:effectLst/>
                          <a:latin typeface="Calibri" panose="020F0502020204030204" pitchFamily="34" charset="0"/>
                        </a:rPr>
                        <a:t>E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l-GR" sz="1600" b="1" i="0" u="none" strike="noStrike" dirty="0">
                          <a:solidFill>
                            <a:srgbClr val="FFFFFF"/>
                          </a:solidFill>
                          <a:effectLst/>
                          <a:latin typeface="Calibri" panose="020F0502020204030204" pitchFamily="34" charset="0"/>
                        </a:rPr>
                        <a:t>Δ </a:t>
                      </a:r>
                      <a:r>
                        <a:rPr lang="en-IN" sz="1600" b="1" i="0" u="none" strike="noStrike" dirty="0">
                          <a:solidFill>
                            <a:srgbClr val="FFFFFF"/>
                          </a:solidFill>
                          <a:effectLst/>
                          <a:latin typeface="Calibri" panose="020F0502020204030204" pitchFamily="34" charset="0"/>
                        </a:rPr>
                        <a:t>E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673907875"/>
                  </a:ext>
                </a:extLst>
              </a:tr>
              <a:tr h="224790">
                <a:tc>
                  <a:txBody>
                    <a:bodyPr/>
                    <a:lstStyle/>
                    <a:p>
                      <a:pPr algn="ctr" fontAlgn="b"/>
                      <a:r>
                        <a:rPr lang="en-IN" sz="1600" b="0" i="0" u="none" strike="noStrike">
                          <a:solidFill>
                            <a:srgbClr val="000000"/>
                          </a:solidFill>
                          <a:effectLst/>
                          <a:latin typeface="Calibri" panose="020F0502020204030204" pitchFamily="34" charset="0"/>
                        </a:rPr>
                        <a:t>Baseli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566327"/>
                  </a:ext>
                </a:extLst>
              </a:tr>
              <a:tr h="224790">
                <a:tc>
                  <a:txBody>
                    <a:bodyPr/>
                    <a:lstStyle/>
                    <a:p>
                      <a:pPr algn="ctr" fontAlgn="b"/>
                      <a:r>
                        <a:rPr lang="en-IN" sz="1600" b="0" i="0" u="none" strike="noStrike" dirty="0">
                          <a:solidFill>
                            <a:srgbClr val="000000"/>
                          </a:solidFill>
                          <a:effectLst/>
                          <a:latin typeface="Calibri" panose="020F0502020204030204" pitchFamily="34" charset="0"/>
                        </a:rPr>
                        <a:t>Parallel-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0980250"/>
                  </a:ext>
                </a:extLst>
              </a:tr>
              <a:tr h="224790">
                <a:tc>
                  <a:txBody>
                    <a:bodyPr/>
                    <a:lstStyle/>
                    <a:p>
                      <a:pPr algn="ctr" fontAlgn="b"/>
                      <a:r>
                        <a:rPr lang="en-IN" sz="1600" b="0" i="0" u="none" strike="noStrike">
                          <a:solidFill>
                            <a:srgbClr val="000000"/>
                          </a:solidFill>
                          <a:effectLst/>
                          <a:latin typeface="Calibri" panose="020F0502020204030204" pitchFamily="34" charset="0"/>
                        </a:rPr>
                        <a:t>Parallel-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8399901"/>
                  </a:ext>
                </a:extLst>
              </a:tr>
              <a:tr h="224790">
                <a:tc>
                  <a:txBody>
                    <a:bodyPr/>
                    <a:lstStyle/>
                    <a:p>
                      <a:pPr algn="ctr" fontAlgn="b"/>
                      <a:r>
                        <a:rPr lang="en-IN" sz="1600" b="0" i="0" u="none" strike="noStrike">
                          <a:solidFill>
                            <a:srgbClr val="000000"/>
                          </a:solidFill>
                          <a:effectLst/>
                          <a:latin typeface="Calibri" panose="020F0502020204030204" pitchFamily="34" charset="0"/>
                        </a:rPr>
                        <a:t>Steepe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262390"/>
                  </a:ext>
                </a:extLst>
              </a:tr>
              <a:tr h="224790">
                <a:tc>
                  <a:txBody>
                    <a:bodyPr/>
                    <a:lstStyle/>
                    <a:p>
                      <a:pPr algn="ctr" fontAlgn="b"/>
                      <a:r>
                        <a:rPr lang="en-IN" sz="1600" b="0" i="0" u="none" strike="noStrike">
                          <a:solidFill>
                            <a:srgbClr val="000000"/>
                          </a:solidFill>
                          <a:effectLst/>
                          <a:latin typeface="Calibri" panose="020F0502020204030204" pitchFamily="34" charset="0"/>
                        </a:rPr>
                        <a:t>Flatte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1123417"/>
                  </a:ext>
                </a:extLst>
              </a:tr>
              <a:tr h="224790">
                <a:tc>
                  <a:txBody>
                    <a:bodyPr/>
                    <a:lstStyle/>
                    <a:p>
                      <a:pPr algn="ctr" fontAlgn="b"/>
                      <a:r>
                        <a:rPr lang="en-IN" sz="1600" b="0" i="0" u="none" strike="noStrike">
                          <a:solidFill>
                            <a:srgbClr val="000000"/>
                          </a:solidFill>
                          <a:effectLst/>
                          <a:latin typeface="Calibri" panose="020F0502020204030204" pitchFamily="34" charset="0"/>
                        </a:rPr>
                        <a:t>Short-Rate 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3564095"/>
                  </a:ext>
                </a:extLst>
              </a:tr>
              <a:tr h="224790">
                <a:tc>
                  <a:txBody>
                    <a:bodyPr/>
                    <a:lstStyle/>
                    <a:p>
                      <a:pPr algn="ctr" fontAlgn="b"/>
                      <a:r>
                        <a:rPr lang="en-IN" sz="1600" b="0" i="0" u="none" strike="noStrike">
                          <a:solidFill>
                            <a:srgbClr val="000000"/>
                          </a:solidFill>
                          <a:effectLst/>
                          <a:latin typeface="Calibri" panose="020F0502020204030204" pitchFamily="34" charset="0"/>
                        </a:rPr>
                        <a:t>Short-Rate 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600" b="0" i="0" u="none" strike="noStrike" dirty="0">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0848063"/>
                  </a:ext>
                </a:extLst>
              </a:tr>
            </a:tbl>
          </a:graphicData>
        </a:graphic>
      </p:graphicFrame>
      <p:sp>
        <p:nvSpPr>
          <p:cNvPr id="10" name="Isosceles Triangle 9">
            <a:extLst>
              <a:ext uri="{FF2B5EF4-FFF2-40B4-BE49-F238E27FC236}">
                <a16:creationId xmlns:a16="http://schemas.microsoft.com/office/drawing/2014/main" id="{3E36747F-7476-4E48-B884-2CB1FE877B5A}"/>
              </a:ext>
            </a:extLst>
          </p:cNvPr>
          <p:cNvSpPr/>
          <p:nvPr/>
        </p:nvSpPr>
        <p:spPr bwMode="gray">
          <a:xfrm rot="5400000">
            <a:off x="4946800" y="4096005"/>
            <a:ext cx="1500565" cy="166555"/>
          </a:xfrm>
          <a:prstGeom prst="triangl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Calibri"/>
            </a:endParaRPr>
          </a:p>
        </p:txBody>
      </p:sp>
      <p:graphicFrame>
        <p:nvGraphicFramePr>
          <p:cNvPr id="12" name="Chart 11">
            <a:extLst>
              <a:ext uri="{FF2B5EF4-FFF2-40B4-BE49-F238E27FC236}">
                <a16:creationId xmlns:a16="http://schemas.microsoft.com/office/drawing/2014/main" id="{164E1D5A-A0FA-42B0-A0C8-1262E27A2A2D}"/>
              </a:ext>
            </a:extLst>
          </p:cNvPr>
          <p:cNvGraphicFramePr>
            <a:graphicFrameLocks/>
          </p:cNvGraphicFramePr>
          <p:nvPr>
            <p:extLst>
              <p:ext uri="{D42A27DB-BD31-4B8C-83A1-F6EECF244321}">
                <p14:modId xmlns:p14="http://schemas.microsoft.com/office/powerpoint/2010/main" val="412010126"/>
              </p:ext>
            </p:extLst>
          </p:nvPr>
        </p:nvGraphicFramePr>
        <p:xfrm>
          <a:off x="5882772" y="2636837"/>
          <a:ext cx="6099175" cy="3292475"/>
        </p:xfrm>
        <a:graphic>
          <a:graphicData uri="http://schemas.openxmlformats.org/drawingml/2006/chart">
            <c:chart xmlns:c="http://schemas.openxmlformats.org/drawingml/2006/chart" xmlns:r="http://schemas.openxmlformats.org/officeDocument/2006/relationships" r:id="rId6"/>
          </a:graphicData>
        </a:graphic>
      </p:graphicFrame>
      <p:pic>
        <p:nvPicPr>
          <p:cNvPr id="13" name="Picture 12">
            <a:extLst>
              <a:ext uri="{FF2B5EF4-FFF2-40B4-BE49-F238E27FC236}">
                <a16:creationId xmlns:a16="http://schemas.microsoft.com/office/drawing/2014/main" id="{39AB2908-04C4-4E66-AF41-B5EA5A3B2627}"/>
              </a:ext>
            </a:extLst>
          </p:cNvPr>
          <p:cNvPicPr>
            <a:picLocks noChangeAspect="1"/>
          </p:cNvPicPr>
          <p:nvPr/>
        </p:nvPicPr>
        <p:blipFill>
          <a:blip r:embed="rId7"/>
          <a:stretch>
            <a:fillRect/>
          </a:stretch>
        </p:blipFill>
        <p:spPr>
          <a:xfrm>
            <a:off x="5181600" y="1187767"/>
            <a:ext cx="2712868" cy="554088"/>
          </a:xfrm>
          <a:prstGeom prst="rect">
            <a:avLst/>
          </a:prstGeom>
        </p:spPr>
      </p:pic>
    </p:spTree>
    <p:extLst>
      <p:ext uri="{BB962C8B-B14F-4D97-AF65-F5344CB8AC3E}">
        <p14:creationId xmlns:p14="http://schemas.microsoft.com/office/powerpoint/2010/main" val="8708082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4 – AIRO Adjustment</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810119"/>
            <a:ext cx="8941776" cy="31512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10: Calculate Capped </a:t>
            </a:r>
            <a:r>
              <a:rPr lang="el-GR" sz="1200" b="1" i="0" u="none" strike="noStrike" dirty="0">
                <a:solidFill>
                  <a:srgbClr val="FFFFFF"/>
                </a:solidFill>
                <a:effectLst/>
                <a:latin typeface="Calibri" panose="020F0502020204030204" pitchFamily="34" charset="0"/>
              </a:rPr>
              <a:t>Δ </a:t>
            </a:r>
            <a:r>
              <a:rPr lang="en-IN" sz="1200" b="1" dirty="0">
                <a:solidFill>
                  <a:schemeClr val="bg1"/>
                </a:solidFill>
                <a:latin typeface="Arial" panose="020B0604020202020204" pitchFamily="34" charset="0"/>
                <a:cs typeface="Arial" panose="020B0604020202020204" pitchFamily="34" charset="0"/>
              </a:rPr>
              <a:t>EVE (With AIRO Adjustment)</a:t>
            </a:r>
          </a:p>
        </p:txBody>
      </p:sp>
      <p:graphicFrame>
        <p:nvGraphicFramePr>
          <p:cNvPr id="4" name="Table 3">
            <a:extLst>
              <a:ext uri="{FF2B5EF4-FFF2-40B4-BE49-F238E27FC236}">
                <a16:creationId xmlns:a16="http://schemas.microsoft.com/office/drawing/2014/main" id="{6DAEE22B-A430-46A4-87C5-58B362E9CF87}"/>
              </a:ext>
            </a:extLst>
          </p:cNvPr>
          <p:cNvGraphicFramePr>
            <a:graphicFrameLocks noGrp="1"/>
          </p:cNvGraphicFramePr>
          <p:nvPr>
            <p:extLst>
              <p:ext uri="{D42A27DB-BD31-4B8C-83A1-F6EECF244321}">
                <p14:modId xmlns:p14="http://schemas.microsoft.com/office/powerpoint/2010/main" val="2499424448"/>
              </p:ext>
            </p:extLst>
          </p:nvPr>
        </p:nvGraphicFramePr>
        <p:xfrm>
          <a:off x="6843383" y="2590800"/>
          <a:ext cx="5181601" cy="2346960"/>
        </p:xfrm>
        <a:graphic>
          <a:graphicData uri="http://schemas.openxmlformats.org/drawingml/2006/table">
            <a:tbl>
              <a:tblPr/>
              <a:tblGrid>
                <a:gridCol w="1269664">
                  <a:extLst>
                    <a:ext uri="{9D8B030D-6E8A-4147-A177-3AD203B41FA5}">
                      <a16:colId xmlns:a16="http://schemas.microsoft.com/office/drawing/2014/main" val="4127386759"/>
                    </a:ext>
                  </a:extLst>
                </a:gridCol>
                <a:gridCol w="331713">
                  <a:extLst>
                    <a:ext uri="{9D8B030D-6E8A-4147-A177-3AD203B41FA5}">
                      <a16:colId xmlns:a16="http://schemas.microsoft.com/office/drawing/2014/main" val="1990316888"/>
                    </a:ext>
                  </a:extLst>
                </a:gridCol>
                <a:gridCol w="571920">
                  <a:extLst>
                    <a:ext uri="{9D8B030D-6E8A-4147-A177-3AD203B41FA5}">
                      <a16:colId xmlns:a16="http://schemas.microsoft.com/office/drawing/2014/main" val="4137646538"/>
                    </a:ext>
                  </a:extLst>
                </a:gridCol>
                <a:gridCol w="423222">
                  <a:extLst>
                    <a:ext uri="{9D8B030D-6E8A-4147-A177-3AD203B41FA5}">
                      <a16:colId xmlns:a16="http://schemas.microsoft.com/office/drawing/2014/main" val="295210290"/>
                    </a:ext>
                  </a:extLst>
                </a:gridCol>
                <a:gridCol w="1544186">
                  <a:extLst>
                    <a:ext uri="{9D8B030D-6E8A-4147-A177-3AD203B41FA5}">
                      <a16:colId xmlns:a16="http://schemas.microsoft.com/office/drawing/2014/main" val="3468290224"/>
                    </a:ext>
                  </a:extLst>
                </a:gridCol>
                <a:gridCol w="1040896">
                  <a:extLst>
                    <a:ext uri="{9D8B030D-6E8A-4147-A177-3AD203B41FA5}">
                      <a16:colId xmlns:a16="http://schemas.microsoft.com/office/drawing/2014/main" val="1948000180"/>
                    </a:ext>
                  </a:extLst>
                </a:gridCol>
              </a:tblGrid>
              <a:tr h="0">
                <a:tc gridSpan="6">
                  <a:txBody>
                    <a:bodyPr/>
                    <a:lstStyle/>
                    <a:p>
                      <a:pPr algn="ctr" fontAlgn="b"/>
                      <a:r>
                        <a:rPr lang="en-IN" sz="1400" b="1" i="0" u="none" strike="noStrike" dirty="0">
                          <a:solidFill>
                            <a:srgbClr val="FFFFFF"/>
                          </a:solidFill>
                          <a:effectLst/>
                          <a:latin typeface="Calibri" panose="020F0502020204030204" pitchFamily="34" charset="0"/>
                        </a:rPr>
                        <a:t>EVE (INR)</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1897554698"/>
                  </a:ext>
                </a:extLst>
              </a:tr>
              <a:tr h="204803">
                <a:tc>
                  <a:txBody>
                    <a:bodyPr/>
                    <a:lstStyle/>
                    <a:p>
                      <a:pPr algn="ctr" fontAlgn="b"/>
                      <a:r>
                        <a:rPr lang="en-IN" sz="1400" b="1" i="0" u="none" strike="noStrike">
                          <a:solidFill>
                            <a:srgbClr val="FFFFFF"/>
                          </a:solidFill>
                          <a:effectLst/>
                          <a:latin typeface="Calibri" panose="020F0502020204030204" pitchFamily="34" charset="0"/>
                        </a:rPr>
                        <a:t>Scenar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AIR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AIRO Adjusted </a:t>
                      </a:r>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dirty="0">
                          <a:solidFill>
                            <a:srgbClr val="FFFFFF"/>
                          </a:solidFill>
                          <a:effectLst/>
                          <a:latin typeface="Calibri" panose="020F0502020204030204" pitchFamily="34" charset="0"/>
                        </a:rPr>
                        <a:t>Capped </a:t>
                      </a:r>
                      <a:r>
                        <a:rPr lang="el-GR" sz="1400" b="1" i="0" u="none" strike="noStrike" dirty="0">
                          <a:solidFill>
                            <a:srgbClr val="FFFFFF"/>
                          </a:solidFill>
                          <a:effectLst/>
                          <a:latin typeface="Calibri" panose="020F0502020204030204" pitchFamily="34" charset="0"/>
                        </a:rPr>
                        <a:t>Δ </a:t>
                      </a:r>
                      <a:r>
                        <a:rPr lang="en-IN" sz="1400" b="1" i="0" u="none" strike="noStrike" dirty="0">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420544884"/>
                  </a:ext>
                </a:extLst>
              </a:tr>
              <a:tr h="204803">
                <a:tc>
                  <a:txBody>
                    <a:bodyPr/>
                    <a:lstStyle/>
                    <a:p>
                      <a:pPr algn="ctr" fontAlgn="b"/>
                      <a:r>
                        <a:rPr lang="en-IN" sz="1400" b="0" i="0" u="none" strike="noStrike">
                          <a:solidFill>
                            <a:srgbClr val="000000"/>
                          </a:solidFill>
                          <a:effectLst/>
                          <a:latin typeface="Calibri" panose="020F0502020204030204" pitchFamily="34" charset="0"/>
                        </a:rPr>
                        <a:t>Baseli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7879939"/>
                  </a:ext>
                </a:extLst>
              </a:tr>
              <a:tr h="204803">
                <a:tc>
                  <a:txBody>
                    <a:bodyPr/>
                    <a:lstStyle/>
                    <a:p>
                      <a:pPr algn="ctr" fontAlgn="b"/>
                      <a:r>
                        <a:rPr lang="en-IN" sz="1400" b="0" i="0" u="none" strike="noStrike">
                          <a:solidFill>
                            <a:srgbClr val="000000"/>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9176345"/>
                  </a:ext>
                </a:extLst>
              </a:tr>
              <a:tr h="204803">
                <a:tc>
                  <a:txBody>
                    <a:bodyPr/>
                    <a:lstStyle/>
                    <a:p>
                      <a:pPr algn="ctr" fontAlgn="b"/>
                      <a:r>
                        <a:rPr lang="en-IN" sz="1400" b="0" i="0" u="none" strike="noStrike">
                          <a:solidFill>
                            <a:srgbClr val="000000"/>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8253053"/>
                  </a:ext>
                </a:extLst>
              </a:tr>
              <a:tr h="204803">
                <a:tc>
                  <a:txBody>
                    <a:bodyPr/>
                    <a:lstStyle/>
                    <a:p>
                      <a:pPr algn="ctr" fontAlgn="b"/>
                      <a:r>
                        <a:rPr lang="en-IN" sz="1400" b="0" i="0" u="none" strike="noStrike">
                          <a:solidFill>
                            <a:srgbClr val="000000"/>
                          </a:solidFill>
                          <a:effectLst/>
                          <a:latin typeface="Calibri" panose="020F0502020204030204" pitchFamily="34" charset="0"/>
                        </a:rPr>
                        <a:t>Steep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3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1225466"/>
                  </a:ext>
                </a:extLst>
              </a:tr>
              <a:tr h="204803">
                <a:tc>
                  <a:txBody>
                    <a:bodyPr/>
                    <a:lstStyle/>
                    <a:p>
                      <a:pPr algn="ctr" fontAlgn="b"/>
                      <a:r>
                        <a:rPr lang="en-IN" sz="1400" b="0" i="0" u="none" strike="noStrike">
                          <a:solidFill>
                            <a:srgbClr val="000000"/>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3965743"/>
                  </a:ext>
                </a:extLst>
              </a:tr>
              <a:tr h="204803">
                <a:tc>
                  <a:txBody>
                    <a:bodyPr/>
                    <a:lstStyle/>
                    <a:p>
                      <a:pPr algn="ctr" fontAlgn="b"/>
                      <a:r>
                        <a:rPr lang="en-IN" sz="1400" b="0" i="0" u="none" strike="noStrike">
                          <a:solidFill>
                            <a:srgbClr val="000000"/>
                          </a:solidFill>
                          <a:effectLst/>
                          <a:latin typeface="Calibri" panose="020F0502020204030204" pitchFamily="34" charset="0"/>
                        </a:rPr>
                        <a:t>Short-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5044809"/>
                  </a:ext>
                </a:extLst>
              </a:tr>
              <a:tr h="204803">
                <a:tc>
                  <a:txBody>
                    <a:bodyPr/>
                    <a:lstStyle/>
                    <a:p>
                      <a:pPr algn="ctr" fontAlgn="b"/>
                      <a:r>
                        <a:rPr lang="en-IN" sz="1400" b="0" i="0" u="none" strike="noStrike">
                          <a:solidFill>
                            <a:srgbClr val="000000"/>
                          </a:solidFill>
                          <a:effectLst/>
                          <a:latin typeface="Calibri" panose="020F0502020204030204" pitchFamily="34" charset="0"/>
                        </a:rPr>
                        <a:t>Short-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1157904"/>
                  </a:ext>
                </a:extLst>
              </a:tr>
              <a:tr h="204803">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IN" sz="14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69791646"/>
                  </a:ext>
                </a:extLst>
              </a:tr>
              <a:tr h="204803">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IN" sz="14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IN" sz="14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IN" sz="14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IN" sz="14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IN" sz="14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961682907"/>
                  </a:ext>
                </a:extLst>
              </a:tr>
            </a:tbl>
          </a:graphicData>
        </a:graphic>
      </p:graphicFrame>
      <p:pic>
        <p:nvPicPr>
          <p:cNvPr id="11" name="Picture 10">
            <a:extLst>
              <a:ext uri="{FF2B5EF4-FFF2-40B4-BE49-F238E27FC236}">
                <a16:creationId xmlns:a16="http://schemas.microsoft.com/office/drawing/2014/main" id="{27B2CDF9-1D7D-492B-9749-E4331415F673}"/>
              </a:ext>
            </a:extLst>
          </p:cNvPr>
          <p:cNvPicPr>
            <a:picLocks noChangeAspect="1"/>
          </p:cNvPicPr>
          <p:nvPr/>
        </p:nvPicPr>
        <p:blipFill>
          <a:blip r:embed="rId6"/>
          <a:stretch>
            <a:fillRect/>
          </a:stretch>
        </p:blipFill>
        <p:spPr>
          <a:xfrm>
            <a:off x="6934200" y="1197109"/>
            <a:ext cx="4674406" cy="496504"/>
          </a:xfrm>
          <a:prstGeom prst="rect">
            <a:avLst/>
          </a:prstGeom>
        </p:spPr>
      </p:pic>
      <p:pic>
        <p:nvPicPr>
          <p:cNvPr id="13" name="Picture 12">
            <a:extLst>
              <a:ext uri="{FF2B5EF4-FFF2-40B4-BE49-F238E27FC236}">
                <a16:creationId xmlns:a16="http://schemas.microsoft.com/office/drawing/2014/main" id="{DA255C5E-254A-462E-A948-8C02E4C63501}"/>
              </a:ext>
            </a:extLst>
          </p:cNvPr>
          <p:cNvPicPr>
            <a:picLocks noChangeAspect="1"/>
          </p:cNvPicPr>
          <p:nvPr/>
        </p:nvPicPr>
        <p:blipFill rotWithShape="1">
          <a:blip r:embed="rId7"/>
          <a:srcRect l="53458" t="11657" b="4891"/>
          <a:stretch/>
        </p:blipFill>
        <p:spPr>
          <a:xfrm>
            <a:off x="8641786" y="1865602"/>
            <a:ext cx="2052590" cy="496504"/>
          </a:xfrm>
          <a:prstGeom prst="rect">
            <a:avLst/>
          </a:prstGeom>
        </p:spPr>
      </p:pic>
      <p:graphicFrame>
        <p:nvGraphicFramePr>
          <p:cNvPr id="7" name="Table 6">
            <a:extLst>
              <a:ext uri="{FF2B5EF4-FFF2-40B4-BE49-F238E27FC236}">
                <a16:creationId xmlns:a16="http://schemas.microsoft.com/office/drawing/2014/main" id="{6BD78B88-5C0E-4CAF-9465-90CF6E16CA91}"/>
              </a:ext>
            </a:extLst>
          </p:cNvPr>
          <p:cNvGraphicFramePr>
            <a:graphicFrameLocks noGrp="1"/>
          </p:cNvGraphicFramePr>
          <p:nvPr>
            <p:extLst>
              <p:ext uri="{D42A27DB-BD31-4B8C-83A1-F6EECF244321}">
                <p14:modId xmlns:p14="http://schemas.microsoft.com/office/powerpoint/2010/main" val="405060274"/>
              </p:ext>
            </p:extLst>
          </p:nvPr>
        </p:nvGraphicFramePr>
        <p:xfrm>
          <a:off x="6825662" y="4678205"/>
          <a:ext cx="5181601" cy="2032794"/>
        </p:xfrm>
        <a:graphic>
          <a:graphicData uri="http://schemas.openxmlformats.org/drawingml/2006/table">
            <a:tbl>
              <a:tblPr/>
              <a:tblGrid>
                <a:gridCol w="1269664">
                  <a:extLst>
                    <a:ext uri="{9D8B030D-6E8A-4147-A177-3AD203B41FA5}">
                      <a16:colId xmlns:a16="http://schemas.microsoft.com/office/drawing/2014/main" val="92498092"/>
                    </a:ext>
                  </a:extLst>
                </a:gridCol>
                <a:gridCol w="331713">
                  <a:extLst>
                    <a:ext uri="{9D8B030D-6E8A-4147-A177-3AD203B41FA5}">
                      <a16:colId xmlns:a16="http://schemas.microsoft.com/office/drawing/2014/main" val="34060937"/>
                    </a:ext>
                  </a:extLst>
                </a:gridCol>
                <a:gridCol w="571920">
                  <a:extLst>
                    <a:ext uri="{9D8B030D-6E8A-4147-A177-3AD203B41FA5}">
                      <a16:colId xmlns:a16="http://schemas.microsoft.com/office/drawing/2014/main" val="107026707"/>
                    </a:ext>
                  </a:extLst>
                </a:gridCol>
                <a:gridCol w="423222">
                  <a:extLst>
                    <a:ext uri="{9D8B030D-6E8A-4147-A177-3AD203B41FA5}">
                      <a16:colId xmlns:a16="http://schemas.microsoft.com/office/drawing/2014/main" val="1122702069"/>
                    </a:ext>
                  </a:extLst>
                </a:gridCol>
                <a:gridCol w="1544186">
                  <a:extLst>
                    <a:ext uri="{9D8B030D-6E8A-4147-A177-3AD203B41FA5}">
                      <a16:colId xmlns:a16="http://schemas.microsoft.com/office/drawing/2014/main" val="1179701288"/>
                    </a:ext>
                  </a:extLst>
                </a:gridCol>
                <a:gridCol w="1040896">
                  <a:extLst>
                    <a:ext uri="{9D8B030D-6E8A-4147-A177-3AD203B41FA5}">
                      <a16:colId xmlns:a16="http://schemas.microsoft.com/office/drawing/2014/main" val="2526888574"/>
                    </a:ext>
                  </a:extLst>
                </a:gridCol>
              </a:tblGrid>
              <a:tr h="225866">
                <a:tc gridSpan="6">
                  <a:txBody>
                    <a:bodyPr/>
                    <a:lstStyle/>
                    <a:p>
                      <a:pPr algn="ctr" fontAlgn="b"/>
                      <a:r>
                        <a:rPr lang="en-IN" sz="1400" b="1" i="0" u="none" strike="noStrike" dirty="0">
                          <a:solidFill>
                            <a:srgbClr val="FFFFFF"/>
                          </a:solidFill>
                          <a:effectLst/>
                          <a:latin typeface="Calibri" panose="020F0502020204030204" pitchFamily="34" charset="0"/>
                        </a:rPr>
                        <a:t>EVE (USD)</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000000"/>
                    </a:solidFill>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771308861"/>
                  </a:ext>
                </a:extLst>
              </a:tr>
              <a:tr h="225866">
                <a:tc>
                  <a:txBody>
                    <a:bodyPr/>
                    <a:lstStyle/>
                    <a:p>
                      <a:pPr algn="ctr" fontAlgn="b"/>
                      <a:r>
                        <a:rPr lang="en-IN" sz="1400" b="1" i="0" u="none" strike="noStrike" dirty="0">
                          <a:solidFill>
                            <a:srgbClr val="FFFFFF"/>
                          </a:solidFill>
                          <a:effectLst/>
                          <a:latin typeface="Calibri" panose="020F0502020204030204" pitchFamily="34" charset="0"/>
                        </a:rPr>
                        <a:t>Scenari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dirty="0">
                          <a:solidFill>
                            <a:srgbClr val="FFFFFF"/>
                          </a:solidFill>
                          <a:effectLst/>
                          <a:latin typeface="Calibri" panose="020F0502020204030204" pitchFamily="34" charset="0"/>
                        </a:rPr>
                        <a:t>AIR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AIRO Adjusted </a:t>
                      </a:r>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IN" sz="1400" b="1" i="0" u="none" strike="noStrike">
                          <a:solidFill>
                            <a:srgbClr val="FFFFFF"/>
                          </a:solidFill>
                          <a:effectLst/>
                          <a:latin typeface="Calibri" panose="020F0502020204030204" pitchFamily="34" charset="0"/>
                        </a:rPr>
                        <a:t>Capped </a:t>
                      </a:r>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4154719552"/>
                  </a:ext>
                </a:extLst>
              </a:tr>
              <a:tr h="225866">
                <a:tc>
                  <a:txBody>
                    <a:bodyPr/>
                    <a:lstStyle/>
                    <a:p>
                      <a:pPr algn="ctr" fontAlgn="b"/>
                      <a:r>
                        <a:rPr lang="en-IN" sz="1400" b="0" i="0" u="none" strike="noStrike" dirty="0">
                          <a:solidFill>
                            <a:srgbClr val="000000"/>
                          </a:solidFill>
                          <a:effectLst/>
                          <a:latin typeface="Calibri" panose="020F0502020204030204" pitchFamily="34" charset="0"/>
                        </a:rPr>
                        <a:t>Baselin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10210299"/>
                  </a:ext>
                </a:extLst>
              </a:tr>
              <a:tr h="225866">
                <a:tc>
                  <a:txBody>
                    <a:bodyPr/>
                    <a:lstStyle/>
                    <a:p>
                      <a:pPr algn="ctr" fontAlgn="b"/>
                      <a:r>
                        <a:rPr lang="en-IN" sz="1400" b="0" i="0" u="none" strike="noStrike">
                          <a:solidFill>
                            <a:srgbClr val="000000"/>
                          </a:solidFill>
                          <a:effectLst/>
                          <a:latin typeface="Calibri" panose="020F0502020204030204" pitchFamily="34" charset="0"/>
                        </a:rPr>
                        <a:t>Parallel-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7924998"/>
                  </a:ext>
                </a:extLst>
              </a:tr>
              <a:tr h="225866">
                <a:tc>
                  <a:txBody>
                    <a:bodyPr/>
                    <a:lstStyle/>
                    <a:p>
                      <a:pPr algn="ctr" fontAlgn="b"/>
                      <a:r>
                        <a:rPr lang="en-IN" sz="1400" b="0" i="0" u="none" strike="noStrike">
                          <a:solidFill>
                            <a:srgbClr val="000000"/>
                          </a:solidFill>
                          <a:effectLst/>
                          <a:latin typeface="Calibri" panose="020F0502020204030204" pitchFamily="34" charset="0"/>
                        </a:rPr>
                        <a:t>Parallel-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2468466"/>
                  </a:ext>
                </a:extLst>
              </a:tr>
              <a:tr h="225866">
                <a:tc>
                  <a:txBody>
                    <a:bodyPr/>
                    <a:lstStyle/>
                    <a:p>
                      <a:pPr algn="ctr" fontAlgn="b"/>
                      <a:r>
                        <a:rPr lang="en-IN" sz="1400" b="0" i="0" u="none" strike="noStrike">
                          <a:solidFill>
                            <a:srgbClr val="000000"/>
                          </a:solidFill>
                          <a:effectLst/>
                          <a:latin typeface="Calibri" panose="020F0502020204030204" pitchFamily="34" charset="0"/>
                        </a:rPr>
                        <a:t>Steep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8798023"/>
                  </a:ext>
                </a:extLst>
              </a:tr>
              <a:tr h="225866">
                <a:tc>
                  <a:txBody>
                    <a:bodyPr/>
                    <a:lstStyle/>
                    <a:p>
                      <a:pPr algn="ctr" fontAlgn="b"/>
                      <a:r>
                        <a:rPr lang="en-IN" sz="1400" b="0" i="0" u="none" strike="noStrike">
                          <a:solidFill>
                            <a:srgbClr val="000000"/>
                          </a:solidFill>
                          <a:effectLst/>
                          <a:latin typeface="Calibri" panose="020F0502020204030204" pitchFamily="34" charset="0"/>
                        </a:rPr>
                        <a:t>Flatten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9854364"/>
                  </a:ext>
                </a:extLst>
              </a:tr>
              <a:tr h="225866">
                <a:tc>
                  <a:txBody>
                    <a:bodyPr/>
                    <a:lstStyle/>
                    <a:p>
                      <a:pPr algn="ctr" fontAlgn="b"/>
                      <a:r>
                        <a:rPr lang="en-IN" sz="1400" b="0" i="0" u="none" strike="noStrike">
                          <a:solidFill>
                            <a:srgbClr val="000000"/>
                          </a:solidFill>
                          <a:effectLst/>
                          <a:latin typeface="Calibri" panose="020F0502020204030204" pitchFamily="34" charset="0"/>
                        </a:rPr>
                        <a:t>Short-Rate Up</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830252"/>
                  </a:ext>
                </a:extLst>
              </a:tr>
              <a:tr h="225866">
                <a:tc>
                  <a:txBody>
                    <a:bodyPr/>
                    <a:lstStyle/>
                    <a:p>
                      <a:pPr algn="ctr" fontAlgn="b"/>
                      <a:r>
                        <a:rPr lang="en-IN" sz="1400" b="0" i="0" u="none" strike="noStrike">
                          <a:solidFill>
                            <a:srgbClr val="000000"/>
                          </a:solidFill>
                          <a:effectLst/>
                          <a:latin typeface="Calibri" panose="020F0502020204030204" pitchFamily="34" charset="0"/>
                        </a:rPr>
                        <a:t>Short-Rate Dow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0167458"/>
                  </a:ext>
                </a:extLst>
              </a:tr>
            </a:tbl>
          </a:graphicData>
        </a:graphic>
      </p:graphicFrame>
      <p:sp>
        <p:nvSpPr>
          <p:cNvPr id="15" name="Oval 14">
            <a:extLst>
              <a:ext uri="{FF2B5EF4-FFF2-40B4-BE49-F238E27FC236}">
                <a16:creationId xmlns:a16="http://schemas.microsoft.com/office/drawing/2014/main" id="{4AAC0FE1-A884-47D6-A28B-0CF0B7FC772C}"/>
              </a:ext>
            </a:extLst>
          </p:cNvPr>
          <p:cNvSpPr/>
          <p:nvPr/>
        </p:nvSpPr>
        <p:spPr>
          <a:xfrm>
            <a:off x="1809788" y="1355387"/>
            <a:ext cx="3752811" cy="676452"/>
          </a:xfrm>
          <a:prstGeom prst="ellipse">
            <a:avLst/>
          </a:prstGeom>
          <a:solidFill>
            <a:srgbClr val="4F81BD">
              <a:lumMod val="50000"/>
            </a:srgb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r>
              <a:rPr lang="en-IN" sz="1400" b="1" kern="0" dirty="0">
                <a:solidFill>
                  <a:prstClr val="white"/>
                </a:solidFill>
                <a:latin typeface="Calibri"/>
              </a:rPr>
              <a:t>What is AIRO Adjustment ?</a:t>
            </a:r>
            <a:endParaRPr kumimoji="0" lang="en-IN" sz="1400" b="0"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20000"/>
              </a:lnSpc>
              <a:spcBef>
                <a:spcPts val="200"/>
              </a:spcBef>
              <a:spcAft>
                <a:spcPts val="200"/>
              </a:spcAft>
              <a:buClrTx/>
              <a:buSzTx/>
              <a:buFontTx/>
              <a:buNone/>
              <a:tabLst/>
              <a:defRPr/>
            </a:pPr>
            <a:endParaRPr kumimoji="0" lang="en-IN" sz="1400" b="0" i="0" u="none" strike="noStrike" kern="0" cap="none" spc="0" normalizeH="0" baseline="0" noProof="0" dirty="0">
              <a:ln>
                <a:noFill/>
              </a:ln>
              <a:solidFill>
                <a:prstClr val="white"/>
              </a:solidFill>
              <a:effectLst/>
              <a:uLnTx/>
              <a:uFillTx/>
              <a:latin typeface="Calibri"/>
            </a:endParaRPr>
          </a:p>
        </p:txBody>
      </p:sp>
      <p:sp>
        <p:nvSpPr>
          <p:cNvPr id="16" name="Isosceles Triangle 15">
            <a:extLst>
              <a:ext uri="{FF2B5EF4-FFF2-40B4-BE49-F238E27FC236}">
                <a16:creationId xmlns:a16="http://schemas.microsoft.com/office/drawing/2014/main" id="{2EFF6AA0-84E6-4B11-A3C1-2D228E2CF0A9}"/>
              </a:ext>
            </a:extLst>
          </p:cNvPr>
          <p:cNvSpPr/>
          <p:nvPr/>
        </p:nvSpPr>
        <p:spPr bwMode="gray">
          <a:xfrm rot="5400000">
            <a:off x="3674833" y="4066488"/>
            <a:ext cx="5449854" cy="152400"/>
          </a:xfrm>
          <a:prstGeom prst="triangl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Calibri"/>
            </a:endParaRPr>
          </a:p>
        </p:txBody>
      </p:sp>
      <p:sp>
        <p:nvSpPr>
          <p:cNvPr id="8" name="TextBox 7">
            <a:extLst>
              <a:ext uri="{FF2B5EF4-FFF2-40B4-BE49-F238E27FC236}">
                <a16:creationId xmlns:a16="http://schemas.microsoft.com/office/drawing/2014/main" id="{166C33ED-8DE5-4F9A-A30F-472346A21E23}"/>
              </a:ext>
            </a:extLst>
          </p:cNvPr>
          <p:cNvSpPr txBox="1"/>
          <p:nvPr/>
        </p:nvSpPr>
        <p:spPr>
          <a:xfrm>
            <a:off x="1866900" y="2514600"/>
            <a:ext cx="3962400" cy="3970318"/>
          </a:xfrm>
          <a:prstGeom prst="rect">
            <a:avLst/>
          </a:prstGeom>
          <a:noFill/>
          <a:ln w="19050">
            <a:solidFill>
              <a:schemeClr val="tx1"/>
            </a:solidFill>
            <a:prstDash val="lgDashDot"/>
          </a:ln>
        </p:spPr>
        <p:txBody>
          <a:bodyPr wrap="square" rtlCol="0">
            <a:spAutoFit/>
          </a:bodyPr>
          <a:lstStyle/>
          <a:p>
            <a:pPr marL="285750" indent="-285750">
              <a:spcAft>
                <a:spcPts val="1200"/>
              </a:spcAft>
              <a:buFont typeface="Arial" panose="020B0604020202020204" pitchFamily="34" charset="0"/>
              <a:buChar char="•"/>
            </a:pPr>
            <a:r>
              <a:rPr lang="en-IN" sz="1400" dirty="0">
                <a:latin typeface="Arial" panose="020B0604020202020204" pitchFamily="34" charset="0"/>
                <a:cs typeface="Arial" panose="020B0604020202020204" pitchFamily="34" charset="0"/>
              </a:rPr>
              <a:t>AIRO = Automatic interest rate options </a:t>
            </a:r>
          </a:p>
          <a:p>
            <a:pPr marL="285750" indent="-285750">
              <a:spcAft>
                <a:spcPts val="1200"/>
              </a:spcAft>
              <a:buFont typeface="Arial" panose="020B0604020202020204" pitchFamily="34" charset="0"/>
              <a:buChar char="•"/>
            </a:pPr>
            <a:r>
              <a:rPr lang="en-IN" sz="1400" dirty="0">
                <a:latin typeface="Arial" panose="020B0604020202020204" pitchFamily="34" charset="0"/>
                <a:cs typeface="Arial" panose="020B0604020202020204" pitchFamily="34" charset="0"/>
              </a:rPr>
              <a:t>Add-on for all explicit and embedded interest rate options in the banking book </a:t>
            </a:r>
          </a:p>
          <a:p>
            <a:pPr marL="285750" indent="-285750">
              <a:spcAft>
                <a:spcPts val="1200"/>
              </a:spcAft>
              <a:buFont typeface="Arial" panose="020B0604020202020204" pitchFamily="34" charset="0"/>
              <a:buChar char="•"/>
            </a:pPr>
            <a:r>
              <a:rPr lang="en-IN" sz="1400" dirty="0">
                <a:latin typeface="Arial" panose="020B0604020202020204" pitchFamily="34" charset="0"/>
                <a:cs typeface="Arial" panose="020B0604020202020204" pitchFamily="34" charset="0"/>
              </a:rPr>
              <a:t>E.g. of embedded options – Caps and floors embedded in loans </a:t>
            </a:r>
          </a:p>
          <a:p>
            <a:pPr marL="285750" indent="-285750">
              <a:spcAft>
                <a:spcPts val="1200"/>
              </a:spcAft>
              <a:buFont typeface="Arial" panose="020B0604020202020204" pitchFamily="34" charset="0"/>
              <a:buChar char="•"/>
            </a:pPr>
            <a:r>
              <a:rPr lang="en-IN" sz="1400" dirty="0" err="1">
                <a:latin typeface="Arial" panose="020B0604020202020204" pitchFamily="34" charset="0"/>
                <a:cs typeface="Arial" panose="020B0604020202020204" pitchFamily="34" charset="0"/>
              </a:rPr>
              <a:t>E.g</a:t>
            </a:r>
            <a:r>
              <a:rPr lang="en-IN" sz="1400" dirty="0">
                <a:latin typeface="Arial" panose="020B0604020202020204" pitchFamily="34" charset="0"/>
                <a:cs typeface="Arial" panose="020B0604020202020204" pitchFamily="34" charset="0"/>
              </a:rPr>
              <a:t> of explicit options – Swaptions </a:t>
            </a:r>
          </a:p>
          <a:p>
            <a:pPr marL="285750" indent="-285750">
              <a:spcAft>
                <a:spcPts val="1200"/>
              </a:spcAft>
              <a:buFont typeface="Arial" panose="020B0604020202020204" pitchFamily="34" charset="0"/>
              <a:buChar char="•"/>
            </a:pPr>
            <a:r>
              <a:rPr lang="en-IN" sz="1400" dirty="0">
                <a:latin typeface="Arial" panose="020B0604020202020204" pitchFamily="34" charset="0"/>
                <a:cs typeface="Arial" panose="020B0604020202020204" pitchFamily="34" charset="0"/>
              </a:rPr>
              <a:t>These options are re-valued across various interest rate and volatility scenarios using sophisticated mathematical modelling techniques such as :</a:t>
            </a:r>
          </a:p>
          <a:p>
            <a:pPr marL="446088" indent="92075">
              <a:spcAft>
                <a:spcPts val="1200"/>
              </a:spcAft>
              <a:buFont typeface="Wingdings" panose="05000000000000000000" pitchFamily="2" charset="2"/>
              <a:buChar char="Ø"/>
              <a:tabLst>
                <a:tab pos="269875" algn="l"/>
              </a:tabLst>
            </a:pPr>
            <a:r>
              <a:rPr lang="en-IN" sz="1400" dirty="0">
                <a:latin typeface="Arial" panose="020B0604020202020204" pitchFamily="34" charset="0"/>
                <a:cs typeface="Arial" panose="020B0604020202020204" pitchFamily="34" charset="0"/>
              </a:rPr>
              <a:t>      Black’s 76 model </a:t>
            </a:r>
          </a:p>
          <a:p>
            <a:pPr marL="446088" indent="92075">
              <a:spcAft>
                <a:spcPts val="1200"/>
              </a:spcAft>
              <a:buFont typeface="Wingdings" panose="05000000000000000000" pitchFamily="2" charset="2"/>
              <a:buChar char="Ø"/>
              <a:tabLst>
                <a:tab pos="269875" algn="l"/>
              </a:tabLst>
            </a:pPr>
            <a:r>
              <a:rPr lang="en-IN" sz="1400" dirty="0">
                <a:latin typeface="Arial" panose="020B0604020202020204" pitchFamily="34" charset="0"/>
                <a:cs typeface="Arial" panose="020B0604020202020204" pitchFamily="34" charset="0"/>
              </a:rPr>
              <a:t>      Tree based approaches</a:t>
            </a:r>
          </a:p>
          <a:p>
            <a:pPr marL="446088" indent="92075">
              <a:spcAft>
                <a:spcPts val="1200"/>
              </a:spcAft>
              <a:buFont typeface="Wingdings" panose="05000000000000000000" pitchFamily="2" charset="2"/>
              <a:buChar char="Ø"/>
              <a:tabLst>
                <a:tab pos="269875" algn="l"/>
              </a:tabLst>
            </a:pPr>
            <a:r>
              <a:rPr lang="en-IN" sz="1400" dirty="0">
                <a:latin typeface="Arial" panose="020B0604020202020204" pitchFamily="34" charset="0"/>
                <a:cs typeface="Arial" panose="020B0604020202020204" pitchFamily="34" charset="0"/>
              </a:rPr>
              <a:t>      Monte-Carlo simulation</a:t>
            </a:r>
          </a:p>
        </p:txBody>
      </p:sp>
    </p:spTree>
    <p:extLst>
      <p:ext uri="{BB962C8B-B14F-4D97-AF65-F5344CB8AC3E}">
        <p14:creationId xmlns:p14="http://schemas.microsoft.com/office/powerpoint/2010/main" val="3065871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8800" y="310709"/>
            <a:ext cx="6111354"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Agenda</a:t>
            </a:r>
          </a:p>
        </p:txBody>
      </p:sp>
      <p:sp>
        <p:nvSpPr>
          <p:cNvPr id="4" name="Rectangle 3"/>
          <p:cNvSpPr txBox="1">
            <a:spLocks noChangeArrowheads="1"/>
          </p:cNvSpPr>
          <p:nvPr/>
        </p:nvSpPr>
        <p:spPr>
          <a:xfrm>
            <a:off x="1905000" y="1295400"/>
            <a:ext cx="9829800" cy="53340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265113" indent="-265113">
              <a:spcBef>
                <a:spcPct val="0"/>
              </a:spcBef>
              <a:spcAft>
                <a:spcPts val="1200"/>
              </a:spcAft>
            </a:pPr>
            <a:r>
              <a:rPr lang="en-US" altLang="en-US" sz="1600" kern="0" dirty="0">
                <a:latin typeface="+mj-lt"/>
                <a:ea typeface="+mj-ea"/>
                <a:cs typeface="+mj-cs"/>
              </a:rPr>
              <a:t>Overview of the new banking business model </a:t>
            </a:r>
          </a:p>
          <a:p>
            <a:pPr marL="265113" indent="-265113">
              <a:spcBef>
                <a:spcPct val="0"/>
              </a:spcBef>
              <a:spcAft>
                <a:spcPts val="1200"/>
              </a:spcAft>
            </a:pPr>
            <a:r>
              <a:rPr lang="en-US" altLang="en-US" sz="1600" kern="0" dirty="0">
                <a:latin typeface="+mj-lt"/>
                <a:ea typeface="+mj-ea"/>
                <a:cs typeface="+mj-cs"/>
              </a:rPr>
              <a:t>Key risks faced by banks today </a:t>
            </a:r>
          </a:p>
          <a:p>
            <a:pPr marL="265113" indent="-265113">
              <a:spcBef>
                <a:spcPct val="0"/>
              </a:spcBef>
              <a:spcAft>
                <a:spcPts val="1200"/>
              </a:spcAft>
            </a:pPr>
            <a:r>
              <a:rPr lang="en-US" altLang="en-US" sz="1600" kern="0" dirty="0">
                <a:latin typeface="+mj-lt"/>
                <a:ea typeface="+mj-ea"/>
                <a:cs typeface="+mj-cs"/>
              </a:rPr>
              <a:t>Definition, components and impact of IRRBB </a:t>
            </a:r>
          </a:p>
          <a:p>
            <a:pPr marL="265113" indent="-265113">
              <a:spcBef>
                <a:spcPct val="0"/>
              </a:spcBef>
              <a:spcAft>
                <a:spcPts val="1200"/>
              </a:spcAft>
            </a:pPr>
            <a:r>
              <a:rPr lang="en-US" altLang="en-US" sz="1600" kern="0" dirty="0">
                <a:latin typeface="+mj-lt"/>
                <a:ea typeface="+mj-ea"/>
                <a:cs typeface="+mj-cs"/>
              </a:rPr>
              <a:t>Revised Basel standards for IRRBB measurement (SRP 31) </a:t>
            </a:r>
          </a:p>
          <a:p>
            <a:pPr marL="717550" indent="-182563">
              <a:spcBef>
                <a:spcPct val="0"/>
              </a:spcBef>
              <a:spcAft>
                <a:spcPts val="1200"/>
              </a:spcAft>
              <a:buFont typeface="Wingdings" panose="05000000000000000000" pitchFamily="2" charset="2"/>
              <a:buChar char="ü"/>
            </a:pPr>
            <a:r>
              <a:rPr lang="en-US" altLang="en-US" sz="1600" kern="0" dirty="0">
                <a:latin typeface="+mj-lt"/>
                <a:ea typeface="+mj-ea"/>
                <a:cs typeface="+mj-cs"/>
              </a:rPr>
              <a:t>    Risk, Governance and Oversight </a:t>
            </a:r>
          </a:p>
          <a:p>
            <a:pPr marL="717550" indent="-182563">
              <a:spcBef>
                <a:spcPct val="0"/>
              </a:spcBef>
              <a:spcAft>
                <a:spcPts val="1200"/>
              </a:spcAft>
              <a:buFont typeface="Wingdings" panose="05000000000000000000" pitchFamily="2" charset="2"/>
              <a:buChar char="ü"/>
            </a:pPr>
            <a:r>
              <a:rPr lang="en-US" altLang="en-US" sz="1600" kern="0" dirty="0">
                <a:latin typeface="+mj-lt"/>
                <a:ea typeface="+mj-ea"/>
                <a:cs typeface="+mj-cs"/>
              </a:rPr>
              <a:t>    IRRBB measurement, modelling and stress testing </a:t>
            </a:r>
          </a:p>
          <a:p>
            <a:pPr marL="717550" indent="-182563">
              <a:spcBef>
                <a:spcPct val="0"/>
              </a:spcBef>
              <a:spcAft>
                <a:spcPts val="1200"/>
              </a:spcAft>
              <a:buFont typeface="Wingdings" panose="05000000000000000000" pitchFamily="2" charset="2"/>
              <a:buChar char="ü"/>
            </a:pPr>
            <a:r>
              <a:rPr lang="en-US" altLang="en-US" sz="1600" kern="0" dirty="0">
                <a:latin typeface="+mj-lt"/>
                <a:ea typeface="+mj-ea"/>
                <a:cs typeface="+mj-cs"/>
              </a:rPr>
              <a:t>    Data integrity, model risk management and capital adequacy assessment </a:t>
            </a:r>
          </a:p>
          <a:p>
            <a:pPr marL="717550" indent="-182563">
              <a:spcBef>
                <a:spcPct val="0"/>
              </a:spcBef>
              <a:spcAft>
                <a:spcPts val="1200"/>
              </a:spcAft>
              <a:buFont typeface="Wingdings" panose="05000000000000000000" pitchFamily="2" charset="2"/>
              <a:buChar char="ü"/>
            </a:pPr>
            <a:r>
              <a:rPr lang="en-US" altLang="en-US" sz="1600" kern="0" dirty="0">
                <a:latin typeface="+mj-lt"/>
                <a:ea typeface="+mj-ea"/>
                <a:cs typeface="+mj-cs"/>
              </a:rPr>
              <a:t>    Reporting, disclosures &amp; supervisory review process </a:t>
            </a:r>
          </a:p>
          <a:p>
            <a:pPr marL="265113" indent="-265113">
              <a:spcBef>
                <a:spcPct val="0"/>
              </a:spcBef>
              <a:spcAft>
                <a:spcPts val="1200"/>
              </a:spcAft>
            </a:pPr>
            <a:r>
              <a:rPr lang="en-US" altLang="en-US" sz="1600" kern="0" dirty="0">
                <a:latin typeface="+mj-lt"/>
                <a:ea typeface="+mj-ea"/>
                <a:cs typeface="+mj-cs"/>
              </a:rPr>
              <a:t>Illustrative case study for EVE calculation </a:t>
            </a:r>
          </a:p>
          <a:p>
            <a:pPr marL="265113" indent="-265113">
              <a:spcBef>
                <a:spcPct val="0"/>
              </a:spcBef>
              <a:spcAft>
                <a:spcPts val="1200"/>
              </a:spcAft>
            </a:pPr>
            <a:r>
              <a:rPr lang="en-US" altLang="en-US" sz="1600" kern="0" dirty="0">
                <a:latin typeface="+mj-lt"/>
                <a:ea typeface="+mj-ea"/>
                <a:cs typeface="+mj-cs"/>
              </a:rPr>
              <a:t>Challenges and opportunities in IRRBB measurement</a:t>
            </a:r>
          </a:p>
          <a:p>
            <a:pPr marL="265113" indent="-265113">
              <a:spcBef>
                <a:spcPct val="0"/>
              </a:spcBef>
              <a:spcAft>
                <a:spcPts val="1200"/>
              </a:spcAft>
            </a:pPr>
            <a:r>
              <a:rPr lang="en-US" altLang="en-US" sz="1600" kern="0" dirty="0">
                <a:latin typeface="+mj-lt"/>
                <a:ea typeface="+mj-ea"/>
                <a:cs typeface="+mj-cs"/>
              </a:rPr>
              <a:t>Q/A </a:t>
            </a:r>
          </a:p>
          <a:p>
            <a:endParaRPr lang="en-US" altLang="en-US" kern="0" dirty="0"/>
          </a:p>
        </p:txBody>
      </p:sp>
    </p:spTree>
    <p:extLst>
      <p:ext uri="{BB962C8B-B14F-4D97-AF65-F5344CB8AC3E}">
        <p14:creationId xmlns:p14="http://schemas.microsoft.com/office/powerpoint/2010/main" val="36007784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Stage 5 – Standardized EVE measure </a:t>
            </a:r>
          </a:p>
        </p:txBody>
      </p:sp>
      <p:sp>
        <p:nvSpPr>
          <p:cNvPr id="76" name="Rectangle 75">
            <a:extLst>
              <a:ext uri="{FF2B5EF4-FFF2-40B4-BE49-F238E27FC236}">
                <a16:creationId xmlns:a16="http://schemas.microsoft.com/office/drawing/2014/main" id="{2B97D186-EC68-4E8D-A392-DAD160EF5784}"/>
              </a:ext>
            </a:extLst>
          </p:cNvPr>
          <p:cNvSpPr/>
          <p:nvPr/>
        </p:nvSpPr>
        <p:spPr bwMode="gray">
          <a:xfrm>
            <a:off x="1752600" y="810119"/>
            <a:ext cx="8941776" cy="315126"/>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200" b="1" dirty="0">
                <a:solidFill>
                  <a:schemeClr val="bg1"/>
                </a:solidFill>
                <a:latin typeface="Arial" panose="020B0604020202020204" pitchFamily="34" charset="0"/>
                <a:cs typeface="Arial" panose="020B0604020202020204" pitchFamily="34" charset="0"/>
              </a:rPr>
              <a:t>Step 11: Calculate standardized EVE measure after currency aggregation</a:t>
            </a:r>
          </a:p>
        </p:txBody>
      </p:sp>
      <p:graphicFrame>
        <p:nvGraphicFramePr>
          <p:cNvPr id="5" name="Table 4">
            <a:extLst>
              <a:ext uri="{FF2B5EF4-FFF2-40B4-BE49-F238E27FC236}">
                <a16:creationId xmlns:a16="http://schemas.microsoft.com/office/drawing/2014/main" id="{9F4C3A75-DBB5-4EE4-BF5B-0E939A194F16}"/>
              </a:ext>
            </a:extLst>
          </p:cNvPr>
          <p:cNvGraphicFramePr>
            <a:graphicFrameLocks noGrp="1"/>
          </p:cNvGraphicFramePr>
          <p:nvPr>
            <p:extLst>
              <p:ext uri="{D42A27DB-BD31-4B8C-83A1-F6EECF244321}">
                <p14:modId xmlns:p14="http://schemas.microsoft.com/office/powerpoint/2010/main" val="1549006898"/>
              </p:ext>
            </p:extLst>
          </p:nvPr>
        </p:nvGraphicFramePr>
        <p:xfrm>
          <a:off x="2133600" y="2981709"/>
          <a:ext cx="5257800" cy="2516564"/>
        </p:xfrm>
        <a:graphic>
          <a:graphicData uri="http://schemas.openxmlformats.org/drawingml/2006/table">
            <a:tbl>
              <a:tblPr/>
              <a:tblGrid>
                <a:gridCol w="1616286">
                  <a:extLst>
                    <a:ext uri="{9D8B030D-6E8A-4147-A177-3AD203B41FA5}">
                      <a16:colId xmlns:a16="http://schemas.microsoft.com/office/drawing/2014/main" val="3640431350"/>
                    </a:ext>
                  </a:extLst>
                </a:gridCol>
                <a:gridCol w="788670">
                  <a:extLst>
                    <a:ext uri="{9D8B030D-6E8A-4147-A177-3AD203B41FA5}">
                      <a16:colId xmlns:a16="http://schemas.microsoft.com/office/drawing/2014/main" val="2439971102"/>
                    </a:ext>
                  </a:extLst>
                </a:gridCol>
                <a:gridCol w="730251">
                  <a:extLst>
                    <a:ext uri="{9D8B030D-6E8A-4147-A177-3AD203B41FA5}">
                      <a16:colId xmlns:a16="http://schemas.microsoft.com/office/drawing/2014/main" val="2912530584"/>
                    </a:ext>
                  </a:extLst>
                </a:gridCol>
                <a:gridCol w="2122593">
                  <a:extLst>
                    <a:ext uri="{9D8B030D-6E8A-4147-A177-3AD203B41FA5}">
                      <a16:colId xmlns:a16="http://schemas.microsoft.com/office/drawing/2014/main" val="1663524618"/>
                    </a:ext>
                  </a:extLst>
                </a:gridCol>
              </a:tblGrid>
              <a:tr h="201242">
                <a:tc rowSpan="2">
                  <a:txBody>
                    <a:bodyPr/>
                    <a:lstStyle/>
                    <a:p>
                      <a:pPr algn="ctr" fontAlgn="ctr"/>
                      <a:r>
                        <a:rPr lang="en-IN" sz="1400" b="1" i="0" u="none" strike="noStrike" dirty="0">
                          <a:solidFill>
                            <a:srgbClr val="FFFFFF"/>
                          </a:solidFill>
                          <a:effectLst/>
                          <a:latin typeface="Calibri" panose="020F0502020204030204" pitchFamily="34" charset="0"/>
                        </a:rPr>
                        <a:t>Scenario</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2060"/>
                    </a:solidFill>
                  </a:tcPr>
                </a:tc>
                <a:tc gridSpan="2">
                  <a:txBody>
                    <a:bodyPr/>
                    <a:lstStyle/>
                    <a:p>
                      <a:pPr algn="ctr" fontAlgn="b"/>
                      <a:r>
                        <a:rPr lang="en-IN" sz="1400" b="1" i="0" u="none" strike="noStrike">
                          <a:solidFill>
                            <a:srgbClr val="FFFFFF"/>
                          </a:solidFill>
                          <a:effectLst/>
                          <a:latin typeface="Calibri" panose="020F0502020204030204" pitchFamily="34" charset="0"/>
                        </a:rPr>
                        <a:t>Capped </a:t>
                      </a:r>
                      <a:r>
                        <a:rPr lang="el-GR" sz="1400" b="1" i="0" u="none" strike="noStrike">
                          <a:solidFill>
                            <a:srgbClr val="FFFFFF"/>
                          </a:solidFill>
                          <a:effectLst/>
                          <a:latin typeface="Calibri" panose="020F0502020204030204" pitchFamily="34" charset="0"/>
                        </a:rPr>
                        <a:t>Δ </a:t>
                      </a:r>
                      <a:r>
                        <a:rPr lang="en-IN" sz="1400" b="1" i="0" u="none" strike="noStrike">
                          <a:solidFill>
                            <a:srgbClr val="FFFFFF"/>
                          </a:solidFill>
                          <a:effectLst/>
                          <a:latin typeface="Calibri" panose="020F0502020204030204" pitchFamily="34" charset="0"/>
                        </a:rPr>
                        <a:t>E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hMerge="1">
                  <a:txBody>
                    <a:bodyPr/>
                    <a:lstStyle/>
                    <a:p>
                      <a:endParaRPr lang="en-IN"/>
                    </a:p>
                  </a:txBody>
                  <a:tcPr/>
                </a:tc>
                <a:tc rowSpan="2">
                  <a:txBody>
                    <a:bodyPr/>
                    <a:lstStyle/>
                    <a:p>
                      <a:pPr algn="ctr" fontAlgn="ctr"/>
                      <a:r>
                        <a:rPr lang="el-GR" sz="1400" b="1" i="0" u="none" strike="noStrike" dirty="0">
                          <a:solidFill>
                            <a:srgbClr val="FFFFFF"/>
                          </a:solidFill>
                          <a:effectLst/>
                          <a:latin typeface="Calibri" panose="020F0502020204030204" pitchFamily="34" charset="0"/>
                        </a:rPr>
                        <a:t>Δ </a:t>
                      </a:r>
                      <a:r>
                        <a:rPr lang="en-IN" sz="1400" b="1" i="0" u="none" strike="noStrike" dirty="0">
                          <a:solidFill>
                            <a:srgbClr val="FFFFFF"/>
                          </a:solidFill>
                          <a:effectLst/>
                          <a:latin typeface="Calibri" panose="020F0502020204030204" pitchFamily="34" charset="0"/>
                        </a:rPr>
                        <a:t>EVE </a:t>
                      </a:r>
                      <a:br>
                        <a:rPr lang="en-IN" sz="1400" b="1" i="0" u="none" strike="noStrike" dirty="0">
                          <a:solidFill>
                            <a:srgbClr val="FFFFFF"/>
                          </a:solidFill>
                          <a:effectLst/>
                          <a:latin typeface="Calibri" panose="020F0502020204030204" pitchFamily="34" charset="0"/>
                        </a:rPr>
                      </a:br>
                      <a:r>
                        <a:rPr lang="en-IN" sz="1400" b="1" i="0" u="none" strike="noStrike" dirty="0">
                          <a:solidFill>
                            <a:srgbClr val="FFFFFF"/>
                          </a:solidFill>
                          <a:effectLst/>
                          <a:latin typeface="Calibri" panose="020F0502020204030204" pitchFamily="34" charset="0"/>
                        </a:rPr>
                        <a:t>(CCY Aggregat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29414393"/>
                  </a:ext>
                </a:extLst>
              </a:tr>
              <a:tr h="201242">
                <a:tc vMerge="1">
                  <a:txBody>
                    <a:bodyPr/>
                    <a:lstStyle/>
                    <a:p>
                      <a:endParaRPr lang="en-IN"/>
                    </a:p>
                  </a:txBody>
                  <a:tcPr/>
                </a:tc>
                <a:tc>
                  <a:txBody>
                    <a:bodyPr/>
                    <a:lstStyle/>
                    <a:p>
                      <a:pPr algn="ctr" fontAlgn="b"/>
                      <a:r>
                        <a:rPr lang="en-IN" sz="1400" b="1" i="0" u="none" strike="noStrike" dirty="0">
                          <a:solidFill>
                            <a:srgbClr val="000000"/>
                          </a:solidFill>
                          <a:effectLst/>
                          <a:latin typeface="Calibri" panose="020F0502020204030204" pitchFamily="34" charset="0"/>
                        </a:rPr>
                        <a:t>IN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IN" sz="1400" b="1" i="0" u="none" strike="noStrike" dirty="0">
                          <a:solidFill>
                            <a:srgbClr val="000000"/>
                          </a:solidFill>
                          <a:effectLst/>
                          <a:latin typeface="Calibri" panose="020F0502020204030204" pitchFamily="34" charset="0"/>
                        </a:rPr>
                        <a:t>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vMerge="1">
                  <a:txBody>
                    <a:bodyPr/>
                    <a:lstStyle/>
                    <a:p>
                      <a:endParaRPr lang="en-IN"/>
                    </a:p>
                  </a:txBody>
                  <a:tcPr/>
                </a:tc>
                <a:extLst>
                  <a:ext uri="{0D108BD9-81ED-4DB2-BD59-A6C34878D82A}">
                    <a16:rowId xmlns:a16="http://schemas.microsoft.com/office/drawing/2014/main" val="1182829076"/>
                  </a:ext>
                </a:extLst>
              </a:tr>
              <a:tr h="201242">
                <a:tc>
                  <a:txBody>
                    <a:bodyPr/>
                    <a:lstStyle/>
                    <a:p>
                      <a:pPr algn="ctr" fontAlgn="b"/>
                      <a:r>
                        <a:rPr lang="en-IN" sz="1400" b="0" i="0" u="none" strike="noStrike">
                          <a:solidFill>
                            <a:srgbClr val="000000"/>
                          </a:solidFill>
                          <a:effectLst/>
                          <a:latin typeface="Calibri" panose="020F0502020204030204" pitchFamily="34" charset="0"/>
                        </a:rPr>
                        <a:t>Parallel-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dirty="0">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14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6808381"/>
                  </a:ext>
                </a:extLst>
              </a:tr>
              <a:tr h="201242">
                <a:tc>
                  <a:txBody>
                    <a:bodyPr/>
                    <a:lstStyle/>
                    <a:p>
                      <a:pPr algn="ctr" fontAlgn="b"/>
                      <a:r>
                        <a:rPr lang="en-IN" sz="1400" b="0" i="0" u="none" strike="noStrike">
                          <a:solidFill>
                            <a:srgbClr val="000000"/>
                          </a:solidFill>
                          <a:effectLst/>
                          <a:latin typeface="Calibri" panose="020F0502020204030204" pitchFamily="34" charset="0"/>
                        </a:rPr>
                        <a:t>Parallel-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9943305"/>
                  </a:ext>
                </a:extLst>
              </a:tr>
              <a:tr h="201242">
                <a:tc>
                  <a:txBody>
                    <a:bodyPr/>
                    <a:lstStyle/>
                    <a:p>
                      <a:pPr algn="ctr" fontAlgn="b"/>
                      <a:r>
                        <a:rPr lang="en-IN" sz="1400" b="0" i="0" u="none" strike="noStrike">
                          <a:solidFill>
                            <a:srgbClr val="000000"/>
                          </a:solidFill>
                          <a:effectLst/>
                          <a:latin typeface="Calibri" panose="020F0502020204030204" pitchFamily="34" charset="0"/>
                        </a:rPr>
                        <a:t>Steepe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a:solidFill>
                            <a:srgbClr val="000000"/>
                          </a:solidFill>
                          <a:effectLst/>
                          <a:latin typeface="Calibri" panose="020F0502020204030204" pitchFamily="34" charset="0"/>
                        </a:rPr>
                        <a:t>3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990731"/>
                  </a:ext>
                </a:extLst>
              </a:tr>
              <a:tr h="201242">
                <a:tc>
                  <a:txBody>
                    <a:bodyPr/>
                    <a:lstStyle/>
                    <a:p>
                      <a:pPr algn="ctr" fontAlgn="b"/>
                      <a:r>
                        <a:rPr lang="en-IN" sz="1400" b="0" i="0" u="none" strike="noStrike" dirty="0">
                          <a:solidFill>
                            <a:srgbClr val="000000"/>
                          </a:solidFill>
                          <a:effectLst/>
                          <a:latin typeface="Calibri" panose="020F0502020204030204" pitchFamily="34" charset="0"/>
                        </a:rPr>
                        <a:t>Flatten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644081"/>
                  </a:ext>
                </a:extLst>
              </a:tr>
              <a:tr h="201242">
                <a:tc>
                  <a:txBody>
                    <a:bodyPr/>
                    <a:lstStyle/>
                    <a:p>
                      <a:pPr algn="ctr" fontAlgn="b"/>
                      <a:r>
                        <a:rPr lang="en-IN" sz="1400" b="0" i="0" u="none" strike="noStrike">
                          <a:solidFill>
                            <a:srgbClr val="000000"/>
                          </a:solidFill>
                          <a:effectLst/>
                          <a:latin typeface="Calibri" panose="020F0502020204030204" pitchFamily="34" charset="0"/>
                        </a:rPr>
                        <a:t>Short-Rate U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9458848"/>
                  </a:ext>
                </a:extLst>
              </a:tr>
              <a:tr h="382964">
                <a:tc>
                  <a:txBody>
                    <a:bodyPr/>
                    <a:lstStyle/>
                    <a:p>
                      <a:pPr algn="ctr" fontAlgn="b"/>
                      <a:r>
                        <a:rPr lang="en-IN" sz="1400" b="0" i="0" u="none" strike="noStrike" dirty="0">
                          <a:solidFill>
                            <a:srgbClr val="000000"/>
                          </a:solidFill>
                          <a:effectLst/>
                          <a:latin typeface="Calibri" panose="020F0502020204030204" pitchFamily="34" charset="0"/>
                        </a:rPr>
                        <a:t>Short-Rate Dow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IN" sz="1400" b="0" i="0" u="none" strike="noStrike">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N" sz="1400" b="0" i="0" u="none" strike="noStrike" dirty="0">
                          <a:solidFill>
                            <a:srgbClr val="000000"/>
                          </a:solidFill>
                          <a:effectLst/>
                          <a:latin typeface="Calibri" panose="020F050202020403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6914156"/>
                  </a:ext>
                </a:extLst>
              </a:tr>
              <a:tr h="201242">
                <a:tc gridSpan="3">
                  <a:txBody>
                    <a:bodyPr/>
                    <a:lstStyle/>
                    <a:p>
                      <a:pPr algn="ctr" fontAlgn="b"/>
                      <a:r>
                        <a:rPr lang="en-IN" sz="1400" b="1" i="0" u="none" strike="noStrike">
                          <a:solidFill>
                            <a:srgbClr val="000000"/>
                          </a:solidFill>
                          <a:effectLst/>
                          <a:latin typeface="Calibri" panose="020F0502020204030204" pitchFamily="34" charset="0"/>
                        </a:rPr>
                        <a:t>Standardized EVE Meas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hMerge="1">
                  <a:txBody>
                    <a:bodyPr/>
                    <a:lstStyle/>
                    <a:p>
                      <a:endParaRPr lang="en-IN"/>
                    </a:p>
                  </a:txBody>
                  <a:tcPr/>
                </a:tc>
                <a:tc hMerge="1">
                  <a:txBody>
                    <a:bodyPr/>
                    <a:lstStyle/>
                    <a:p>
                      <a:endParaRPr lang="en-IN"/>
                    </a:p>
                  </a:txBody>
                  <a:tcPr/>
                </a:tc>
                <a:tc>
                  <a:txBody>
                    <a:bodyPr/>
                    <a:lstStyle/>
                    <a:p>
                      <a:pPr algn="ctr" fontAlgn="b"/>
                      <a:r>
                        <a:rPr lang="en-IN" sz="1400" b="0" i="0" u="none" strike="noStrike" dirty="0">
                          <a:solidFill>
                            <a:srgbClr val="000000"/>
                          </a:solidFill>
                          <a:effectLst/>
                          <a:latin typeface="Calibri" panose="020F0502020204030204" pitchFamily="34" charset="0"/>
                        </a:rPr>
                        <a:t>14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3321831"/>
                  </a:ext>
                </a:extLst>
              </a:tr>
              <a:tr h="201242">
                <a:tc gridSpan="3">
                  <a:txBody>
                    <a:bodyPr/>
                    <a:lstStyle/>
                    <a:p>
                      <a:pPr algn="ctr" fontAlgn="b"/>
                      <a:r>
                        <a:rPr lang="en-US" sz="1400" b="1" i="0" u="none" strike="noStrike">
                          <a:solidFill>
                            <a:srgbClr val="000000"/>
                          </a:solidFill>
                          <a:effectLst/>
                          <a:latin typeface="Calibri" panose="020F0502020204030204" pitchFamily="34" charset="0"/>
                        </a:rPr>
                        <a:t>15% of Tier 1 Capit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hMerge="1">
                  <a:txBody>
                    <a:bodyPr/>
                    <a:lstStyle/>
                    <a:p>
                      <a:endParaRPr lang="en-IN"/>
                    </a:p>
                  </a:txBody>
                  <a:tcPr/>
                </a:tc>
                <a:tc hMerge="1">
                  <a:txBody>
                    <a:bodyPr/>
                    <a:lstStyle/>
                    <a:p>
                      <a:endParaRPr lang="en-IN"/>
                    </a:p>
                  </a:txBody>
                  <a:tcPr/>
                </a:tc>
                <a:tc>
                  <a:txBody>
                    <a:bodyPr/>
                    <a:lstStyle/>
                    <a:p>
                      <a:pPr algn="ctr" fontAlgn="b"/>
                      <a:r>
                        <a:rPr lang="en-IN" sz="1400" b="0" i="0" u="none" strike="noStrike" dirty="0">
                          <a:solidFill>
                            <a:srgbClr val="000000"/>
                          </a:solidFill>
                          <a:effectLst/>
                          <a:latin typeface="Calibri" panose="020F0502020204030204" pitchFamily="34" charset="0"/>
                        </a:rPr>
                        <a:t>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3749165"/>
                  </a:ext>
                </a:extLst>
              </a:tr>
              <a:tr h="201242">
                <a:tc gridSpan="3">
                  <a:txBody>
                    <a:bodyPr/>
                    <a:lstStyle/>
                    <a:p>
                      <a:pPr algn="ctr" fontAlgn="b"/>
                      <a:r>
                        <a:rPr lang="en-IN" sz="1400" b="1" i="0" u="none" strike="noStrike">
                          <a:solidFill>
                            <a:srgbClr val="000000"/>
                          </a:solidFill>
                          <a:effectLst/>
                          <a:latin typeface="Calibri" panose="020F0502020204030204" pitchFamily="34" charset="0"/>
                        </a:rPr>
                        <a:t>Breach / No Brea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hMerge="1">
                  <a:txBody>
                    <a:bodyPr/>
                    <a:lstStyle/>
                    <a:p>
                      <a:endParaRPr lang="en-IN"/>
                    </a:p>
                  </a:txBody>
                  <a:tcPr/>
                </a:tc>
                <a:tc hMerge="1">
                  <a:txBody>
                    <a:bodyPr/>
                    <a:lstStyle/>
                    <a:p>
                      <a:endParaRPr lang="en-IN"/>
                    </a:p>
                  </a:txBody>
                  <a:tcPr/>
                </a:tc>
                <a:tc>
                  <a:txBody>
                    <a:bodyPr/>
                    <a:lstStyle/>
                    <a:p>
                      <a:pPr algn="ctr" fontAlgn="b"/>
                      <a:r>
                        <a:rPr lang="en-IN" sz="1400" b="1" i="0" u="none" strike="noStrike" dirty="0">
                          <a:solidFill>
                            <a:srgbClr val="FFFFFF"/>
                          </a:solidFill>
                          <a:effectLst/>
                          <a:latin typeface="Calibri" panose="020F0502020204030204" pitchFamily="34" charset="0"/>
                        </a:rPr>
                        <a:t>Brea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1391639851"/>
                  </a:ext>
                </a:extLst>
              </a:tr>
            </a:tbl>
          </a:graphicData>
        </a:graphic>
      </p:graphicFrame>
      <p:sp>
        <p:nvSpPr>
          <p:cNvPr id="18" name="TextBox 17">
            <a:extLst>
              <a:ext uri="{FF2B5EF4-FFF2-40B4-BE49-F238E27FC236}">
                <a16:creationId xmlns:a16="http://schemas.microsoft.com/office/drawing/2014/main" id="{0EC97D12-53E4-4C68-9448-F6740D3C560D}"/>
              </a:ext>
            </a:extLst>
          </p:cNvPr>
          <p:cNvSpPr txBox="1"/>
          <p:nvPr/>
        </p:nvSpPr>
        <p:spPr>
          <a:xfrm>
            <a:off x="1219200" y="6553200"/>
            <a:ext cx="4173279" cy="253916"/>
          </a:xfrm>
          <a:prstGeom prst="rect">
            <a:avLst/>
          </a:prstGeom>
          <a:noFill/>
        </p:spPr>
        <p:txBody>
          <a:bodyPr wrap="square">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50" b="1" i="1" dirty="0">
                <a:solidFill>
                  <a:srgbClr val="002060"/>
                </a:solidFill>
                <a:latin typeface="Arial" pitchFamily="34" charset="0"/>
              </a:rPr>
              <a:t>*Assuming USD-INR CCY Conversion Rate = 70 </a:t>
            </a:r>
            <a:endParaRPr kumimoji="0" lang="en-IN" sz="1050" b="1" i="1" u="none" strike="noStrike" cap="none" normalizeH="0" baseline="0" dirty="0">
              <a:ln>
                <a:noFill/>
              </a:ln>
              <a:solidFill>
                <a:srgbClr val="002060"/>
              </a:solidFill>
              <a:effectLst/>
              <a:latin typeface="Arial" pitchFamily="34" charset="0"/>
            </a:endParaRPr>
          </a:p>
        </p:txBody>
      </p:sp>
      <p:pic>
        <p:nvPicPr>
          <p:cNvPr id="19" name="Picture 18">
            <a:extLst>
              <a:ext uri="{FF2B5EF4-FFF2-40B4-BE49-F238E27FC236}">
                <a16:creationId xmlns:a16="http://schemas.microsoft.com/office/drawing/2014/main" id="{5AB4568F-B817-49C0-B744-44AEA567D788}"/>
              </a:ext>
            </a:extLst>
          </p:cNvPr>
          <p:cNvPicPr>
            <a:picLocks noChangeAspect="1"/>
          </p:cNvPicPr>
          <p:nvPr/>
        </p:nvPicPr>
        <p:blipFill rotWithShape="1">
          <a:blip r:embed="rId6"/>
          <a:srcRect t="11658"/>
          <a:stretch/>
        </p:blipFill>
        <p:spPr>
          <a:xfrm>
            <a:off x="3578448" y="1618455"/>
            <a:ext cx="5642623" cy="672488"/>
          </a:xfrm>
          <a:prstGeom prst="rect">
            <a:avLst/>
          </a:prstGeom>
        </p:spPr>
      </p:pic>
      <p:sp>
        <p:nvSpPr>
          <p:cNvPr id="20" name="Oval 19">
            <a:extLst>
              <a:ext uri="{FF2B5EF4-FFF2-40B4-BE49-F238E27FC236}">
                <a16:creationId xmlns:a16="http://schemas.microsoft.com/office/drawing/2014/main" id="{EE146294-7F87-41E9-B280-4E5B3ADD4C5C}"/>
              </a:ext>
            </a:extLst>
          </p:cNvPr>
          <p:cNvSpPr/>
          <p:nvPr/>
        </p:nvSpPr>
        <p:spPr>
          <a:xfrm>
            <a:off x="8251564" y="3733801"/>
            <a:ext cx="3483236" cy="1352898"/>
          </a:xfrm>
          <a:prstGeom prst="ellipse">
            <a:avLst/>
          </a:prstGeom>
          <a:solidFill>
            <a:srgbClr val="FF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20000"/>
              </a:lnSpc>
              <a:spcBef>
                <a:spcPts val="200"/>
              </a:spcBef>
              <a:spcAft>
                <a:spcPts val="200"/>
              </a:spcAft>
              <a:defRPr/>
            </a:pPr>
            <a:r>
              <a:rPr lang="en-IN" sz="1400" b="1" kern="0" dirty="0">
                <a:solidFill>
                  <a:prstClr val="white"/>
                </a:solidFill>
                <a:latin typeface="Calibri"/>
              </a:rPr>
              <a:t>Standardized EVE materiality test result = Outlier Bank !</a:t>
            </a:r>
            <a:endParaRPr kumimoji="0" lang="en-IN" sz="1400" b="0" i="0" u="none" strike="noStrike" kern="0" cap="none" spc="0" normalizeH="0" baseline="0" noProof="0" dirty="0">
              <a:ln>
                <a:noFill/>
              </a:ln>
              <a:solidFill>
                <a:prstClr val="white"/>
              </a:solidFill>
              <a:effectLst/>
              <a:uLnTx/>
              <a:uFillTx/>
              <a:latin typeface="Calibri"/>
            </a:endParaRPr>
          </a:p>
        </p:txBody>
      </p:sp>
      <p:sp>
        <p:nvSpPr>
          <p:cNvPr id="21" name="Isosceles Triangle 20">
            <a:extLst>
              <a:ext uri="{FF2B5EF4-FFF2-40B4-BE49-F238E27FC236}">
                <a16:creationId xmlns:a16="http://schemas.microsoft.com/office/drawing/2014/main" id="{EA61FB06-2526-432B-9152-C5DCEF61189C}"/>
              </a:ext>
            </a:extLst>
          </p:cNvPr>
          <p:cNvSpPr/>
          <p:nvPr/>
        </p:nvSpPr>
        <p:spPr bwMode="gray">
          <a:xfrm rot="16200000">
            <a:off x="7250131" y="4253139"/>
            <a:ext cx="1500565" cy="166555"/>
          </a:xfrm>
          <a:prstGeom prst="triangl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IN" sz="1600" b="1" i="0" u="none" strike="noStrike" kern="0" cap="none" spc="0" normalizeH="0" baseline="0" noProof="0" dirty="0">
              <a:ln>
                <a:noFill/>
              </a:ln>
              <a:solidFill>
                <a:prstClr val="white"/>
              </a:solidFill>
              <a:effectLst/>
              <a:uLnTx/>
              <a:uFillTx/>
              <a:latin typeface="Calibri"/>
            </a:endParaRPr>
          </a:p>
        </p:txBody>
      </p:sp>
      <p:sp>
        <p:nvSpPr>
          <p:cNvPr id="10" name="Rectangle 9">
            <a:extLst>
              <a:ext uri="{FF2B5EF4-FFF2-40B4-BE49-F238E27FC236}">
                <a16:creationId xmlns:a16="http://schemas.microsoft.com/office/drawing/2014/main" id="{9755DEA5-AA2F-4C8F-8C93-52D8FAE9A0E1}"/>
              </a:ext>
            </a:extLst>
          </p:cNvPr>
          <p:cNvSpPr/>
          <p:nvPr/>
        </p:nvSpPr>
        <p:spPr bwMode="auto">
          <a:xfrm>
            <a:off x="0" y="6556464"/>
            <a:ext cx="711200" cy="30153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IN" sz="1100" b="1" i="0" u="none" strike="noStrike" cap="none" normalizeH="0" baseline="0" dirty="0">
                <a:ln>
                  <a:noFill/>
                </a:ln>
                <a:solidFill>
                  <a:schemeClr val="bg1"/>
                </a:solidFill>
                <a:effectLst/>
                <a:latin typeface="Arial" pitchFamily="34" charset="0"/>
              </a:rPr>
              <a:t>Poll Q5</a:t>
            </a:r>
          </a:p>
        </p:txBody>
      </p:sp>
    </p:spTree>
    <p:extLst>
      <p:ext uri="{BB962C8B-B14F-4D97-AF65-F5344CB8AC3E}">
        <p14:creationId xmlns:p14="http://schemas.microsoft.com/office/powerpoint/2010/main" val="20382798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24" name="Rectangle 2">
            <a:extLst>
              <a:ext uri="{FF2B5EF4-FFF2-40B4-BE49-F238E27FC236}">
                <a16:creationId xmlns:a16="http://schemas.microsoft.com/office/drawing/2014/main" id="{EEDF321D-65E5-4E2C-94A3-CA6E25D2B4E1}"/>
              </a:ext>
            </a:extLst>
          </p:cNvPr>
          <p:cNvSpPr txBox="1">
            <a:spLocks noChangeArrowheads="1"/>
          </p:cNvSpPr>
          <p:nvPr/>
        </p:nvSpPr>
        <p:spPr>
          <a:xfrm>
            <a:off x="1809789" y="239787"/>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Challenges and Opportunities in IRRBB measurement </a:t>
            </a:r>
          </a:p>
        </p:txBody>
      </p:sp>
      <p:grpSp>
        <p:nvGrpSpPr>
          <p:cNvPr id="4" name="Group 3">
            <a:extLst>
              <a:ext uri="{FF2B5EF4-FFF2-40B4-BE49-F238E27FC236}">
                <a16:creationId xmlns:a16="http://schemas.microsoft.com/office/drawing/2014/main" id="{B00C07FD-4B2D-4EAA-9A69-5A54009721B6}"/>
              </a:ext>
            </a:extLst>
          </p:cNvPr>
          <p:cNvGrpSpPr/>
          <p:nvPr/>
        </p:nvGrpSpPr>
        <p:grpSpPr>
          <a:xfrm>
            <a:off x="5109182" y="2296462"/>
            <a:ext cx="3094546" cy="2995071"/>
            <a:chOff x="5567023" y="2347663"/>
            <a:chExt cx="2407823" cy="2763867"/>
          </a:xfrm>
        </p:grpSpPr>
        <p:grpSp>
          <p:nvGrpSpPr>
            <p:cNvPr id="29" name="Group 28">
              <a:extLst>
                <a:ext uri="{FF2B5EF4-FFF2-40B4-BE49-F238E27FC236}">
                  <a16:creationId xmlns:a16="http://schemas.microsoft.com/office/drawing/2014/main" id="{4BBC6193-D5DA-48B4-BA10-A427854430A1}"/>
                </a:ext>
              </a:extLst>
            </p:cNvPr>
            <p:cNvGrpSpPr/>
            <p:nvPr/>
          </p:nvGrpSpPr>
          <p:grpSpPr>
            <a:xfrm>
              <a:off x="6846662" y="2347663"/>
              <a:ext cx="1128184" cy="1811684"/>
              <a:chOff x="2113405" y="1445984"/>
              <a:chExt cx="1412592" cy="1828046"/>
            </a:xfrm>
            <a:solidFill>
              <a:srgbClr val="92D050">
                <a:alpha val="35686"/>
              </a:srgbClr>
            </a:solidFill>
          </p:grpSpPr>
          <p:sp>
            <p:nvSpPr>
              <p:cNvPr id="39" name="Rounded Rectangle 14">
                <a:extLst>
                  <a:ext uri="{FF2B5EF4-FFF2-40B4-BE49-F238E27FC236}">
                    <a16:creationId xmlns:a16="http://schemas.microsoft.com/office/drawing/2014/main" id="{1C0D6623-7194-460B-A0C5-780B4420DF22}"/>
                  </a:ext>
                </a:extLst>
              </p:cNvPr>
              <p:cNvSpPr/>
              <p:nvPr/>
            </p:nvSpPr>
            <p:spPr>
              <a:xfrm rot="2720017">
                <a:off x="2376485" y="2124518"/>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sp>
            <p:nvSpPr>
              <p:cNvPr id="40" name="Rounded Rectangle 15">
                <a:extLst>
                  <a:ext uri="{FF2B5EF4-FFF2-40B4-BE49-F238E27FC236}">
                    <a16:creationId xmlns:a16="http://schemas.microsoft.com/office/drawing/2014/main" id="{E0F956C4-60C6-41F3-A419-61DF8FD9B3DC}"/>
                  </a:ext>
                </a:extLst>
              </p:cNvPr>
              <p:cNvSpPr/>
              <p:nvPr/>
            </p:nvSpPr>
            <p:spPr>
              <a:xfrm rot="18879983" flipH="1">
                <a:off x="1436333" y="2123056"/>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grpSp>
        <p:grpSp>
          <p:nvGrpSpPr>
            <p:cNvPr id="30" name="Group 29">
              <a:extLst>
                <a:ext uri="{FF2B5EF4-FFF2-40B4-BE49-F238E27FC236}">
                  <a16:creationId xmlns:a16="http://schemas.microsoft.com/office/drawing/2014/main" id="{CBF9F020-DA5A-48F6-A084-C6164940BC1F}"/>
                </a:ext>
              </a:extLst>
            </p:cNvPr>
            <p:cNvGrpSpPr/>
            <p:nvPr/>
          </p:nvGrpSpPr>
          <p:grpSpPr>
            <a:xfrm flipV="1">
              <a:off x="6846662" y="3291090"/>
              <a:ext cx="1128184" cy="1811685"/>
              <a:chOff x="2113405" y="1445983"/>
              <a:chExt cx="1412592" cy="1828047"/>
            </a:xfrm>
            <a:solidFill>
              <a:srgbClr val="92D050">
                <a:alpha val="35686"/>
              </a:srgbClr>
            </a:solidFill>
          </p:grpSpPr>
          <p:sp>
            <p:nvSpPr>
              <p:cNvPr id="31" name="Rounded Rectangle 17">
                <a:extLst>
                  <a:ext uri="{FF2B5EF4-FFF2-40B4-BE49-F238E27FC236}">
                    <a16:creationId xmlns:a16="http://schemas.microsoft.com/office/drawing/2014/main" id="{55535C11-75F3-49F4-A663-C02EBD884F9E}"/>
                  </a:ext>
                </a:extLst>
              </p:cNvPr>
              <p:cNvSpPr/>
              <p:nvPr/>
            </p:nvSpPr>
            <p:spPr>
              <a:xfrm rot="2720017">
                <a:off x="2376485" y="2124518"/>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sp>
            <p:nvSpPr>
              <p:cNvPr id="38" name="Rounded Rectangle 18">
                <a:extLst>
                  <a:ext uri="{FF2B5EF4-FFF2-40B4-BE49-F238E27FC236}">
                    <a16:creationId xmlns:a16="http://schemas.microsoft.com/office/drawing/2014/main" id="{245C8DF8-30A6-4B19-BE95-7A8E024E5C27}"/>
                  </a:ext>
                </a:extLst>
              </p:cNvPr>
              <p:cNvSpPr/>
              <p:nvPr/>
            </p:nvSpPr>
            <p:spPr>
              <a:xfrm rot="18879983" flipH="1">
                <a:off x="1436333" y="2123055"/>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grpSp>
        <p:grpSp>
          <p:nvGrpSpPr>
            <p:cNvPr id="52" name="Group 51">
              <a:extLst>
                <a:ext uri="{FF2B5EF4-FFF2-40B4-BE49-F238E27FC236}">
                  <a16:creationId xmlns:a16="http://schemas.microsoft.com/office/drawing/2014/main" id="{9B2053DD-69E7-48F3-9A04-F8CF63AAFD78}"/>
                </a:ext>
              </a:extLst>
            </p:cNvPr>
            <p:cNvGrpSpPr/>
            <p:nvPr/>
          </p:nvGrpSpPr>
          <p:grpSpPr>
            <a:xfrm>
              <a:off x="5567023" y="2356418"/>
              <a:ext cx="1128184" cy="1811684"/>
              <a:chOff x="2113405" y="1445984"/>
              <a:chExt cx="1412592" cy="1828046"/>
            </a:xfrm>
            <a:solidFill>
              <a:srgbClr val="C00000">
                <a:alpha val="35686"/>
              </a:srgbClr>
            </a:solidFill>
          </p:grpSpPr>
          <p:sp>
            <p:nvSpPr>
              <p:cNvPr id="53" name="Rounded Rectangle 14">
                <a:extLst>
                  <a:ext uri="{FF2B5EF4-FFF2-40B4-BE49-F238E27FC236}">
                    <a16:creationId xmlns:a16="http://schemas.microsoft.com/office/drawing/2014/main" id="{77E46A32-8258-4884-9D22-0ACF05F7286D}"/>
                  </a:ext>
                </a:extLst>
              </p:cNvPr>
              <p:cNvSpPr/>
              <p:nvPr/>
            </p:nvSpPr>
            <p:spPr>
              <a:xfrm rot="2720017">
                <a:off x="2376485" y="2124518"/>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sp>
            <p:nvSpPr>
              <p:cNvPr id="54" name="Rounded Rectangle 15">
                <a:extLst>
                  <a:ext uri="{FF2B5EF4-FFF2-40B4-BE49-F238E27FC236}">
                    <a16:creationId xmlns:a16="http://schemas.microsoft.com/office/drawing/2014/main" id="{30D92392-3749-47FA-8DED-56A0B80A6520}"/>
                  </a:ext>
                </a:extLst>
              </p:cNvPr>
              <p:cNvSpPr/>
              <p:nvPr/>
            </p:nvSpPr>
            <p:spPr>
              <a:xfrm rot="18879983" flipH="1">
                <a:off x="1436333" y="2123056"/>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grpSp>
        <p:grpSp>
          <p:nvGrpSpPr>
            <p:cNvPr id="55" name="Group 54">
              <a:extLst>
                <a:ext uri="{FF2B5EF4-FFF2-40B4-BE49-F238E27FC236}">
                  <a16:creationId xmlns:a16="http://schemas.microsoft.com/office/drawing/2014/main" id="{8AE3EF66-F9D1-4512-880A-1BB355F420B3}"/>
                </a:ext>
              </a:extLst>
            </p:cNvPr>
            <p:cNvGrpSpPr/>
            <p:nvPr/>
          </p:nvGrpSpPr>
          <p:grpSpPr>
            <a:xfrm flipV="1">
              <a:off x="5567023" y="3299845"/>
              <a:ext cx="1128184" cy="1811685"/>
              <a:chOff x="2113405" y="1445983"/>
              <a:chExt cx="1412592" cy="1828047"/>
            </a:xfrm>
            <a:solidFill>
              <a:srgbClr val="C00000">
                <a:alpha val="35686"/>
              </a:srgbClr>
            </a:solidFill>
          </p:grpSpPr>
          <p:sp>
            <p:nvSpPr>
              <p:cNvPr id="56" name="Rounded Rectangle 17">
                <a:extLst>
                  <a:ext uri="{FF2B5EF4-FFF2-40B4-BE49-F238E27FC236}">
                    <a16:creationId xmlns:a16="http://schemas.microsoft.com/office/drawing/2014/main" id="{0ACFC4E0-6811-4CC1-A3EE-E70B5F455180}"/>
                  </a:ext>
                </a:extLst>
              </p:cNvPr>
              <p:cNvSpPr/>
              <p:nvPr/>
            </p:nvSpPr>
            <p:spPr>
              <a:xfrm rot="2720017">
                <a:off x="2376485" y="2124518"/>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sp>
            <p:nvSpPr>
              <p:cNvPr id="57" name="Rounded Rectangle 18">
                <a:extLst>
                  <a:ext uri="{FF2B5EF4-FFF2-40B4-BE49-F238E27FC236}">
                    <a16:creationId xmlns:a16="http://schemas.microsoft.com/office/drawing/2014/main" id="{D3E21358-10F1-4BE3-8C74-678DF810724F}"/>
                  </a:ext>
                </a:extLst>
              </p:cNvPr>
              <p:cNvSpPr/>
              <p:nvPr/>
            </p:nvSpPr>
            <p:spPr>
              <a:xfrm rot="18879983" flipH="1">
                <a:off x="1436333" y="2123055"/>
                <a:ext cx="1826584" cy="472440"/>
              </a:xfrm>
              <a:prstGeom prst="roundRect">
                <a:avLst>
                  <a:gd name="adj" fmla="val 50000"/>
                </a:avLst>
              </a:prstGeom>
              <a:grp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sz="1200" dirty="0">
                  <a:solidFill>
                    <a:prstClr val="white"/>
                  </a:solidFill>
                  <a:latin typeface="Arial" panose="020B0604020202020204" pitchFamily="34" charset="0"/>
                  <a:cs typeface="Arial" panose="020B0604020202020204" pitchFamily="34" charset="0"/>
                </a:endParaRPr>
              </a:p>
            </p:txBody>
          </p:sp>
        </p:grpSp>
      </p:grpSp>
      <p:sp>
        <p:nvSpPr>
          <p:cNvPr id="60" name="Rectangle 59">
            <a:extLst>
              <a:ext uri="{FF2B5EF4-FFF2-40B4-BE49-F238E27FC236}">
                <a16:creationId xmlns:a16="http://schemas.microsoft.com/office/drawing/2014/main" id="{729B6CF5-D5E7-440D-BDBC-C8463B81AE93}"/>
              </a:ext>
            </a:extLst>
          </p:cNvPr>
          <p:cNvSpPr/>
          <p:nvPr/>
        </p:nvSpPr>
        <p:spPr>
          <a:xfrm>
            <a:off x="9087293" y="2731428"/>
            <a:ext cx="2520000" cy="1093347"/>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New-Age Compute &amp; Technology</a:t>
            </a:r>
          </a:p>
          <a:p>
            <a:pPr algn="ctr">
              <a:spcAft>
                <a:spcPts val="1200"/>
              </a:spcAft>
            </a:pPr>
            <a:r>
              <a:rPr lang="en-US" sz="1200" dirty="0">
                <a:solidFill>
                  <a:srgbClr val="595959"/>
                </a:solidFill>
                <a:latin typeface="Arial" panose="020B0604020202020204" pitchFamily="34" charset="0"/>
                <a:cs typeface="Arial" pitchFamily="34" charset="0"/>
              </a:rPr>
              <a:t>New-age technology stack capable of handling big data and parallel-processing required to practically implement IRRBB models </a:t>
            </a:r>
          </a:p>
        </p:txBody>
      </p:sp>
      <p:sp>
        <p:nvSpPr>
          <p:cNvPr id="61" name="Rectangle 60">
            <a:extLst>
              <a:ext uri="{FF2B5EF4-FFF2-40B4-BE49-F238E27FC236}">
                <a16:creationId xmlns:a16="http://schemas.microsoft.com/office/drawing/2014/main" id="{6FACB367-ACD8-4494-9368-25A3A450C428}"/>
              </a:ext>
            </a:extLst>
          </p:cNvPr>
          <p:cNvSpPr/>
          <p:nvPr/>
        </p:nvSpPr>
        <p:spPr>
          <a:xfrm>
            <a:off x="9081977" y="4228739"/>
            <a:ext cx="2520000"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Model risk management </a:t>
            </a:r>
          </a:p>
          <a:p>
            <a:pPr algn="ctr">
              <a:spcAft>
                <a:spcPts val="1200"/>
              </a:spcAft>
            </a:pPr>
            <a:r>
              <a:rPr lang="en-US" sz="1200" dirty="0">
                <a:solidFill>
                  <a:srgbClr val="595959"/>
                </a:solidFill>
                <a:latin typeface="Arial" panose="020B0604020202020204" pitchFamily="34" charset="0"/>
                <a:cs typeface="Arial" pitchFamily="34" charset="0"/>
              </a:rPr>
              <a:t>Need to maintain a strong model risk management cycle covering inventory of all models required for IRRBB </a:t>
            </a:r>
          </a:p>
        </p:txBody>
      </p:sp>
      <p:sp>
        <p:nvSpPr>
          <p:cNvPr id="62" name="Rectangle 61">
            <a:extLst>
              <a:ext uri="{FF2B5EF4-FFF2-40B4-BE49-F238E27FC236}">
                <a16:creationId xmlns:a16="http://schemas.microsoft.com/office/drawing/2014/main" id="{ABAA9FED-1F29-42EA-9654-C06972C5750F}"/>
              </a:ext>
            </a:extLst>
          </p:cNvPr>
          <p:cNvSpPr/>
          <p:nvPr/>
        </p:nvSpPr>
        <p:spPr>
          <a:xfrm>
            <a:off x="9087293" y="1353537"/>
            <a:ext cx="2520000"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Data Integrity and Processing</a:t>
            </a:r>
          </a:p>
          <a:p>
            <a:pPr algn="ctr">
              <a:spcAft>
                <a:spcPts val="1200"/>
              </a:spcAft>
            </a:pPr>
            <a:r>
              <a:rPr lang="en-US" sz="1200" dirty="0">
                <a:solidFill>
                  <a:srgbClr val="595959"/>
                </a:solidFill>
                <a:latin typeface="Arial" panose="020B0604020202020204" pitchFamily="34" charset="0"/>
                <a:cs typeface="Arial" pitchFamily="34" charset="0"/>
              </a:rPr>
              <a:t>Automated data pipelines that can handle huge volumes of data integrity checks and processing to facilitate IRRBB measurement and modelling </a:t>
            </a:r>
          </a:p>
        </p:txBody>
      </p:sp>
      <p:sp>
        <p:nvSpPr>
          <p:cNvPr id="63" name="Rectangle 62">
            <a:extLst>
              <a:ext uri="{FF2B5EF4-FFF2-40B4-BE49-F238E27FC236}">
                <a16:creationId xmlns:a16="http://schemas.microsoft.com/office/drawing/2014/main" id="{7B2EFFAE-9F06-4E7F-B4AE-04D99DD46CC1}"/>
              </a:ext>
            </a:extLst>
          </p:cNvPr>
          <p:cNvSpPr/>
          <p:nvPr/>
        </p:nvSpPr>
        <p:spPr>
          <a:xfrm>
            <a:off x="9081977" y="5638800"/>
            <a:ext cx="2732527"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Detailed Reporting &amp; Disclosures</a:t>
            </a:r>
          </a:p>
          <a:p>
            <a:pPr algn="ctr">
              <a:spcAft>
                <a:spcPts val="1200"/>
              </a:spcAft>
            </a:pPr>
            <a:r>
              <a:rPr lang="en-US" sz="1200" dirty="0">
                <a:solidFill>
                  <a:srgbClr val="595959"/>
                </a:solidFill>
                <a:latin typeface="Arial" panose="020B0604020202020204" pitchFamily="34" charset="0"/>
                <a:cs typeface="Arial" pitchFamily="34" charset="0"/>
              </a:rPr>
              <a:t>Extensive reporting and disclosures required by supervisors both at deal and aggregated levels. Failure would lead to increased capital requirements </a:t>
            </a:r>
          </a:p>
        </p:txBody>
      </p:sp>
      <p:sp>
        <p:nvSpPr>
          <p:cNvPr id="26" name="Rectangle 25">
            <a:extLst>
              <a:ext uri="{FF2B5EF4-FFF2-40B4-BE49-F238E27FC236}">
                <a16:creationId xmlns:a16="http://schemas.microsoft.com/office/drawing/2014/main" id="{5BC710FB-083E-4584-A993-36C4FFE74639}"/>
              </a:ext>
            </a:extLst>
          </p:cNvPr>
          <p:cNvSpPr/>
          <p:nvPr/>
        </p:nvSpPr>
        <p:spPr>
          <a:xfrm>
            <a:off x="2014505" y="2903047"/>
            <a:ext cx="2425494"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Behavioral Modelling </a:t>
            </a:r>
          </a:p>
          <a:p>
            <a:pPr algn="ctr">
              <a:spcAft>
                <a:spcPts val="1200"/>
              </a:spcAft>
            </a:pPr>
            <a:r>
              <a:rPr lang="en-US" sz="1200" dirty="0">
                <a:solidFill>
                  <a:srgbClr val="595959"/>
                </a:solidFill>
                <a:latin typeface="Arial" panose="020B0604020202020204" pitchFamily="34" charset="0"/>
                <a:cs typeface="Arial" pitchFamily="34" charset="0"/>
              </a:rPr>
              <a:t>Robust behavioral models based on statistical / regression / machine-learning techniques for exposures with uncertain cashflow profiles (NMDs, prepayments and early redemptions)</a:t>
            </a:r>
          </a:p>
        </p:txBody>
      </p:sp>
      <p:sp>
        <p:nvSpPr>
          <p:cNvPr id="27" name="Rectangle 26">
            <a:extLst>
              <a:ext uri="{FF2B5EF4-FFF2-40B4-BE49-F238E27FC236}">
                <a16:creationId xmlns:a16="http://schemas.microsoft.com/office/drawing/2014/main" id="{15445C92-C181-472F-BB59-17AF373E4DD5}"/>
              </a:ext>
            </a:extLst>
          </p:cNvPr>
          <p:cNvSpPr/>
          <p:nvPr/>
        </p:nvSpPr>
        <p:spPr>
          <a:xfrm>
            <a:off x="2014505" y="4475452"/>
            <a:ext cx="2520000"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Balance sheet projection </a:t>
            </a:r>
          </a:p>
          <a:p>
            <a:pPr algn="ctr">
              <a:spcAft>
                <a:spcPts val="1200"/>
              </a:spcAft>
            </a:pPr>
            <a:r>
              <a:rPr lang="en-US" sz="1200" dirty="0">
                <a:solidFill>
                  <a:srgbClr val="595959"/>
                </a:solidFill>
                <a:latin typeface="Arial" panose="020B0604020202020204" pitchFamily="34" charset="0"/>
                <a:cs typeface="Arial" pitchFamily="34" charset="0"/>
              </a:rPr>
              <a:t>Sophisticated projection models required to reflect evolution of business assumptions and reinvestment strategies</a:t>
            </a:r>
          </a:p>
        </p:txBody>
      </p:sp>
      <p:sp>
        <p:nvSpPr>
          <p:cNvPr id="28" name="Rectangle 27">
            <a:extLst>
              <a:ext uri="{FF2B5EF4-FFF2-40B4-BE49-F238E27FC236}">
                <a16:creationId xmlns:a16="http://schemas.microsoft.com/office/drawing/2014/main" id="{4530499A-66FC-4C8F-92CD-EB146C07A5AA}"/>
              </a:ext>
            </a:extLst>
          </p:cNvPr>
          <p:cNvSpPr/>
          <p:nvPr/>
        </p:nvSpPr>
        <p:spPr>
          <a:xfrm>
            <a:off x="1953307" y="1277920"/>
            <a:ext cx="2520000"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Term structure modelling</a:t>
            </a:r>
          </a:p>
          <a:p>
            <a:pPr algn="ctr">
              <a:spcAft>
                <a:spcPts val="1200"/>
              </a:spcAft>
            </a:pPr>
            <a:r>
              <a:rPr lang="en-US" sz="1200" dirty="0">
                <a:solidFill>
                  <a:srgbClr val="595959"/>
                </a:solidFill>
                <a:latin typeface="Arial" panose="020B0604020202020204" pitchFamily="34" charset="0"/>
                <a:cs typeface="Arial" pitchFamily="34" charset="0"/>
              </a:rPr>
              <a:t>Need for stochastic interest rate term structure models for forward looking IR scenarios that consider negative rate regimes</a:t>
            </a:r>
          </a:p>
        </p:txBody>
      </p:sp>
      <p:sp>
        <p:nvSpPr>
          <p:cNvPr id="34" name="Rectangle 33">
            <a:extLst>
              <a:ext uri="{FF2B5EF4-FFF2-40B4-BE49-F238E27FC236}">
                <a16:creationId xmlns:a16="http://schemas.microsoft.com/office/drawing/2014/main" id="{90EF2BC5-966D-4F52-BD21-5539CA8699CA}"/>
              </a:ext>
            </a:extLst>
          </p:cNvPr>
          <p:cNvSpPr/>
          <p:nvPr/>
        </p:nvSpPr>
        <p:spPr>
          <a:xfrm>
            <a:off x="1994106" y="5751078"/>
            <a:ext cx="2520000" cy="900000"/>
          </a:xfrm>
          <a:prstGeom prst="rect">
            <a:avLst/>
          </a:prstGeom>
          <a:no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ts val="1200"/>
              </a:spcBef>
            </a:pPr>
            <a:r>
              <a:rPr lang="en-US" sz="1200" b="1" dirty="0">
                <a:solidFill>
                  <a:prstClr val="black"/>
                </a:solidFill>
                <a:latin typeface="Arial" panose="020B0604020202020204" pitchFamily="34" charset="0"/>
                <a:cs typeface="Arial" pitchFamily="34" charset="0"/>
              </a:rPr>
              <a:t>AIRO valuation </a:t>
            </a:r>
          </a:p>
          <a:p>
            <a:pPr algn="ctr">
              <a:spcAft>
                <a:spcPts val="1200"/>
              </a:spcAft>
            </a:pPr>
            <a:r>
              <a:rPr lang="en-US" sz="1200" dirty="0">
                <a:solidFill>
                  <a:srgbClr val="595959"/>
                </a:solidFill>
                <a:latin typeface="Arial" panose="020B0604020202020204" pitchFamily="34" charset="0"/>
                <a:cs typeface="Arial" pitchFamily="34" charset="0"/>
              </a:rPr>
              <a:t>Extensive volatility and option pricing models required for AIRO valuation based on tree-based and simulation approaches </a:t>
            </a:r>
          </a:p>
        </p:txBody>
      </p:sp>
    </p:spTree>
    <p:extLst>
      <p:ext uri="{BB962C8B-B14F-4D97-AF65-F5344CB8AC3E}">
        <p14:creationId xmlns:p14="http://schemas.microsoft.com/office/powerpoint/2010/main" val="12318053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01654" y="152401"/>
            <a:ext cx="1085347" cy="1093347"/>
          </a:xfrm>
          <a:prstGeom prst="rect">
            <a:avLst/>
          </a:prstGeom>
          <a:blipFill dpi="0" rotWithShape="1">
            <a:blip r:embed="rId5"/>
            <a:srcRect/>
            <a:stretch>
              <a:fillRect/>
            </a:stretch>
          </a:blipFill>
        </p:spPr>
      </p:pic>
      <p:sp>
        <p:nvSpPr>
          <p:cNvPr id="6" name="Rectangle 5">
            <a:extLst>
              <a:ext uri="{FF2B5EF4-FFF2-40B4-BE49-F238E27FC236}">
                <a16:creationId xmlns:a16="http://schemas.microsoft.com/office/drawing/2014/main" id="{F3FF3C3D-0AB5-4644-B329-EA2A9C0DA91D}"/>
              </a:ext>
            </a:extLst>
          </p:cNvPr>
          <p:cNvSpPr/>
          <p:nvPr/>
        </p:nvSpPr>
        <p:spPr>
          <a:xfrm>
            <a:off x="3200401" y="2971800"/>
            <a:ext cx="3303989" cy="726398"/>
          </a:xfrm>
          <a:prstGeom prst="rect">
            <a:avLst/>
          </a:prstGeom>
          <a:solidFill>
            <a:srgbClr val="4F81BD">
              <a:lumMod val="60000"/>
              <a:lumOff val="40000"/>
            </a:srgbClr>
          </a:solidFill>
          <a:ln w="25400" cap="flat" cmpd="sng" algn="ctr">
            <a:solidFill>
              <a:sysClr val="windowText" lastClr="000000"/>
            </a:solidFill>
            <a:prstDash val="solid"/>
          </a:ln>
          <a:effectLst/>
        </p:spPr>
        <p:txBody>
          <a:bodyPr rtlCol="0" anchor="ctr"/>
          <a:lstStyle/>
          <a:p>
            <a:pPr algn="ctr">
              <a:defRPr/>
            </a:pPr>
            <a:r>
              <a:rPr lang="en-IN" b="1" kern="0" dirty="0">
                <a:solidFill>
                  <a:prstClr val="white"/>
                </a:solidFill>
                <a:latin typeface="Calibri"/>
              </a:rPr>
              <a:t>Questions ?</a:t>
            </a:r>
          </a:p>
        </p:txBody>
      </p:sp>
      <p:sp>
        <p:nvSpPr>
          <p:cNvPr id="7" name="Rectangle 6">
            <a:extLst>
              <a:ext uri="{FF2B5EF4-FFF2-40B4-BE49-F238E27FC236}">
                <a16:creationId xmlns:a16="http://schemas.microsoft.com/office/drawing/2014/main" id="{98B3C2FB-057A-4307-BD03-89C1BC08633C}"/>
              </a:ext>
            </a:extLst>
          </p:cNvPr>
          <p:cNvSpPr/>
          <p:nvPr/>
        </p:nvSpPr>
        <p:spPr>
          <a:xfrm>
            <a:off x="6983012" y="2971800"/>
            <a:ext cx="3303989" cy="726398"/>
          </a:xfrm>
          <a:prstGeom prst="rect">
            <a:avLst/>
          </a:prstGeom>
          <a:solidFill>
            <a:srgbClr val="1F497D"/>
          </a:solidFill>
          <a:ln w="25400" cap="flat" cmpd="sng" algn="ctr">
            <a:solidFill>
              <a:sysClr val="windowText" lastClr="000000"/>
            </a:solidFill>
            <a:prstDash val="solid"/>
          </a:ln>
          <a:effectLst/>
        </p:spPr>
        <p:txBody>
          <a:bodyPr rtlCol="0" anchor="ctr"/>
          <a:lstStyle/>
          <a:p>
            <a:pPr algn="ctr">
              <a:defRPr/>
            </a:pPr>
            <a:r>
              <a:rPr lang="en-IN" b="1" kern="0" dirty="0">
                <a:solidFill>
                  <a:prstClr val="white"/>
                </a:solidFill>
                <a:latin typeface="Calibri"/>
              </a:rPr>
              <a:t>Comments </a:t>
            </a:r>
          </a:p>
        </p:txBody>
      </p:sp>
    </p:spTree>
    <p:extLst>
      <p:ext uri="{BB962C8B-B14F-4D97-AF65-F5344CB8AC3E}">
        <p14:creationId xmlns:p14="http://schemas.microsoft.com/office/powerpoint/2010/main" val="35093334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63001" y="3505343"/>
            <a:ext cx="1588491" cy="1600200"/>
          </a:xfrm>
          <a:prstGeom prst="rect">
            <a:avLst/>
          </a:prstGeom>
        </p:spPr>
      </p:pic>
      <p:sp>
        <p:nvSpPr>
          <p:cNvPr id="6" name="Rectangle 150"/>
          <p:cNvSpPr txBox="1">
            <a:spLocks noChangeArrowheads="1"/>
          </p:cNvSpPr>
          <p:nvPr/>
        </p:nvSpPr>
        <p:spPr>
          <a:xfrm>
            <a:off x="228600" y="1295400"/>
            <a:ext cx="8435975"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spcAft>
                <a:spcPts val="600"/>
              </a:spcAft>
            </a:pPr>
            <a:r>
              <a:rPr lang="en-US" altLang="en-US" sz="2800" b="1" kern="0" dirty="0">
                <a:solidFill>
                  <a:schemeClr val="bg1"/>
                </a:solidFill>
              </a:rPr>
              <a:t>Thank You </a:t>
            </a:r>
            <a:endParaRPr lang="es-ES" altLang="en-US" sz="2800" b="1" kern="0" dirty="0">
              <a:solidFill>
                <a:schemeClr val="bg1"/>
              </a:solidFill>
            </a:endParaRPr>
          </a:p>
        </p:txBody>
      </p:sp>
      <p:sp>
        <p:nvSpPr>
          <p:cNvPr id="7" name="Rectangle 150">
            <a:extLst>
              <a:ext uri="{FF2B5EF4-FFF2-40B4-BE49-F238E27FC236}">
                <a16:creationId xmlns:a16="http://schemas.microsoft.com/office/drawing/2014/main" id="{263E0D74-E311-485D-84D6-0B66858ABE34}"/>
              </a:ext>
            </a:extLst>
          </p:cNvPr>
          <p:cNvSpPr txBox="1">
            <a:spLocks noChangeArrowheads="1"/>
          </p:cNvSpPr>
          <p:nvPr/>
        </p:nvSpPr>
        <p:spPr>
          <a:xfrm>
            <a:off x="96730" y="3581400"/>
            <a:ext cx="9047269"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1800" b="1" i="1" kern="0" dirty="0">
                <a:solidFill>
                  <a:srgbClr val="000000"/>
                </a:solidFill>
                <a:latin typeface="Arial"/>
              </a:rPr>
              <a:t>Measurement and modelling of interest rate risk in the banking book (IRRBB)</a:t>
            </a:r>
            <a:endParaRPr lang="es-ES" altLang="en-US" sz="1800" b="1" i="1" kern="0" dirty="0">
              <a:solidFill>
                <a:srgbClr val="000000"/>
              </a:solidFill>
              <a:latin typeface="Arial"/>
            </a:endParaRPr>
          </a:p>
        </p:txBody>
      </p:sp>
      <p:sp>
        <p:nvSpPr>
          <p:cNvPr id="8" name="Rectangle 168">
            <a:extLst>
              <a:ext uri="{FF2B5EF4-FFF2-40B4-BE49-F238E27FC236}">
                <a16:creationId xmlns:a16="http://schemas.microsoft.com/office/drawing/2014/main" id="{77EDAF62-7A73-4E53-87C2-E940032D04F5}"/>
              </a:ext>
            </a:extLst>
          </p:cNvPr>
          <p:cNvSpPr>
            <a:spLocks noChangeArrowheads="1"/>
          </p:cNvSpPr>
          <p:nvPr/>
        </p:nvSpPr>
        <p:spPr bwMode="auto">
          <a:xfrm>
            <a:off x="96730" y="4343324"/>
            <a:ext cx="576897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algn="l"/>
            <a:endParaRPr lang="en-US" altLang="en-US" sz="1800" b="1" dirty="0">
              <a:solidFill>
                <a:srgbClr val="000000"/>
              </a:solidFill>
            </a:endParaRPr>
          </a:p>
          <a:p>
            <a:pPr algn="l"/>
            <a:r>
              <a:rPr lang="en-US" altLang="en-US" sz="1400" dirty="0">
                <a:solidFill>
                  <a:srgbClr val="000000"/>
                </a:solidFill>
              </a:rPr>
              <a:t>Yash Ratanpal, AIAI, CERA </a:t>
            </a:r>
            <a:br>
              <a:rPr lang="en-US" altLang="en-US" sz="1400" dirty="0">
                <a:solidFill>
                  <a:srgbClr val="000000"/>
                </a:solidFill>
              </a:rPr>
            </a:br>
            <a:r>
              <a:rPr lang="en-US" altLang="en-US" sz="1400" dirty="0">
                <a:solidFill>
                  <a:srgbClr val="000000"/>
                </a:solidFill>
              </a:rPr>
              <a:t>Director – Acies </a:t>
            </a:r>
          </a:p>
          <a:p>
            <a:pPr algn="l"/>
            <a:r>
              <a:rPr lang="en-US" altLang="en-US" sz="1400" dirty="0">
                <a:solidFill>
                  <a:srgbClr val="000000"/>
                </a:solidFill>
              </a:rPr>
              <a:t>Member – AGBFI </a:t>
            </a:r>
          </a:p>
          <a:p>
            <a:pPr algn="l"/>
            <a:br>
              <a:rPr lang="en-US" altLang="en-US" sz="1800" b="1" dirty="0">
                <a:solidFill>
                  <a:srgbClr val="000000"/>
                </a:solidFill>
              </a:rPr>
            </a:br>
            <a:endParaRPr lang="es-ES" altLang="en-US" sz="1800" b="1" dirty="0">
              <a:solidFill>
                <a:srgbClr val="000000"/>
              </a:solidFill>
            </a:endParaRPr>
          </a:p>
        </p:txBody>
      </p:sp>
    </p:spTree>
    <p:extLst>
      <p:ext uri="{BB962C8B-B14F-4D97-AF65-F5344CB8AC3E}">
        <p14:creationId xmlns:p14="http://schemas.microsoft.com/office/powerpoint/2010/main" val="4247112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4100" y="88402"/>
            <a:ext cx="80057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Overview of the new banking business model</a:t>
            </a:r>
          </a:p>
        </p:txBody>
      </p:sp>
      <p:sp>
        <p:nvSpPr>
          <p:cNvPr id="87" name="Rectangle: Rounded Corners 86">
            <a:extLst>
              <a:ext uri="{FF2B5EF4-FFF2-40B4-BE49-F238E27FC236}">
                <a16:creationId xmlns:a16="http://schemas.microsoft.com/office/drawing/2014/main" id="{C1A8F2FB-C6EB-465F-B5BC-3F2E45137349}"/>
              </a:ext>
            </a:extLst>
          </p:cNvPr>
          <p:cNvSpPr/>
          <p:nvPr/>
        </p:nvSpPr>
        <p:spPr bwMode="gray">
          <a:xfrm>
            <a:off x="2362200" y="871040"/>
            <a:ext cx="8183664" cy="381000"/>
          </a:xfrm>
          <a:prstGeom prst="roundRect">
            <a:avLst/>
          </a:prstGeom>
          <a:solidFill>
            <a:srgbClr val="44546A"/>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Core </a:t>
            </a:r>
            <a:r>
              <a:rPr kumimoji="0" lang="en-US" sz="14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business model</a:t>
            </a:r>
            <a:endPar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8" name="Rectangle: Rounded Corners 87">
            <a:extLst>
              <a:ext uri="{FF2B5EF4-FFF2-40B4-BE49-F238E27FC236}">
                <a16:creationId xmlns:a16="http://schemas.microsoft.com/office/drawing/2014/main" id="{FBB4E47F-1B37-47DD-A844-D520E189D285}"/>
              </a:ext>
            </a:extLst>
          </p:cNvPr>
          <p:cNvSpPr/>
          <p:nvPr/>
        </p:nvSpPr>
        <p:spPr bwMode="gray">
          <a:xfrm>
            <a:off x="2356082" y="4016674"/>
            <a:ext cx="8183664" cy="381000"/>
          </a:xfrm>
          <a:prstGeom prst="roundRect">
            <a:avLst/>
          </a:prstGeom>
          <a:solidFill>
            <a:srgbClr val="44546A"/>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ther business models </a:t>
            </a:r>
          </a:p>
        </p:txBody>
      </p:sp>
      <p:pic>
        <p:nvPicPr>
          <p:cNvPr id="89" name="Graphic 88" descr="Mortgage with solid fill">
            <a:extLst>
              <a:ext uri="{FF2B5EF4-FFF2-40B4-BE49-F238E27FC236}">
                <a16:creationId xmlns:a16="http://schemas.microsoft.com/office/drawing/2014/main" id="{3429785C-A1D7-42DE-A966-B7400C1735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7763" y="1840111"/>
            <a:ext cx="1329290" cy="1329290"/>
          </a:xfrm>
          <a:prstGeom prst="rect">
            <a:avLst/>
          </a:prstGeom>
        </p:spPr>
      </p:pic>
      <p:sp>
        <p:nvSpPr>
          <p:cNvPr id="90" name="TextBox 89">
            <a:extLst>
              <a:ext uri="{FF2B5EF4-FFF2-40B4-BE49-F238E27FC236}">
                <a16:creationId xmlns:a16="http://schemas.microsoft.com/office/drawing/2014/main" id="{0F47427B-A059-436E-9620-59F7D7A3B8C6}"/>
              </a:ext>
            </a:extLst>
          </p:cNvPr>
          <p:cNvSpPr txBox="1"/>
          <p:nvPr/>
        </p:nvSpPr>
        <p:spPr>
          <a:xfrm>
            <a:off x="5870965" y="1638352"/>
            <a:ext cx="1143000" cy="307777"/>
          </a:xfrm>
          <a:prstGeom prst="rect">
            <a:avLst/>
          </a:prstGeom>
          <a:noFill/>
        </p:spPr>
        <p:txBody>
          <a:bodyPr wrap="square" rtlCol="0">
            <a:spAutoFit/>
          </a:bodyPr>
          <a:lstStyle/>
          <a:p>
            <a:pPr algn="ctr">
              <a:defRPr/>
            </a:pPr>
            <a:r>
              <a:rPr lang="en-IN" sz="1400" b="1" dirty="0">
                <a:solidFill>
                  <a:prstClr val="black"/>
                </a:solidFill>
                <a:latin typeface="Arial" panose="020B0604020202020204" pitchFamily="34" charset="0"/>
                <a:cs typeface="Arial" panose="020B0604020202020204" pitchFamily="34" charset="0"/>
              </a:rPr>
              <a:t>Bank</a:t>
            </a:r>
          </a:p>
        </p:txBody>
      </p:sp>
      <p:sp>
        <p:nvSpPr>
          <p:cNvPr id="91" name="Rectangle: Top Corners Snipped 90">
            <a:extLst>
              <a:ext uri="{FF2B5EF4-FFF2-40B4-BE49-F238E27FC236}">
                <a16:creationId xmlns:a16="http://schemas.microsoft.com/office/drawing/2014/main" id="{3B261B09-3B6D-40F3-A376-08897679B23B}"/>
              </a:ext>
            </a:extLst>
          </p:cNvPr>
          <p:cNvSpPr/>
          <p:nvPr/>
        </p:nvSpPr>
        <p:spPr bwMode="gray">
          <a:xfrm>
            <a:off x="2398322" y="1551884"/>
            <a:ext cx="1929678" cy="323808"/>
          </a:xfrm>
          <a:prstGeom prst="snip2SameRect">
            <a:avLst/>
          </a:prstGeom>
          <a:solidFill>
            <a:sysClr val="windowText" lastClr="00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Liabilities</a:t>
            </a:r>
          </a:p>
        </p:txBody>
      </p:sp>
      <p:sp>
        <p:nvSpPr>
          <p:cNvPr id="92" name="Rectangle 91">
            <a:extLst>
              <a:ext uri="{FF2B5EF4-FFF2-40B4-BE49-F238E27FC236}">
                <a16:creationId xmlns:a16="http://schemas.microsoft.com/office/drawing/2014/main" id="{CF99227E-F368-498A-8812-951779A78A15}"/>
              </a:ext>
            </a:extLst>
          </p:cNvPr>
          <p:cNvSpPr/>
          <p:nvPr/>
        </p:nvSpPr>
        <p:spPr bwMode="gray">
          <a:xfrm>
            <a:off x="2385070" y="2968463"/>
            <a:ext cx="1929678"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apital</a:t>
            </a:r>
          </a:p>
        </p:txBody>
      </p:sp>
      <p:sp>
        <p:nvSpPr>
          <p:cNvPr id="93" name="Rectangle 92">
            <a:extLst>
              <a:ext uri="{FF2B5EF4-FFF2-40B4-BE49-F238E27FC236}">
                <a16:creationId xmlns:a16="http://schemas.microsoft.com/office/drawing/2014/main" id="{5A95863E-1DB8-4FA4-92C8-5E99390E7CE1}"/>
              </a:ext>
            </a:extLst>
          </p:cNvPr>
          <p:cNvSpPr/>
          <p:nvPr/>
        </p:nvSpPr>
        <p:spPr bwMode="gray">
          <a:xfrm>
            <a:off x="2398322" y="2002293"/>
            <a:ext cx="1929678" cy="471208"/>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eposits</a:t>
            </a:r>
            <a:endPar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id="{E215E584-BBA0-4B50-8160-A58B1A1AD996}"/>
              </a:ext>
            </a:extLst>
          </p:cNvPr>
          <p:cNvSpPr/>
          <p:nvPr/>
        </p:nvSpPr>
        <p:spPr bwMode="gray">
          <a:xfrm>
            <a:off x="2385070" y="2565576"/>
            <a:ext cx="1929678"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Borrowings</a:t>
            </a:r>
            <a:endPar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5" name="Rectangle: Top Corners Snipped 94">
            <a:extLst>
              <a:ext uri="{FF2B5EF4-FFF2-40B4-BE49-F238E27FC236}">
                <a16:creationId xmlns:a16="http://schemas.microsoft.com/office/drawing/2014/main" id="{9A58BE4A-D9A3-459E-A09F-12942BB41667}"/>
              </a:ext>
            </a:extLst>
          </p:cNvPr>
          <p:cNvSpPr/>
          <p:nvPr/>
        </p:nvSpPr>
        <p:spPr bwMode="gray">
          <a:xfrm>
            <a:off x="8616186" y="1556839"/>
            <a:ext cx="1929678" cy="323808"/>
          </a:xfrm>
          <a:prstGeom prst="snip2SameRect">
            <a:avLst/>
          </a:prstGeom>
          <a:solidFill>
            <a:sysClr val="windowText" lastClr="00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Assets</a:t>
            </a:r>
            <a:endPar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DA9099CC-BC67-4487-9B01-F5CD8E9BB609}"/>
              </a:ext>
            </a:extLst>
          </p:cNvPr>
          <p:cNvSpPr/>
          <p:nvPr/>
        </p:nvSpPr>
        <p:spPr bwMode="gray">
          <a:xfrm>
            <a:off x="8596816" y="2951916"/>
            <a:ext cx="1929678"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ther assets</a:t>
            </a:r>
          </a:p>
        </p:txBody>
      </p:sp>
      <p:sp>
        <p:nvSpPr>
          <p:cNvPr id="97" name="Rectangle 96">
            <a:extLst>
              <a:ext uri="{FF2B5EF4-FFF2-40B4-BE49-F238E27FC236}">
                <a16:creationId xmlns:a16="http://schemas.microsoft.com/office/drawing/2014/main" id="{0D91D246-D141-42EB-B54F-0840F6D3D3AC}"/>
              </a:ext>
            </a:extLst>
          </p:cNvPr>
          <p:cNvSpPr/>
          <p:nvPr/>
        </p:nvSpPr>
        <p:spPr bwMode="gray">
          <a:xfrm>
            <a:off x="8610068" y="1985746"/>
            <a:ext cx="1929678" cy="471208"/>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ans &amp; advances</a:t>
            </a:r>
          </a:p>
        </p:txBody>
      </p:sp>
      <p:sp>
        <p:nvSpPr>
          <p:cNvPr id="98" name="Rectangle 97">
            <a:extLst>
              <a:ext uri="{FF2B5EF4-FFF2-40B4-BE49-F238E27FC236}">
                <a16:creationId xmlns:a16="http://schemas.microsoft.com/office/drawing/2014/main" id="{3F52E695-4B62-4E30-9A89-4C477B68B96F}"/>
              </a:ext>
            </a:extLst>
          </p:cNvPr>
          <p:cNvSpPr/>
          <p:nvPr/>
        </p:nvSpPr>
        <p:spPr bwMode="gray">
          <a:xfrm>
            <a:off x="8596816" y="2549029"/>
            <a:ext cx="1929678"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vestments</a:t>
            </a:r>
          </a:p>
        </p:txBody>
      </p:sp>
      <p:sp>
        <p:nvSpPr>
          <p:cNvPr id="99" name="TextBox 98">
            <a:extLst>
              <a:ext uri="{FF2B5EF4-FFF2-40B4-BE49-F238E27FC236}">
                <a16:creationId xmlns:a16="http://schemas.microsoft.com/office/drawing/2014/main" id="{CD1389DC-2EAB-4292-8F14-6601F531FB2F}"/>
              </a:ext>
            </a:extLst>
          </p:cNvPr>
          <p:cNvSpPr txBox="1"/>
          <p:nvPr/>
        </p:nvSpPr>
        <p:spPr>
          <a:xfrm>
            <a:off x="4384979" y="2107092"/>
            <a:ext cx="1646453" cy="261610"/>
          </a:xfrm>
          <a:prstGeom prst="rect">
            <a:avLst/>
          </a:prstGeom>
          <a:noFill/>
        </p:spPr>
        <p:txBody>
          <a:bodyPr wrap="square" rtlCol="0">
            <a:spAutoFit/>
          </a:bodyPr>
          <a:lstStyle/>
          <a:p>
            <a:pPr algn="ctr">
              <a:defRPr/>
            </a:pPr>
            <a:r>
              <a:rPr lang="en-IN" sz="1050" b="1" dirty="0">
                <a:solidFill>
                  <a:prstClr val="black"/>
                </a:solidFill>
                <a:latin typeface="Arial" panose="020B0604020202020204" pitchFamily="34" charset="0"/>
                <a:cs typeface="Arial" panose="020B0604020202020204" pitchFamily="34" charset="0"/>
              </a:rPr>
              <a:t>Funding</a:t>
            </a:r>
          </a:p>
        </p:txBody>
      </p:sp>
      <p:sp>
        <p:nvSpPr>
          <p:cNvPr id="100" name="Arrow: Right 99">
            <a:extLst>
              <a:ext uri="{FF2B5EF4-FFF2-40B4-BE49-F238E27FC236}">
                <a16:creationId xmlns:a16="http://schemas.microsoft.com/office/drawing/2014/main" id="{504F5F89-2831-4714-B10A-67AFD6B92ECD}"/>
              </a:ext>
            </a:extLst>
          </p:cNvPr>
          <p:cNvSpPr/>
          <p:nvPr/>
        </p:nvSpPr>
        <p:spPr>
          <a:xfrm>
            <a:off x="4761095" y="2391684"/>
            <a:ext cx="960483" cy="226145"/>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1" name="Arrow: Right 100">
            <a:extLst>
              <a:ext uri="{FF2B5EF4-FFF2-40B4-BE49-F238E27FC236}">
                <a16:creationId xmlns:a16="http://schemas.microsoft.com/office/drawing/2014/main" id="{BE812A37-9CC1-466E-9562-7BD62E5128DE}"/>
              </a:ext>
            </a:extLst>
          </p:cNvPr>
          <p:cNvSpPr/>
          <p:nvPr/>
        </p:nvSpPr>
        <p:spPr>
          <a:xfrm rot="10800000">
            <a:off x="4727963" y="2653648"/>
            <a:ext cx="960483" cy="226145"/>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7D2E37D4-88E8-4C5C-9B31-82A1194D2E1F}"/>
              </a:ext>
            </a:extLst>
          </p:cNvPr>
          <p:cNvSpPr txBox="1"/>
          <p:nvPr/>
        </p:nvSpPr>
        <p:spPr>
          <a:xfrm>
            <a:off x="4418109" y="2909518"/>
            <a:ext cx="1646453" cy="261610"/>
          </a:xfrm>
          <a:prstGeom prst="rect">
            <a:avLst/>
          </a:prstGeom>
          <a:noFill/>
        </p:spPr>
        <p:txBody>
          <a:bodyPr wrap="square" rtlCol="0">
            <a:spAutoFit/>
          </a:bodyPr>
          <a:lstStyle/>
          <a:p>
            <a:pPr algn="ctr">
              <a:defRPr/>
            </a:pPr>
            <a:r>
              <a:rPr lang="en-IN" sz="1050" b="1" dirty="0">
                <a:solidFill>
                  <a:prstClr val="black"/>
                </a:solidFill>
                <a:latin typeface="Arial" panose="020B0604020202020204" pitchFamily="34" charset="0"/>
                <a:cs typeface="Arial" panose="020B0604020202020204" pitchFamily="34" charset="0"/>
              </a:rPr>
              <a:t>Interest expense</a:t>
            </a:r>
          </a:p>
        </p:txBody>
      </p:sp>
      <p:sp>
        <p:nvSpPr>
          <p:cNvPr id="103" name="Arrow: Right 102">
            <a:extLst>
              <a:ext uri="{FF2B5EF4-FFF2-40B4-BE49-F238E27FC236}">
                <a16:creationId xmlns:a16="http://schemas.microsoft.com/office/drawing/2014/main" id="{F7685AF2-8A3E-4A3C-90CB-3CA2FDD8ADBE}"/>
              </a:ext>
            </a:extLst>
          </p:cNvPr>
          <p:cNvSpPr/>
          <p:nvPr/>
        </p:nvSpPr>
        <p:spPr>
          <a:xfrm>
            <a:off x="7256074" y="2391683"/>
            <a:ext cx="960483" cy="226145"/>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4" name="Arrow: Right 103">
            <a:extLst>
              <a:ext uri="{FF2B5EF4-FFF2-40B4-BE49-F238E27FC236}">
                <a16:creationId xmlns:a16="http://schemas.microsoft.com/office/drawing/2014/main" id="{42F67B06-6379-4819-9FB1-1976E44F1C73}"/>
              </a:ext>
            </a:extLst>
          </p:cNvPr>
          <p:cNvSpPr/>
          <p:nvPr/>
        </p:nvSpPr>
        <p:spPr>
          <a:xfrm rot="10800000">
            <a:off x="7236372" y="2661922"/>
            <a:ext cx="960483" cy="226145"/>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217BA448-11AC-49F0-BFE2-B698660932CB}"/>
              </a:ext>
            </a:extLst>
          </p:cNvPr>
          <p:cNvSpPr txBox="1"/>
          <p:nvPr/>
        </p:nvSpPr>
        <p:spPr>
          <a:xfrm>
            <a:off x="6855972" y="2120958"/>
            <a:ext cx="1646453" cy="261610"/>
          </a:xfrm>
          <a:prstGeom prst="rect">
            <a:avLst/>
          </a:prstGeom>
          <a:noFill/>
        </p:spPr>
        <p:txBody>
          <a:bodyPr wrap="square" rtlCol="0">
            <a:spAutoFit/>
          </a:bodyPr>
          <a:lstStyle/>
          <a:p>
            <a:pPr algn="ctr">
              <a:defRPr/>
            </a:pPr>
            <a:r>
              <a:rPr lang="en-IN" sz="1050" b="1" dirty="0">
                <a:solidFill>
                  <a:prstClr val="black"/>
                </a:solidFill>
                <a:latin typeface="Arial" panose="020B0604020202020204" pitchFamily="34" charset="0"/>
                <a:cs typeface="Arial" panose="020B0604020202020204" pitchFamily="34" charset="0"/>
              </a:rPr>
              <a:t>Lending</a:t>
            </a:r>
          </a:p>
        </p:txBody>
      </p:sp>
      <p:sp>
        <p:nvSpPr>
          <p:cNvPr id="106" name="TextBox 105">
            <a:extLst>
              <a:ext uri="{FF2B5EF4-FFF2-40B4-BE49-F238E27FC236}">
                <a16:creationId xmlns:a16="http://schemas.microsoft.com/office/drawing/2014/main" id="{A6B30FC3-48D1-4160-AB73-32E6617749ED}"/>
              </a:ext>
            </a:extLst>
          </p:cNvPr>
          <p:cNvSpPr txBox="1"/>
          <p:nvPr/>
        </p:nvSpPr>
        <p:spPr>
          <a:xfrm>
            <a:off x="6913088" y="2942246"/>
            <a:ext cx="1646453" cy="261610"/>
          </a:xfrm>
          <a:prstGeom prst="rect">
            <a:avLst/>
          </a:prstGeom>
          <a:noFill/>
        </p:spPr>
        <p:txBody>
          <a:bodyPr wrap="square" rtlCol="0">
            <a:spAutoFit/>
          </a:bodyPr>
          <a:lstStyle/>
          <a:p>
            <a:pPr algn="ctr">
              <a:defRPr/>
            </a:pPr>
            <a:r>
              <a:rPr lang="en-IN" sz="1050" b="1" dirty="0">
                <a:solidFill>
                  <a:prstClr val="black"/>
                </a:solidFill>
                <a:latin typeface="Arial" panose="020B0604020202020204" pitchFamily="34" charset="0"/>
                <a:cs typeface="Arial" panose="020B0604020202020204" pitchFamily="34" charset="0"/>
              </a:rPr>
              <a:t>Interest income</a:t>
            </a:r>
          </a:p>
        </p:txBody>
      </p:sp>
      <p:sp>
        <p:nvSpPr>
          <p:cNvPr id="107" name="TextBox 106">
            <a:extLst>
              <a:ext uri="{FF2B5EF4-FFF2-40B4-BE49-F238E27FC236}">
                <a16:creationId xmlns:a16="http://schemas.microsoft.com/office/drawing/2014/main" id="{3B466589-AD65-44C4-BC42-F1AF43865DC5}"/>
              </a:ext>
            </a:extLst>
          </p:cNvPr>
          <p:cNvSpPr txBox="1"/>
          <p:nvPr/>
        </p:nvSpPr>
        <p:spPr>
          <a:xfrm>
            <a:off x="5479649" y="3515250"/>
            <a:ext cx="2057400" cy="307777"/>
          </a:xfrm>
          <a:prstGeom prst="rect">
            <a:avLst/>
          </a:prstGeom>
          <a:noFill/>
        </p:spPr>
        <p:txBody>
          <a:bodyPr wrap="square" rtlCol="0">
            <a:spAutoFit/>
          </a:bodyPr>
          <a:lstStyle/>
          <a:p>
            <a:pPr algn="ctr">
              <a:defRPr/>
            </a:pPr>
            <a:r>
              <a:rPr lang="en-IN" sz="1400" b="1" dirty="0">
                <a:solidFill>
                  <a:srgbClr val="44546A"/>
                </a:solidFill>
                <a:latin typeface="Arial" panose="020B0604020202020204" pitchFamily="34" charset="0"/>
                <a:cs typeface="Arial" panose="020B0604020202020204" pitchFamily="34" charset="0"/>
              </a:rPr>
              <a:t>Net interest income</a:t>
            </a:r>
          </a:p>
        </p:txBody>
      </p:sp>
      <p:sp>
        <p:nvSpPr>
          <p:cNvPr id="108" name="Arrow: Right 107">
            <a:extLst>
              <a:ext uri="{FF2B5EF4-FFF2-40B4-BE49-F238E27FC236}">
                <a16:creationId xmlns:a16="http://schemas.microsoft.com/office/drawing/2014/main" id="{0560212D-8C40-4302-A037-36104061CFC2}"/>
              </a:ext>
            </a:extLst>
          </p:cNvPr>
          <p:cNvSpPr/>
          <p:nvPr/>
        </p:nvSpPr>
        <p:spPr>
          <a:xfrm rot="5400000">
            <a:off x="6282044" y="3190902"/>
            <a:ext cx="360726" cy="179353"/>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0" name="Rectangle: Top Corners Snipped 109">
            <a:extLst>
              <a:ext uri="{FF2B5EF4-FFF2-40B4-BE49-F238E27FC236}">
                <a16:creationId xmlns:a16="http://schemas.microsoft.com/office/drawing/2014/main" id="{4E9D6CC5-EBC0-4719-BA75-F35ED7111AD0}"/>
              </a:ext>
            </a:extLst>
          </p:cNvPr>
          <p:cNvSpPr/>
          <p:nvPr/>
        </p:nvSpPr>
        <p:spPr bwMode="gray">
          <a:xfrm>
            <a:off x="2347926" y="4591323"/>
            <a:ext cx="2528779" cy="323808"/>
          </a:xfrm>
          <a:prstGeom prst="snip2SameRect">
            <a:avLst/>
          </a:prstGeom>
          <a:solidFill>
            <a:sysClr val="windowText" lastClr="00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ading</a:t>
            </a:r>
          </a:p>
        </p:txBody>
      </p:sp>
      <p:sp>
        <p:nvSpPr>
          <p:cNvPr id="111" name="Rectangle: Top Corners Snipped 110">
            <a:extLst>
              <a:ext uri="{FF2B5EF4-FFF2-40B4-BE49-F238E27FC236}">
                <a16:creationId xmlns:a16="http://schemas.microsoft.com/office/drawing/2014/main" id="{35BFF57F-DF4B-4051-AF28-05DFF484A0E4}"/>
              </a:ext>
            </a:extLst>
          </p:cNvPr>
          <p:cNvSpPr/>
          <p:nvPr/>
        </p:nvSpPr>
        <p:spPr bwMode="gray">
          <a:xfrm>
            <a:off x="5118676" y="4590773"/>
            <a:ext cx="2528779" cy="323808"/>
          </a:xfrm>
          <a:prstGeom prst="snip2SameRect">
            <a:avLst/>
          </a:prstGeom>
          <a:solidFill>
            <a:sysClr val="windowText" lastClr="00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Investment banking</a:t>
            </a:r>
          </a:p>
        </p:txBody>
      </p:sp>
      <p:sp>
        <p:nvSpPr>
          <p:cNvPr id="112" name="Rectangle: Top Corners Snipped 111">
            <a:extLst>
              <a:ext uri="{FF2B5EF4-FFF2-40B4-BE49-F238E27FC236}">
                <a16:creationId xmlns:a16="http://schemas.microsoft.com/office/drawing/2014/main" id="{B6E2A6A2-FA82-4279-8C71-77E389433938}"/>
              </a:ext>
            </a:extLst>
          </p:cNvPr>
          <p:cNvSpPr/>
          <p:nvPr/>
        </p:nvSpPr>
        <p:spPr bwMode="gray">
          <a:xfrm>
            <a:off x="7889426" y="4597937"/>
            <a:ext cx="2515019" cy="323808"/>
          </a:xfrm>
          <a:prstGeom prst="snip2SameRect">
            <a:avLst/>
          </a:prstGeom>
          <a:solidFill>
            <a:sysClr val="windowText" lastClr="000000"/>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ther services</a:t>
            </a:r>
          </a:p>
        </p:txBody>
      </p:sp>
      <p:sp>
        <p:nvSpPr>
          <p:cNvPr id="113" name="Arrow: Right 112">
            <a:extLst>
              <a:ext uri="{FF2B5EF4-FFF2-40B4-BE49-F238E27FC236}">
                <a16:creationId xmlns:a16="http://schemas.microsoft.com/office/drawing/2014/main" id="{CD338C18-FEF4-450A-86F2-B0670EFEAB90}"/>
              </a:ext>
            </a:extLst>
          </p:cNvPr>
          <p:cNvSpPr/>
          <p:nvPr/>
        </p:nvSpPr>
        <p:spPr>
          <a:xfrm rot="5400000">
            <a:off x="3485062" y="6128515"/>
            <a:ext cx="360726" cy="235036"/>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4" name="TextBox 113">
            <a:extLst>
              <a:ext uri="{FF2B5EF4-FFF2-40B4-BE49-F238E27FC236}">
                <a16:creationId xmlns:a16="http://schemas.microsoft.com/office/drawing/2014/main" id="{53F94D77-C6DC-4B05-85EF-B07AD773E1FB}"/>
              </a:ext>
            </a:extLst>
          </p:cNvPr>
          <p:cNvSpPr txBox="1"/>
          <p:nvPr/>
        </p:nvSpPr>
        <p:spPr>
          <a:xfrm>
            <a:off x="2317349" y="6416147"/>
            <a:ext cx="26961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P/L from Trading </a:t>
            </a:r>
          </a:p>
        </p:txBody>
      </p:sp>
      <p:sp>
        <p:nvSpPr>
          <p:cNvPr id="115" name="Rectangle 114">
            <a:extLst>
              <a:ext uri="{FF2B5EF4-FFF2-40B4-BE49-F238E27FC236}">
                <a16:creationId xmlns:a16="http://schemas.microsoft.com/office/drawing/2014/main" id="{ABDC57BC-98DD-467B-81E5-E3CD0679444F}"/>
              </a:ext>
            </a:extLst>
          </p:cNvPr>
          <p:cNvSpPr/>
          <p:nvPr/>
        </p:nvSpPr>
        <p:spPr bwMode="gray">
          <a:xfrm>
            <a:off x="2347740" y="5013672"/>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quity &amp; Fixed Income</a:t>
            </a:r>
          </a:p>
        </p:txBody>
      </p:sp>
      <p:sp>
        <p:nvSpPr>
          <p:cNvPr id="116" name="Rectangle 115">
            <a:extLst>
              <a:ext uri="{FF2B5EF4-FFF2-40B4-BE49-F238E27FC236}">
                <a16:creationId xmlns:a16="http://schemas.microsoft.com/office/drawing/2014/main" id="{8F3FFFE4-E0FB-4A8D-B1F2-C95121490153}"/>
              </a:ext>
            </a:extLst>
          </p:cNvPr>
          <p:cNvSpPr/>
          <p:nvPr/>
        </p:nvSpPr>
        <p:spPr bwMode="gray">
          <a:xfrm>
            <a:off x="2330374" y="538262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X &amp; Commodities</a:t>
            </a:r>
          </a:p>
        </p:txBody>
      </p:sp>
      <p:sp>
        <p:nvSpPr>
          <p:cNvPr id="117" name="Rectangle 116">
            <a:extLst>
              <a:ext uri="{FF2B5EF4-FFF2-40B4-BE49-F238E27FC236}">
                <a16:creationId xmlns:a16="http://schemas.microsoft.com/office/drawing/2014/main" id="{A4D7243A-828F-4558-9317-AA13CA2463AC}"/>
              </a:ext>
            </a:extLst>
          </p:cNvPr>
          <p:cNvSpPr/>
          <p:nvPr/>
        </p:nvSpPr>
        <p:spPr bwMode="gray">
          <a:xfrm>
            <a:off x="2347740" y="575728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rivatives</a:t>
            </a:r>
          </a:p>
        </p:txBody>
      </p:sp>
      <p:sp>
        <p:nvSpPr>
          <p:cNvPr id="118" name="Arrow: Right 117">
            <a:extLst>
              <a:ext uri="{FF2B5EF4-FFF2-40B4-BE49-F238E27FC236}">
                <a16:creationId xmlns:a16="http://schemas.microsoft.com/office/drawing/2014/main" id="{05FFB165-EF81-4579-97A7-4D3D16B5C3F6}"/>
              </a:ext>
            </a:extLst>
          </p:cNvPr>
          <p:cNvSpPr/>
          <p:nvPr/>
        </p:nvSpPr>
        <p:spPr>
          <a:xfrm rot="5400000">
            <a:off x="6232274" y="6163575"/>
            <a:ext cx="360726" cy="235036"/>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33F274E7-53F1-4DA4-B5C9-14399AD9B0E7}"/>
              </a:ext>
            </a:extLst>
          </p:cNvPr>
          <p:cNvSpPr txBox="1"/>
          <p:nvPr/>
        </p:nvSpPr>
        <p:spPr>
          <a:xfrm>
            <a:off x="5064561" y="6451207"/>
            <a:ext cx="26961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Advisory fee</a:t>
            </a:r>
          </a:p>
        </p:txBody>
      </p:sp>
      <p:sp>
        <p:nvSpPr>
          <p:cNvPr id="120" name="Rectangle 119">
            <a:extLst>
              <a:ext uri="{FF2B5EF4-FFF2-40B4-BE49-F238E27FC236}">
                <a16:creationId xmlns:a16="http://schemas.microsoft.com/office/drawing/2014/main" id="{98639536-99AA-459D-BF86-34EB9AF0BF56}"/>
              </a:ext>
            </a:extLst>
          </p:cNvPr>
          <p:cNvSpPr/>
          <p:nvPr/>
        </p:nvSpPr>
        <p:spPr bwMode="gray">
          <a:xfrm>
            <a:off x="5094952" y="5048732"/>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nderwriting</a:t>
            </a:r>
          </a:p>
        </p:txBody>
      </p:sp>
      <p:sp>
        <p:nvSpPr>
          <p:cNvPr id="121" name="Rectangle 120">
            <a:extLst>
              <a:ext uri="{FF2B5EF4-FFF2-40B4-BE49-F238E27FC236}">
                <a16:creationId xmlns:a16="http://schemas.microsoft.com/office/drawing/2014/main" id="{DA12F555-EBAB-488A-BA7D-A2093ED7C368}"/>
              </a:ext>
            </a:extLst>
          </p:cNvPr>
          <p:cNvSpPr/>
          <p:nvPr/>
        </p:nvSpPr>
        <p:spPr bwMode="gray">
          <a:xfrm>
            <a:off x="5077586" y="541768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amp;A</a:t>
            </a:r>
          </a:p>
        </p:txBody>
      </p:sp>
      <p:sp>
        <p:nvSpPr>
          <p:cNvPr id="122" name="Rectangle 121">
            <a:extLst>
              <a:ext uri="{FF2B5EF4-FFF2-40B4-BE49-F238E27FC236}">
                <a16:creationId xmlns:a16="http://schemas.microsoft.com/office/drawing/2014/main" id="{CD2ECBD5-FD7A-4DCC-9D41-9A98B0BBE46A}"/>
              </a:ext>
            </a:extLst>
          </p:cNvPr>
          <p:cNvSpPr/>
          <p:nvPr/>
        </p:nvSpPr>
        <p:spPr bwMode="gray">
          <a:xfrm>
            <a:off x="5094952" y="579234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dvisory</a:t>
            </a:r>
          </a:p>
        </p:txBody>
      </p:sp>
      <p:sp>
        <p:nvSpPr>
          <p:cNvPr id="123" name="Arrow: Right 122">
            <a:extLst>
              <a:ext uri="{FF2B5EF4-FFF2-40B4-BE49-F238E27FC236}">
                <a16:creationId xmlns:a16="http://schemas.microsoft.com/office/drawing/2014/main" id="{8B6409E9-6B69-4253-AE73-BE76029A27E8}"/>
              </a:ext>
            </a:extLst>
          </p:cNvPr>
          <p:cNvSpPr/>
          <p:nvPr/>
        </p:nvSpPr>
        <p:spPr>
          <a:xfrm rot="5400000">
            <a:off x="9030354" y="6163575"/>
            <a:ext cx="360726" cy="235036"/>
          </a:xfrm>
          <a:prstGeom prst="right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448D0C69-2886-4567-8C50-0EA91EBDBEAC}"/>
              </a:ext>
            </a:extLst>
          </p:cNvPr>
          <p:cNvSpPr txBox="1"/>
          <p:nvPr/>
        </p:nvSpPr>
        <p:spPr>
          <a:xfrm>
            <a:off x="7862641" y="6451207"/>
            <a:ext cx="2696154"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400" b="1" i="0" u="none" strike="noStrike" kern="0" cap="none" spc="0" normalizeH="0" baseline="0" noProof="0" dirty="0">
                <a:ln>
                  <a:noFill/>
                </a:ln>
                <a:solidFill>
                  <a:srgbClr val="44546A"/>
                </a:solidFill>
                <a:effectLst/>
                <a:uLnTx/>
                <a:uFillTx/>
                <a:latin typeface="Arial" panose="020B0604020202020204" pitchFamily="34" charset="0"/>
                <a:cs typeface="Arial" panose="020B0604020202020204" pitchFamily="34" charset="0"/>
              </a:rPr>
              <a:t>Fee income</a:t>
            </a:r>
          </a:p>
        </p:txBody>
      </p:sp>
      <p:sp>
        <p:nvSpPr>
          <p:cNvPr id="125" name="Rectangle 124">
            <a:extLst>
              <a:ext uri="{FF2B5EF4-FFF2-40B4-BE49-F238E27FC236}">
                <a16:creationId xmlns:a16="http://schemas.microsoft.com/office/drawing/2014/main" id="{92C536D7-A5A8-45AF-8055-0CC6F450090C}"/>
              </a:ext>
            </a:extLst>
          </p:cNvPr>
          <p:cNvSpPr/>
          <p:nvPr/>
        </p:nvSpPr>
        <p:spPr bwMode="gray">
          <a:xfrm>
            <a:off x="7893032" y="5048732"/>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nsaction banking</a:t>
            </a:r>
          </a:p>
        </p:txBody>
      </p:sp>
      <p:sp>
        <p:nvSpPr>
          <p:cNvPr id="126" name="Rectangle 125">
            <a:extLst>
              <a:ext uri="{FF2B5EF4-FFF2-40B4-BE49-F238E27FC236}">
                <a16:creationId xmlns:a16="http://schemas.microsoft.com/office/drawing/2014/main" id="{A6524B88-C4F7-491A-832A-B3A2B5BFF42D}"/>
              </a:ext>
            </a:extLst>
          </p:cNvPr>
          <p:cNvSpPr/>
          <p:nvPr/>
        </p:nvSpPr>
        <p:spPr bwMode="gray">
          <a:xfrm>
            <a:off x="7875666" y="541768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ealth management</a:t>
            </a:r>
          </a:p>
        </p:txBody>
      </p:sp>
      <p:sp>
        <p:nvSpPr>
          <p:cNvPr id="127" name="Rectangle 126">
            <a:extLst>
              <a:ext uri="{FF2B5EF4-FFF2-40B4-BE49-F238E27FC236}">
                <a16:creationId xmlns:a16="http://schemas.microsoft.com/office/drawing/2014/main" id="{9A383336-DAF3-4356-BC47-D508D39DE957}"/>
              </a:ext>
            </a:extLst>
          </p:cNvPr>
          <p:cNvSpPr/>
          <p:nvPr/>
        </p:nvSpPr>
        <p:spPr bwMode="gray">
          <a:xfrm>
            <a:off x="7893032" y="5792341"/>
            <a:ext cx="2528779" cy="297013"/>
          </a:xfrm>
          <a:prstGeom prst="rect">
            <a:avLst/>
          </a:prstGeom>
          <a:solidFill>
            <a:sysClr val="window" lastClr="FFFFFF">
              <a:lumMod val="85000"/>
            </a:sysClr>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20000"/>
              </a:lnSpc>
              <a:spcBef>
                <a:spcPts val="200"/>
              </a:spcBef>
              <a:spcAft>
                <a:spcPts val="20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ther services</a:t>
            </a:r>
          </a:p>
        </p:txBody>
      </p:sp>
    </p:spTree>
    <p:extLst>
      <p:ext uri="{BB962C8B-B14F-4D97-AF65-F5344CB8AC3E}">
        <p14:creationId xmlns:p14="http://schemas.microsoft.com/office/powerpoint/2010/main" val="1691604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AEFD6C59-8D18-475D-AFC4-A0ED5A9A7CE1}"/>
              </a:ext>
            </a:extLst>
          </p:cNvPr>
          <p:cNvSpPr/>
          <p:nvPr/>
        </p:nvSpPr>
        <p:spPr bwMode="auto">
          <a:xfrm>
            <a:off x="8446076" y="4384954"/>
            <a:ext cx="1897758" cy="768386"/>
          </a:xfrm>
          <a:prstGeom prst="rect">
            <a:avLst/>
          </a:prstGeom>
          <a:solidFill>
            <a:schemeClr val="bg1"/>
          </a:solidFill>
          <a:ln w="19050"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a:ln>
                <a:noFill/>
              </a:ln>
              <a:solidFill>
                <a:schemeClr val="tx1"/>
              </a:solidFill>
              <a:effectLst/>
              <a:latin typeface="Arial" pitchFamily="34" charset="0"/>
            </a:endParaRPr>
          </a:p>
        </p:txBody>
      </p:sp>
      <p:sp>
        <p:nvSpPr>
          <p:cNvPr id="6" name="Rectangle 5">
            <a:extLst>
              <a:ext uri="{FF2B5EF4-FFF2-40B4-BE49-F238E27FC236}">
                <a16:creationId xmlns:a16="http://schemas.microsoft.com/office/drawing/2014/main" id="{29B0503B-0F46-4096-ACB5-5229E680DBAE}"/>
              </a:ext>
            </a:extLst>
          </p:cNvPr>
          <p:cNvSpPr/>
          <p:nvPr/>
        </p:nvSpPr>
        <p:spPr bwMode="auto">
          <a:xfrm>
            <a:off x="2333661" y="3434891"/>
            <a:ext cx="1897758" cy="299174"/>
          </a:xfrm>
          <a:prstGeom prst="rect">
            <a:avLst/>
          </a:prstGeom>
          <a:solidFill>
            <a:schemeClr val="bg1"/>
          </a:solidFill>
          <a:ln w="19050"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IN" sz="2400" b="0" i="0" u="none" strike="noStrike" cap="none" normalizeH="0" baseline="0">
              <a:ln>
                <a:noFill/>
              </a:ln>
              <a:solidFill>
                <a:schemeClr val="tx1"/>
              </a:solidFill>
              <a:effectLst/>
              <a:latin typeface="Arial"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4100" y="88402"/>
            <a:ext cx="71675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Key risks faced by banks today*</a:t>
            </a:r>
          </a:p>
          <a:p>
            <a:pPr algn="l"/>
            <a:endParaRPr lang="en-US" altLang="en-US" sz="2800" b="1" dirty="0">
              <a:solidFill>
                <a:srgbClr val="C00000"/>
              </a:solidFill>
              <a:latin typeface="Arial"/>
              <a:cs typeface="Arial"/>
            </a:endParaRPr>
          </a:p>
        </p:txBody>
      </p:sp>
      <p:grpSp>
        <p:nvGrpSpPr>
          <p:cNvPr id="4" name="Group 3">
            <a:extLst>
              <a:ext uri="{FF2B5EF4-FFF2-40B4-BE49-F238E27FC236}">
                <a16:creationId xmlns:a16="http://schemas.microsoft.com/office/drawing/2014/main" id="{EA00DBC6-6C4A-4CEC-88FF-62C5530F1D29}"/>
              </a:ext>
            </a:extLst>
          </p:cNvPr>
          <p:cNvGrpSpPr/>
          <p:nvPr/>
        </p:nvGrpSpPr>
        <p:grpSpPr>
          <a:xfrm>
            <a:off x="1676400" y="1093347"/>
            <a:ext cx="8991600" cy="5931110"/>
            <a:chOff x="2133600" y="1447800"/>
            <a:chExt cx="8516751" cy="5931110"/>
          </a:xfrm>
        </p:grpSpPr>
        <p:pic>
          <p:nvPicPr>
            <p:cNvPr id="141" name="Graphic 140" descr="Database">
              <a:extLst>
                <a:ext uri="{FF2B5EF4-FFF2-40B4-BE49-F238E27FC236}">
                  <a16:creationId xmlns:a16="http://schemas.microsoft.com/office/drawing/2014/main" id="{92A0FE55-5271-4EE5-B4FF-AAAFD24CD80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22731" y="2849537"/>
              <a:ext cx="649747" cy="643062"/>
            </a:xfrm>
            <a:prstGeom prst="rect">
              <a:avLst/>
            </a:prstGeom>
          </p:spPr>
        </p:pic>
        <p:pic>
          <p:nvPicPr>
            <p:cNvPr id="142" name="Graphic 141" descr="Calculator">
              <a:extLst>
                <a:ext uri="{FF2B5EF4-FFF2-40B4-BE49-F238E27FC236}">
                  <a16:creationId xmlns:a16="http://schemas.microsoft.com/office/drawing/2014/main" id="{CA2A255F-69EC-4504-A574-BF4D4A55682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25259" y="4131584"/>
              <a:ext cx="632726" cy="626216"/>
            </a:xfrm>
            <a:prstGeom prst="rect">
              <a:avLst/>
            </a:prstGeom>
          </p:spPr>
        </p:pic>
        <p:pic>
          <p:nvPicPr>
            <p:cNvPr id="143" name="Graphic 142" descr="Target">
              <a:extLst>
                <a:ext uri="{FF2B5EF4-FFF2-40B4-BE49-F238E27FC236}">
                  <a16:creationId xmlns:a16="http://schemas.microsoft.com/office/drawing/2014/main" id="{FF39D725-344F-45F2-A1FE-D7106E640D8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756329" y="5217667"/>
              <a:ext cx="732587" cy="725050"/>
            </a:xfrm>
            <a:prstGeom prst="rect">
              <a:avLst/>
            </a:prstGeom>
          </p:spPr>
        </p:pic>
        <p:grpSp>
          <p:nvGrpSpPr>
            <p:cNvPr id="145" name="Group 144">
              <a:extLst>
                <a:ext uri="{FF2B5EF4-FFF2-40B4-BE49-F238E27FC236}">
                  <a16:creationId xmlns:a16="http://schemas.microsoft.com/office/drawing/2014/main" id="{EE06DCDD-072E-43C4-BBF3-05465B1742E0}"/>
                </a:ext>
              </a:extLst>
            </p:cNvPr>
            <p:cNvGrpSpPr/>
            <p:nvPr/>
          </p:nvGrpSpPr>
          <p:grpSpPr>
            <a:xfrm>
              <a:off x="2133600" y="1447800"/>
              <a:ext cx="8516751" cy="5931110"/>
              <a:chOff x="36013" y="1077223"/>
              <a:chExt cx="8755430" cy="6459065"/>
            </a:xfrm>
          </p:grpSpPr>
          <p:sp>
            <p:nvSpPr>
              <p:cNvPr id="163" name="Oval 162">
                <a:extLst>
                  <a:ext uri="{FF2B5EF4-FFF2-40B4-BE49-F238E27FC236}">
                    <a16:creationId xmlns:a16="http://schemas.microsoft.com/office/drawing/2014/main" id="{BCDAC941-29C9-4A7A-B4F3-E21EF01B6555}"/>
                  </a:ext>
                </a:extLst>
              </p:cNvPr>
              <p:cNvSpPr/>
              <p:nvPr/>
            </p:nvSpPr>
            <p:spPr>
              <a:xfrm>
                <a:off x="7768223" y="1077223"/>
                <a:ext cx="247073"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1000" b="1" kern="0" dirty="0">
                    <a:solidFill>
                      <a:prstClr val="white"/>
                    </a:solidFill>
                    <a:latin typeface="Arial" panose="020B0604020202020204" pitchFamily="34" charset="0"/>
                    <a:cs typeface="Arial" panose="020B0604020202020204" pitchFamily="34" charset="0"/>
                  </a:rPr>
                  <a:t>6</a:t>
                </a:r>
              </a:p>
            </p:txBody>
          </p:sp>
          <p:sp>
            <p:nvSpPr>
              <p:cNvPr id="164" name="Freeform 12">
                <a:extLst>
                  <a:ext uri="{FF2B5EF4-FFF2-40B4-BE49-F238E27FC236}">
                    <a16:creationId xmlns:a16="http://schemas.microsoft.com/office/drawing/2014/main" id="{73A4AA55-EDB5-4200-A4FA-A6CA12392BDD}"/>
                  </a:ext>
                </a:extLst>
              </p:cNvPr>
              <p:cNvSpPr/>
              <p:nvPr/>
            </p:nvSpPr>
            <p:spPr bwMode="gray">
              <a:xfrm flipV="1">
                <a:off x="4665884" y="1321041"/>
                <a:ext cx="2984858" cy="1235935"/>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ysClr val="windowText" lastClr="000000"/>
                </a:solidFill>
                <a:miter lim="800000"/>
                <a:headEnd/>
                <a:tailEnd/>
              </a:ln>
            </p:spPr>
            <p:txBody>
              <a:bodyPr rtlCol="0" anchor="ctr"/>
              <a:lstStyle/>
              <a:p>
                <a:pPr defTabSz="390952">
                  <a:defRPr/>
                </a:pPr>
                <a:endParaRPr lang="en-US" sz="900" kern="0" dirty="0">
                  <a:solidFill>
                    <a:srgbClr val="C19859"/>
                  </a:solidFill>
                  <a:latin typeface="Arial" panose="020B0604020202020204" pitchFamily="34" charset="0"/>
                  <a:cs typeface="Arial" panose="020B0604020202020204" pitchFamily="34" charset="0"/>
                </a:endParaRPr>
              </a:p>
            </p:txBody>
          </p:sp>
          <p:sp>
            <p:nvSpPr>
              <p:cNvPr id="165" name="Rectangle 164">
                <a:extLst>
                  <a:ext uri="{FF2B5EF4-FFF2-40B4-BE49-F238E27FC236}">
                    <a16:creationId xmlns:a16="http://schemas.microsoft.com/office/drawing/2014/main" id="{9781A130-DCFE-41E5-AC14-A51AD0E4447E}"/>
                  </a:ext>
                </a:extLst>
              </p:cNvPr>
              <p:cNvSpPr/>
              <p:nvPr/>
            </p:nvSpPr>
            <p:spPr>
              <a:xfrm>
                <a:off x="6337630" y="4280948"/>
                <a:ext cx="2085583"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Liquidity risk</a:t>
                </a:r>
              </a:p>
            </p:txBody>
          </p:sp>
          <p:sp>
            <p:nvSpPr>
              <p:cNvPr id="166" name="Rectangle 165">
                <a:extLst>
                  <a:ext uri="{FF2B5EF4-FFF2-40B4-BE49-F238E27FC236}">
                    <a16:creationId xmlns:a16="http://schemas.microsoft.com/office/drawing/2014/main" id="{17761EBB-D5FC-4BE9-846A-6C976F9992EB}"/>
                  </a:ext>
                </a:extLst>
              </p:cNvPr>
              <p:cNvSpPr/>
              <p:nvPr/>
            </p:nvSpPr>
            <p:spPr>
              <a:xfrm>
                <a:off x="6695938" y="4666034"/>
                <a:ext cx="2095505" cy="1650239"/>
              </a:xfrm>
              <a:prstGeom prst="rect">
                <a:avLst/>
              </a:prstGeom>
              <a:noFill/>
              <a:ln w="6350">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ashflow gap risk</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Prepayment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Early redemption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ontingency planning risk</a:t>
                </a:r>
              </a:p>
              <a:p>
                <a:pPr marL="46154" algn="just" defTabSz="390952">
                  <a:lnSpc>
                    <a:spcPct val="120000"/>
                  </a:lnSpc>
                  <a:spcBef>
                    <a:spcPts val="171"/>
                  </a:spcBef>
                  <a:spcAft>
                    <a:spcPts val="171"/>
                  </a:spcAft>
                  <a:defRPr/>
                </a:pPr>
                <a:endParaRPr lang="en-US" sz="1200" kern="0" dirty="0">
                  <a:solidFill>
                    <a:prstClr val="black"/>
                  </a:solidFill>
                  <a:latin typeface="Arial" panose="020B0604020202020204" pitchFamily="34" charset="0"/>
                  <a:cs typeface="Arial" panose="020B0604020202020204" pitchFamily="34" charset="0"/>
                </a:endParaRP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67" name="Freeform 19">
                <a:extLst>
                  <a:ext uri="{FF2B5EF4-FFF2-40B4-BE49-F238E27FC236}">
                    <a16:creationId xmlns:a16="http://schemas.microsoft.com/office/drawing/2014/main" id="{25EA8D36-293D-4663-BB5B-82ECC11EF7F8}"/>
                  </a:ext>
                </a:extLst>
              </p:cNvPr>
              <p:cNvSpPr/>
              <p:nvPr/>
            </p:nvSpPr>
            <p:spPr bwMode="gray">
              <a:xfrm flipH="1">
                <a:off x="5580561" y="3969445"/>
                <a:ext cx="2742899" cy="593912"/>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algn="ctr" defTabSz="390952">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68" name="Freeform 20">
                <a:extLst>
                  <a:ext uri="{FF2B5EF4-FFF2-40B4-BE49-F238E27FC236}">
                    <a16:creationId xmlns:a16="http://schemas.microsoft.com/office/drawing/2014/main" id="{5EA4B639-708F-4297-ADA0-1B5E46F85AE9}"/>
                  </a:ext>
                </a:extLst>
              </p:cNvPr>
              <p:cNvSpPr/>
              <p:nvPr/>
            </p:nvSpPr>
            <p:spPr bwMode="gray">
              <a:xfrm flipV="1">
                <a:off x="809881" y="3536753"/>
                <a:ext cx="2467258" cy="407751"/>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algn="ctr" defTabSz="390952">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69" name="Rectangle 168">
                <a:extLst>
                  <a:ext uri="{FF2B5EF4-FFF2-40B4-BE49-F238E27FC236}">
                    <a16:creationId xmlns:a16="http://schemas.microsoft.com/office/drawing/2014/main" id="{0FFCE5C3-76B9-491D-8749-F28E217AD700}"/>
                  </a:ext>
                </a:extLst>
              </p:cNvPr>
              <p:cNvSpPr/>
              <p:nvPr/>
            </p:nvSpPr>
            <p:spPr>
              <a:xfrm>
                <a:off x="530549" y="3287233"/>
                <a:ext cx="1840351"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Market Risk</a:t>
                </a:r>
              </a:p>
            </p:txBody>
          </p:sp>
          <p:sp>
            <p:nvSpPr>
              <p:cNvPr id="170" name="Rectangle 169">
                <a:extLst>
                  <a:ext uri="{FF2B5EF4-FFF2-40B4-BE49-F238E27FC236}">
                    <a16:creationId xmlns:a16="http://schemas.microsoft.com/office/drawing/2014/main" id="{5BF48E65-18FA-4FDB-8B96-6F7DA64AC15E}"/>
                  </a:ext>
                </a:extLst>
              </p:cNvPr>
              <p:cNvSpPr/>
              <p:nvPr/>
            </p:nvSpPr>
            <p:spPr>
              <a:xfrm>
                <a:off x="783152" y="3670867"/>
                <a:ext cx="1895513" cy="1407937"/>
              </a:xfrm>
              <a:prstGeom prst="rect">
                <a:avLst/>
              </a:prstGeom>
              <a:noFill/>
              <a:ln w="6350">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latin typeface="Arial" panose="020B0604020202020204" pitchFamily="34" charset="0"/>
                    <a:cs typeface="Arial" panose="020B0604020202020204" pitchFamily="34" charset="0"/>
                  </a:rPr>
                  <a:t>Interest rate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Equity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FX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ommodity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Other market risks </a:t>
                </a:r>
              </a:p>
            </p:txBody>
          </p:sp>
          <p:sp>
            <p:nvSpPr>
              <p:cNvPr id="171" name="Rectangle 170">
                <a:extLst>
                  <a:ext uri="{FF2B5EF4-FFF2-40B4-BE49-F238E27FC236}">
                    <a16:creationId xmlns:a16="http://schemas.microsoft.com/office/drawing/2014/main" id="{CB5A2B76-9696-4AE1-BD39-330ADDA934D4}"/>
                  </a:ext>
                </a:extLst>
              </p:cNvPr>
              <p:cNvSpPr/>
              <p:nvPr/>
            </p:nvSpPr>
            <p:spPr>
              <a:xfrm>
                <a:off x="3170031" y="5412337"/>
                <a:ext cx="2386625" cy="2123951"/>
              </a:xfrm>
              <a:prstGeom prst="rect">
                <a:avLst/>
              </a:prstGeom>
              <a:noFill/>
              <a:ln w="6350">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Fraud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Legal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System failure</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Reputational risk</a:t>
                </a: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72" name="Freeform 24">
                <a:extLst>
                  <a:ext uri="{FF2B5EF4-FFF2-40B4-BE49-F238E27FC236}">
                    <a16:creationId xmlns:a16="http://schemas.microsoft.com/office/drawing/2014/main" id="{EF8C984E-D395-475C-91CE-910A3B337A0C}"/>
                  </a:ext>
                </a:extLst>
              </p:cNvPr>
              <p:cNvSpPr/>
              <p:nvPr/>
            </p:nvSpPr>
            <p:spPr bwMode="gray">
              <a:xfrm flipV="1">
                <a:off x="857618" y="1460253"/>
                <a:ext cx="3118250" cy="1377888"/>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algn="ctr" defTabSz="390952">
                  <a:defRPr/>
                </a:pPr>
                <a:endParaRPr lang="en-US" sz="900" kern="0" dirty="0">
                  <a:solidFill>
                    <a:srgbClr val="C19859"/>
                  </a:solidFill>
                  <a:latin typeface="Arial" panose="020B0604020202020204" pitchFamily="34" charset="0"/>
                  <a:cs typeface="Arial" panose="020B0604020202020204" pitchFamily="34" charset="0"/>
                </a:endParaRPr>
              </a:p>
            </p:txBody>
          </p:sp>
          <p:sp>
            <p:nvSpPr>
              <p:cNvPr id="173" name="Rectangle 172">
                <a:extLst>
                  <a:ext uri="{FF2B5EF4-FFF2-40B4-BE49-F238E27FC236}">
                    <a16:creationId xmlns:a16="http://schemas.microsoft.com/office/drawing/2014/main" id="{1DECB29C-4127-4DBA-98F9-083CC664B586}"/>
                  </a:ext>
                </a:extLst>
              </p:cNvPr>
              <p:cNvSpPr/>
              <p:nvPr/>
            </p:nvSpPr>
            <p:spPr>
              <a:xfrm>
                <a:off x="36013" y="1213864"/>
                <a:ext cx="2681958"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Credit Risk </a:t>
                </a:r>
                <a:endParaRPr lang="en-US" sz="1200" kern="0" dirty="0">
                  <a:solidFill>
                    <a:prstClr val="black"/>
                  </a:solidFill>
                  <a:latin typeface="Arial" panose="020B0604020202020204" pitchFamily="34" charset="0"/>
                  <a:cs typeface="Arial" panose="020B0604020202020204" pitchFamily="34" charset="0"/>
                </a:endParaRPr>
              </a:p>
            </p:txBody>
          </p:sp>
          <p:sp>
            <p:nvSpPr>
              <p:cNvPr id="174" name="Rectangle 173">
                <a:extLst>
                  <a:ext uri="{FF2B5EF4-FFF2-40B4-BE49-F238E27FC236}">
                    <a16:creationId xmlns:a16="http://schemas.microsoft.com/office/drawing/2014/main" id="{4A95D35A-4770-4698-A1E5-CA16F790DDFC}"/>
                  </a:ext>
                </a:extLst>
              </p:cNvPr>
              <p:cNvSpPr/>
              <p:nvPr/>
            </p:nvSpPr>
            <p:spPr>
              <a:xfrm>
                <a:off x="783453" y="1595741"/>
                <a:ext cx="2734088" cy="1110750"/>
              </a:xfrm>
              <a:prstGeom prst="rect">
                <a:avLst/>
              </a:prstGeom>
              <a:noFill/>
              <a:ln w="6350">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redit scoring and underwriting</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Expected credit loss (PD, LGD, EAD)</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oncentration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ounterparty credit risk </a:t>
                </a:r>
              </a:p>
            </p:txBody>
          </p:sp>
          <p:sp>
            <p:nvSpPr>
              <p:cNvPr id="175" name="Freeform 27">
                <a:extLst>
                  <a:ext uri="{FF2B5EF4-FFF2-40B4-BE49-F238E27FC236}">
                    <a16:creationId xmlns:a16="http://schemas.microsoft.com/office/drawing/2014/main" id="{606FB281-E223-4D4D-88B3-DC5CDA0A9486}"/>
                  </a:ext>
                </a:extLst>
              </p:cNvPr>
              <p:cNvSpPr/>
              <p:nvPr/>
            </p:nvSpPr>
            <p:spPr bwMode="gray">
              <a:xfrm flipH="1" flipV="1">
                <a:off x="5443554" y="2780119"/>
                <a:ext cx="3084648" cy="52900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algn="ctr" defTabSz="390952">
                  <a:defRPr/>
                </a:pPr>
                <a:endParaRPr lang="en-US" sz="900" kern="0" dirty="0">
                  <a:solidFill>
                    <a:srgbClr val="C19859"/>
                  </a:solidFill>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B3782C8F-5DBC-4A01-BC95-E98A5F96BBD2}"/>
                  </a:ext>
                </a:extLst>
              </p:cNvPr>
              <p:cNvSpPr/>
              <p:nvPr/>
            </p:nvSpPr>
            <p:spPr>
              <a:xfrm>
                <a:off x="5905109" y="2545651"/>
                <a:ext cx="2789196"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Profitability risk</a:t>
                </a:r>
              </a:p>
            </p:txBody>
          </p:sp>
          <p:sp>
            <p:nvSpPr>
              <p:cNvPr id="177" name="Rectangle 176">
                <a:extLst>
                  <a:ext uri="{FF2B5EF4-FFF2-40B4-BE49-F238E27FC236}">
                    <a16:creationId xmlns:a16="http://schemas.microsoft.com/office/drawing/2014/main" id="{CA8081AE-9CCB-4FBB-9EF5-700C96FA70BB}"/>
                  </a:ext>
                </a:extLst>
              </p:cNvPr>
              <p:cNvSpPr/>
              <p:nvPr/>
            </p:nvSpPr>
            <p:spPr>
              <a:xfrm>
                <a:off x="6514359" y="2891222"/>
                <a:ext cx="2085582" cy="1055866"/>
              </a:xfrm>
              <a:prstGeom prst="rect">
                <a:avLst/>
              </a:prstGeom>
              <a:noFill/>
              <a:ln w="6350">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Fund-transfer pricing risk</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ost allocation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Product pricing risk</a:t>
                </a:r>
              </a:p>
              <a:p>
                <a:pPr marL="192761" indent="-146607" algn="just" defTabSz="390952">
                  <a:lnSpc>
                    <a:spcPct val="120000"/>
                  </a:lnSpc>
                  <a:spcBef>
                    <a:spcPts val="171"/>
                  </a:spcBef>
                  <a:spcAft>
                    <a:spcPts val="171"/>
                  </a:spcAft>
                  <a:buFont typeface="Wingdings" panose="05000000000000000000" pitchFamily="2" charset="2"/>
                  <a:buChar char="§"/>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78" name="Rectangle 177">
                <a:extLst>
                  <a:ext uri="{FF2B5EF4-FFF2-40B4-BE49-F238E27FC236}">
                    <a16:creationId xmlns:a16="http://schemas.microsoft.com/office/drawing/2014/main" id="{A770251E-61AE-4533-8AF8-0858F4E13D08}"/>
                  </a:ext>
                </a:extLst>
              </p:cNvPr>
              <p:cNvSpPr/>
              <p:nvPr/>
            </p:nvSpPr>
            <p:spPr>
              <a:xfrm>
                <a:off x="4621905" y="1092494"/>
                <a:ext cx="3393390"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New-age risks </a:t>
                </a:r>
              </a:p>
            </p:txBody>
          </p:sp>
          <p:sp>
            <p:nvSpPr>
              <p:cNvPr id="179" name="Rectangle 178">
                <a:extLst>
                  <a:ext uri="{FF2B5EF4-FFF2-40B4-BE49-F238E27FC236}">
                    <a16:creationId xmlns:a16="http://schemas.microsoft.com/office/drawing/2014/main" id="{843C56CC-881E-415C-A719-D1C6299377A5}"/>
                  </a:ext>
                </a:extLst>
              </p:cNvPr>
              <p:cNvSpPr/>
              <p:nvPr/>
            </p:nvSpPr>
            <p:spPr>
              <a:xfrm>
                <a:off x="5397304" y="1419934"/>
                <a:ext cx="2509349" cy="1110750"/>
              </a:xfrm>
              <a:prstGeom prst="rect">
                <a:avLst/>
              </a:prstGeom>
              <a:noFill/>
              <a:ln>
                <a:noFill/>
              </a:ln>
            </p:spPr>
            <p:txBody>
              <a:bodyPr wrap="square" lIns="0" tIns="0" rIns="31276" bIns="0">
                <a:spAutoFit/>
              </a:bodyPr>
              <a:lstStyle/>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Digital banking risk</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Model risk </a:t>
                </a:r>
              </a:p>
              <a:p>
                <a:pPr marL="192761" indent="-146607" algn="just" defTabSz="390952">
                  <a:lnSpc>
                    <a:spcPct val="120000"/>
                  </a:lnSpc>
                  <a:spcBef>
                    <a:spcPts val="171"/>
                  </a:spcBef>
                  <a:spcAft>
                    <a:spcPts val="171"/>
                  </a:spcAft>
                  <a:buFont typeface="Wingdings" panose="05000000000000000000" pitchFamily="2" charset="2"/>
                  <a:buChar char="§"/>
                  <a:defRPr/>
                </a:pPr>
                <a:r>
                  <a:rPr lang="en-US" sz="1200" kern="0" dirty="0">
                    <a:solidFill>
                      <a:prstClr val="black"/>
                    </a:solidFill>
                    <a:latin typeface="Arial" panose="020B0604020202020204" pitchFamily="34" charset="0"/>
                    <a:cs typeface="Arial" panose="020B0604020202020204" pitchFamily="34" charset="0"/>
                  </a:rPr>
                  <a:t>Climate change</a:t>
                </a:r>
              </a:p>
              <a:p>
                <a:pPr marL="192761" indent="-146607" algn="just" defTabSz="390952">
                  <a:lnSpc>
                    <a:spcPct val="120000"/>
                  </a:lnSpc>
                  <a:spcBef>
                    <a:spcPts val="171"/>
                  </a:spcBef>
                  <a:spcAft>
                    <a:spcPts val="171"/>
                  </a:spcAft>
                  <a:buFont typeface="Wingdings" panose="05000000000000000000" pitchFamily="2" charset="2"/>
                  <a:buChar char="§"/>
                  <a:defRPr/>
                </a:pPr>
                <a:endParaRPr lang="en-US" sz="1200" kern="0" dirty="0">
                  <a:solidFill>
                    <a:prstClr val="black"/>
                  </a:solidFill>
                  <a:latin typeface="Arial" panose="020B0604020202020204" pitchFamily="34" charset="0"/>
                  <a:cs typeface="Arial" panose="020B0604020202020204" pitchFamily="34" charset="0"/>
                </a:endParaRPr>
              </a:p>
            </p:txBody>
          </p:sp>
          <p:sp>
            <p:nvSpPr>
              <p:cNvPr id="180" name="Freeform 326">
                <a:extLst>
                  <a:ext uri="{FF2B5EF4-FFF2-40B4-BE49-F238E27FC236}">
                    <a16:creationId xmlns:a16="http://schemas.microsoft.com/office/drawing/2014/main" id="{19B8D744-3FBB-4FCF-808A-39CDC1E74ED4}"/>
                  </a:ext>
                </a:extLst>
              </p:cNvPr>
              <p:cNvSpPr>
                <a:spLocks noEditPoints="1"/>
              </p:cNvSpPr>
              <p:nvPr/>
            </p:nvSpPr>
            <p:spPr bwMode="auto">
              <a:xfrm>
                <a:off x="4867818" y="3616489"/>
                <a:ext cx="547151" cy="4825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81" name="Freeform 670">
                <a:extLst>
                  <a:ext uri="{FF2B5EF4-FFF2-40B4-BE49-F238E27FC236}">
                    <a16:creationId xmlns:a16="http://schemas.microsoft.com/office/drawing/2014/main" id="{FC7C5D80-6FEB-4F94-B1B0-412C43BE83EA}"/>
                  </a:ext>
                </a:extLst>
              </p:cNvPr>
              <p:cNvSpPr>
                <a:spLocks noEditPoints="1"/>
              </p:cNvSpPr>
              <p:nvPr/>
            </p:nvSpPr>
            <p:spPr bwMode="auto">
              <a:xfrm>
                <a:off x="4115112" y="3953003"/>
                <a:ext cx="623624" cy="54837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82" name="Freeform 988">
                <a:extLst>
                  <a:ext uri="{FF2B5EF4-FFF2-40B4-BE49-F238E27FC236}">
                    <a16:creationId xmlns:a16="http://schemas.microsoft.com/office/drawing/2014/main" id="{ED5E31AD-5F49-467F-9432-FC06665D19DD}"/>
                  </a:ext>
                </a:extLst>
              </p:cNvPr>
              <p:cNvSpPr>
                <a:spLocks noEditPoints="1"/>
              </p:cNvSpPr>
              <p:nvPr/>
            </p:nvSpPr>
            <p:spPr bwMode="auto">
              <a:xfrm>
                <a:off x="3448790" y="3627198"/>
                <a:ext cx="548089" cy="4819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83" name="Freeform 521">
                <a:extLst>
                  <a:ext uri="{FF2B5EF4-FFF2-40B4-BE49-F238E27FC236}">
                    <a16:creationId xmlns:a16="http://schemas.microsoft.com/office/drawing/2014/main" id="{69D561E7-BBF9-45EF-A932-AD5FE960AA7D}"/>
                  </a:ext>
                </a:extLst>
              </p:cNvPr>
              <p:cNvSpPr>
                <a:spLocks noEditPoints="1"/>
              </p:cNvSpPr>
              <p:nvPr/>
            </p:nvSpPr>
            <p:spPr bwMode="auto">
              <a:xfrm>
                <a:off x="4155759" y="2611938"/>
                <a:ext cx="550693" cy="48423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84" name="Oval 183">
                <a:extLst>
                  <a:ext uri="{FF2B5EF4-FFF2-40B4-BE49-F238E27FC236}">
                    <a16:creationId xmlns:a16="http://schemas.microsoft.com/office/drawing/2014/main" id="{7DD2FDCD-D26C-46BA-B5DD-EEE5F8E0A35A}"/>
                  </a:ext>
                </a:extLst>
              </p:cNvPr>
              <p:cNvSpPr/>
              <p:nvPr/>
            </p:nvSpPr>
            <p:spPr>
              <a:xfrm>
                <a:off x="522988" y="1243904"/>
                <a:ext cx="247073"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900" b="1" kern="0" dirty="0">
                    <a:solidFill>
                      <a:prstClr val="white"/>
                    </a:solidFill>
                    <a:latin typeface="Arial" panose="020B0604020202020204" pitchFamily="34" charset="0"/>
                    <a:cs typeface="Arial" panose="020B0604020202020204" pitchFamily="34" charset="0"/>
                  </a:rPr>
                  <a:t>1</a:t>
                </a:r>
              </a:p>
            </p:txBody>
          </p:sp>
          <p:sp>
            <p:nvSpPr>
              <p:cNvPr id="185" name="Oval 184">
                <a:extLst>
                  <a:ext uri="{FF2B5EF4-FFF2-40B4-BE49-F238E27FC236}">
                    <a16:creationId xmlns:a16="http://schemas.microsoft.com/office/drawing/2014/main" id="{1F322BFE-D70B-4573-95A6-93EA68936BBB}"/>
                  </a:ext>
                </a:extLst>
              </p:cNvPr>
              <p:cNvSpPr/>
              <p:nvPr/>
            </p:nvSpPr>
            <p:spPr>
              <a:xfrm>
                <a:off x="2855373" y="5060138"/>
                <a:ext cx="247073"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1000" b="1" kern="0" dirty="0">
                    <a:solidFill>
                      <a:prstClr val="white"/>
                    </a:solidFill>
                    <a:latin typeface="Arial" panose="020B0604020202020204" pitchFamily="34" charset="0"/>
                    <a:cs typeface="Arial" panose="020B0604020202020204" pitchFamily="34" charset="0"/>
                  </a:rPr>
                  <a:t>3</a:t>
                </a:r>
              </a:p>
            </p:txBody>
          </p:sp>
          <p:sp>
            <p:nvSpPr>
              <p:cNvPr id="186" name="Oval 185">
                <a:extLst>
                  <a:ext uri="{FF2B5EF4-FFF2-40B4-BE49-F238E27FC236}">
                    <a16:creationId xmlns:a16="http://schemas.microsoft.com/office/drawing/2014/main" id="{6C8962BC-534C-4D22-B983-9C938C1D694C}"/>
                  </a:ext>
                </a:extLst>
              </p:cNvPr>
              <p:cNvSpPr/>
              <p:nvPr/>
            </p:nvSpPr>
            <p:spPr>
              <a:xfrm>
                <a:off x="570996" y="3278174"/>
                <a:ext cx="247073"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1000" b="1" kern="0" dirty="0">
                    <a:solidFill>
                      <a:prstClr val="white"/>
                    </a:solidFill>
                    <a:latin typeface="Arial" panose="020B0604020202020204" pitchFamily="34" charset="0"/>
                    <a:cs typeface="Arial" panose="020B0604020202020204" pitchFamily="34" charset="0"/>
                  </a:rPr>
                  <a:t>2</a:t>
                </a:r>
              </a:p>
            </p:txBody>
          </p:sp>
          <p:sp>
            <p:nvSpPr>
              <p:cNvPr id="187" name="Oval 186">
                <a:extLst>
                  <a:ext uri="{FF2B5EF4-FFF2-40B4-BE49-F238E27FC236}">
                    <a16:creationId xmlns:a16="http://schemas.microsoft.com/office/drawing/2014/main" id="{2B4912EE-BC96-4643-A005-F9F8E6FAB485}"/>
                  </a:ext>
                </a:extLst>
              </p:cNvPr>
              <p:cNvSpPr/>
              <p:nvPr/>
            </p:nvSpPr>
            <p:spPr>
              <a:xfrm>
                <a:off x="8357040" y="4259242"/>
                <a:ext cx="247074"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1000" b="1" kern="0" dirty="0">
                    <a:solidFill>
                      <a:prstClr val="white"/>
                    </a:solidFill>
                    <a:latin typeface="Arial" panose="020B0604020202020204" pitchFamily="34" charset="0"/>
                    <a:cs typeface="Arial" panose="020B0604020202020204" pitchFamily="34" charset="0"/>
                  </a:rPr>
                  <a:t>4</a:t>
                </a:r>
              </a:p>
            </p:txBody>
          </p:sp>
          <p:sp>
            <p:nvSpPr>
              <p:cNvPr id="188" name="Rectangle 187">
                <a:extLst>
                  <a:ext uri="{FF2B5EF4-FFF2-40B4-BE49-F238E27FC236}">
                    <a16:creationId xmlns:a16="http://schemas.microsoft.com/office/drawing/2014/main" id="{4B4C8A14-F0A3-4F88-AC39-0329733EF5A6}"/>
                  </a:ext>
                </a:extLst>
              </p:cNvPr>
              <p:cNvSpPr/>
              <p:nvPr/>
            </p:nvSpPr>
            <p:spPr>
              <a:xfrm>
                <a:off x="3170031" y="5055502"/>
                <a:ext cx="1261791" cy="201104"/>
              </a:xfrm>
              <a:prstGeom prst="rect">
                <a:avLst/>
              </a:prstGeom>
            </p:spPr>
            <p:txBody>
              <a:bodyPr wrap="square" lIns="0" tIns="0" rIns="0" bIns="0">
                <a:spAutoFit/>
              </a:bodyPr>
              <a:lstStyle/>
              <a:p>
                <a:pPr algn="ctr" defTabSz="390952">
                  <a:defRPr/>
                </a:pPr>
                <a:r>
                  <a:rPr lang="en-US" sz="1200" b="1" kern="0" dirty="0">
                    <a:solidFill>
                      <a:prstClr val="black"/>
                    </a:solidFill>
                    <a:latin typeface="Arial" panose="020B0604020202020204" pitchFamily="34" charset="0"/>
                    <a:cs typeface="Arial" panose="020B0604020202020204" pitchFamily="34" charset="0"/>
                  </a:rPr>
                  <a:t>Operational Risk</a:t>
                </a:r>
              </a:p>
            </p:txBody>
          </p:sp>
          <p:sp>
            <p:nvSpPr>
              <p:cNvPr id="189" name="Oval 188">
                <a:extLst>
                  <a:ext uri="{FF2B5EF4-FFF2-40B4-BE49-F238E27FC236}">
                    <a16:creationId xmlns:a16="http://schemas.microsoft.com/office/drawing/2014/main" id="{05F9F358-F106-44AB-844E-181E366F44DB}"/>
                  </a:ext>
                </a:extLst>
              </p:cNvPr>
              <p:cNvSpPr/>
              <p:nvPr/>
            </p:nvSpPr>
            <p:spPr>
              <a:xfrm>
                <a:off x="8507090" y="2525471"/>
                <a:ext cx="247074" cy="218248"/>
              </a:xfrm>
              <a:prstGeom prst="ellipse">
                <a:avLst/>
              </a:prstGeom>
              <a:solidFill>
                <a:sysClr val="windowText" lastClr="000000"/>
              </a:solidFill>
            </p:spPr>
            <p:txBody>
              <a:bodyPr wrap="square" lIns="0" tIns="0" rIns="0" bIns="0" rtlCol="0" anchor="ctr">
                <a:noAutofit/>
              </a:bodyPr>
              <a:lstStyle/>
              <a:p>
                <a:pPr algn="ctr" defTabSz="390952">
                  <a:lnSpc>
                    <a:spcPct val="120000"/>
                  </a:lnSpc>
                  <a:spcBef>
                    <a:spcPts val="171"/>
                  </a:spcBef>
                  <a:spcAft>
                    <a:spcPts val="171"/>
                  </a:spcAft>
                  <a:defRPr/>
                </a:pPr>
                <a:r>
                  <a:rPr lang="en-US" sz="1000" b="1" kern="0" dirty="0">
                    <a:solidFill>
                      <a:prstClr val="white"/>
                    </a:solidFill>
                    <a:latin typeface="Arial" panose="020B0604020202020204" pitchFamily="34" charset="0"/>
                    <a:cs typeface="Arial" panose="020B0604020202020204" pitchFamily="34" charset="0"/>
                  </a:rPr>
                  <a:t>5</a:t>
                </a:r>
              </a:p>
            </p:txBody>
          </p:sp>
          <p:sp>
            <p:nvSpPr>
              <p:cNvPr id="190" name="Freeform 350">
                <a:extLst>
                  <a:ext uri="{FF2B5EF4-FFF2-40B4-BE49-F238E27FC236}">
                    <a16:creationId xmlns:a16="http://schemas.microsoft.com/office/drawing/2014/main" id="{36E38D7B-D487-4AA3-81BF-2467CC91EAD2}"/>
                  </a:ext>
                </a:extLst>
              </p:cNvPr>
              <p:cNvSpPr>
                <a:spLocks noEditPoints="1"/>
              </p:cNvSpPr>
              <p:nvPr/>
            </p:nvSpPr>
            <p:spPr bwMode="auto">
              <a:xfrm>
                <a:off x="5014273" y="3725096"/>
                <a:ext cx="275259" cy="279368"/>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91" name="Freeform 783">
                <a:extLst>
                  <a:ext uri="{FF2B5EF4-FFF2-40B4-BE49-F238E27FC236}">
                    <a16:creationId xmlns:a16="http://schemas.microsoft.com/office/drawing/2014/main" id="{2E0470BB-F02F-465B-9768-23D9884FA2F8}"/>
                  </a:ext>
                </a:extLst>
              </p:cNvPr>
              <p:cNvSpPr>
                <a:spLocks noEditPoints="1"/>
              </p:cNvSpPr>
              <p:nvPr/>
            </p:nvSpPr>
            <p:spPr bwMode="auto">
              <a:xfrm>
                <a:off x="3631418" y="3723477"/>
                <a:ext cx="187091" cy="295703"/>
              </a:xfrm>
              <a:custGeom>
                <a:avLst/>
                <a:gdLst>
                  <a:gd name="T0" fmla="*/ 216 w 216"/>
                  <a:gd name="T1" fmla="*/ 277 h 320"/>
                  <a:gd name="T2" fmla="*/ 195 w 216"/>
                  <a:gd name="T3" fmla="*/ 277 h 320"/>
                  <a:gd name="T4" fmla="*/ 184 w 216"/>
                  <a:gd name="T5" fmla="*/ 245 h 320"/>
                  <a:gd name="T6" fmla="*/ 173 w 216"/>
                  <a:gd name="T7" fmla="*/ 266 h 320"/>
                  <a:gd name="T8" fmla="*/ 152 w 216"/>
                  <a:gd name="T9" fmla="*/ 266 h 320"/>
                  <a:gd name="T10" fmla="*/ 141 w 216"/>
                  <a:gd name="T11" fmla="*/ 224 h 320"/>
                  <a:gd name="T12" fmla="*/ 131 w 216"/>
                  <a:gd name="T13" fmla="*/ 266 h 320"/>
                  <a:gd name="T14" fmla="*/ 109 w 216"/>
                  <a:gd name="T15" fmla="*/ 266 h 320"/>
                  <a:gd name="T16" fmla="*/ 99 w 216"/>
                  <a:gd name="T17" fmla="*/ 160 h 320"/>
                  <a:gd name="T18" fmla="*/ 88 w 216"/>
                  <a:gd name="T19" fmla="*/ 298 h 320"/>
                  <a:gd name="T20" fmla="*/ 82 w 216"/>
                  <a:gd name="T21" fmla="*/ 312 h 320"/>
                  <a:gd name="T22" fmla="*/ 53 w 216"/>
                  <a:gd name="T23" fmla="*/ 275 h 320"/>
                  <a:gd name="T24" fmla="*/ 31 w 216"/>
                  <a:gd name="T25" fmla="*/ 256 h 320"/>
                  <a:gd name="T26" fmla="*/ 25 w 216"/>
                  <a:gd name="T27" fmla="*/ 260 h 320"/>
                  <a:gd name="T28" fmla="*/ 32 w 216"/>
                  <a:gd name="T29" fmla="*/ 284 h 320"/>
                  <a:gd name="T30" fmla="*/ 36 w 216"/>
                  <a:gd name="T31" fmla="*/ 319 h 320"/>
                  <a:gd name="T32" fmla="*/ 22 w 216"/>
                  <a:gd name="T33" fmla="*/ 314 h 320"/>
                  <a:gd name="T34" fmla="*/ 5 w 216"/>
                  <a:gd name="T35" fmla="*/ 252 h 320"/>
                  <a:gd name="T36" fmla="*/ 49 w 216"/>
                  <a:gd name="T37" fmla="*/ 239 h 320"/>
                  <a:gd name="T38" fmla="*/ 67 w 216"/>
                  <a:gd name="T39" fmla="*/ 170 h 320"/>
                  <a:gd name="T40" fmla="*/ 131 w 216"/>
                  <a:gd name="T41" fmla="*/ 170 h 320"/>
                  <a:gd name="T42" fmla="*/ 141 w 216"/>
                  <a:gd name="T43" fmla="*/ 202 h 320"/>
                  <a:gd name="T44" fmla="*/ 184 w 216"/>
                  <a:gd name="T45" fmla="*/ 224 h 320"/>
                  <a:gd name="T46" fmla="*/ 24 w 216"/>
                  <a:gd name="T47" fmla="*/ 42 h 320"/>
                  <a:gd name="T48" fmla="*/ 24 w 216"/>
                  <a:gd name="T49" fmla="*/ 0 h 320"/>
                  <a:gd name="T50" fmla="*/ 24 w 216"/>
                  <a:gd name="T51" fmla="*/ 42 h 320"/>
                  <a:gd name="T52" fmla="*/ 120 w 216"/>
                  <a:gd name="T53" fmla="*/ 21 h 320"/>
                  <a:gd name="T54" fmla="*/ 78 w 216"/>
                  <a:gd name="T55" fmla="*/ 21 h 320"/>
                  <a:gd name="T56" fmla="*/ 173 w 216"/>
                  <a:gd name="T57" fmla="*/ 42 h 320"/>
                  <a:gd name="T58" fmla="*/ 173 w 216"/>
                  <a:gd name="T59" fmla="*/ 0 h 320"/>
                  <a:gd name="T60" fmla="*/ 173 w 216"/>
                  <a:gd name="T61" fmla="*/ 42 h 320"/>
                  <a:gd name="T62" fmla="*/ 45 w 216"/>
                  <a:gd name="T63" fmla="*/ 96 h 320"/>
                  <a:gd name="T64" fmla="*/ 3 w 216"/>
                  <a:gd name="T65" fmla="*/ 96 h 320"/>
                  <a:gd name="T66" fmla="*/ 24 w 216"/>
                  <a:gd name="T67" fmla="*/ 191 h 320"/>
                  <a:gd name="T68" fmla="*/ 24 w 216"/>
                  <a:gd name="T69" fmla="*/ 149 h 320"/>
                  <a:gd name="T70" fmla="*/ 24 w 216"/>
                  <a:gd name="T71" fmla="*/ 191 h 320"/>
                  <a:gd name="T72" fmla="*/ 120 w 216"/>
                  <a:gd name="T73" fmla="*/ 96 h 320"/>
                  <a:gd name="T74" fmla="*/ 78 w 216"/>
                  <a:gd name="T75" fmla="*/ 96 h 320"/>
                  <a:gd name="T76" fmla="*/ 173 w 216"/>
                  <a:gd name="T77" fmla="*/ 117 h 320"/>
                  <a:gd name="T78" fmla="*/ 173 w 216"/>
                  <a:gd name="T79" fmla="*/ 75 h 320"/>
                  <a:gd name="T80" fmla="*/ 173 w 216"/>
                  <a:gd name="T81" fmla="*/ 117 h 320"/>
                  <a:gd name="T82" fmla="*/ 194 w 216"/>
                  <a:gd name="T83" fmla="*/ 170 h 320"/>
                  <a:gd name="T84" fmla="*/ 152 w 216"/>
                  <a:gd name="T85" fmla="*/ 17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320">
                    <a:moveTo>
                      <a:pt x="216" y="256"/>
                    </a:moveTo>
                    <a:cubicBezTo>
                      <a:pt x="216" y="277"/>
                      <a:pt x="216" y="277"/>
                      <a:pt x="216" y="277"/>
                    </a:cubicBezTo>
                    <a:cubicBezTo>
                      <a:pt x="216" y="283"/>
                      <a:pt x="211" y="288"/>
                      <a:pt x="205" y="288"/>
                    </a:cubicBezTo>
                    <a:cubicBezTo>
                      <a:pt x="199" y="288"/>
                      <a:pt x="195" y="283"/>
                      <a:pt x="195" y="277"/>
                    </a:cubicBezTo>
                    <a:cubicBezTo>
                      <a:pt x="195" y="256"/>
                      <a:pt x="195" y="256"/>
                      <a:pt x="195" y="256"/>
                    </a:cubicBezTo>
                    <a:cubicBezTo>
                      <a:pt x="195" y="250"/>
                      <a:pt x="190" y="245"/>
                      <a:pt x="184" y="245"/>
                    </a:cubicBezTo>
                    <a:cubicBezTo>
                      <a:pt x="178" y="245"/>
                      <a:pt x="173" y="250"/>
                      <a:pt x="173" y="256"/>
                    </a:cubicBezTo>
                    <a:cubicBezTo>
                      <a:pt x="173" y="266"/>
                      <a:pt x="173" y="266"/>
                      <a:pt x="173" y="266"/>
                    </a:cubicBezTo>
                    <a:cubicBezTo>
                      <a:pt x="173" y="272"/>
                      <a:pt x="169" y="277"/>
                      <a:pt x="163" y="277"/>
                    </a:cubicBezTo>
                    <a:cubicBezTo>
                      <a:pt x="157" y="277"/>
                      <a:pt x="152" y="272"/>
                      <a:pt x="152" y="266"/>
                    </a:cubicBezTo>
                    <a:cubicBezTo>
                      <a:pt x="152" y="234"/>
                      <a:pt x="152" y="234"/>
                      <a:pt x="152" y="234"/>
                    </a:cubicBezTo>
                    <a:cubicBezTo>
                      <a:pt x="152" y="228"/>
                      <a:pt x="147" y="224"/>
                      <a:pt x="141" y="224"/>
                    </a:cubicBezTo>
                    <a:cubicBezTo>
                      <a:pt x="135" y="224"/>
                      <a:pt x="131" y="228"/>
                      <a:pt x="131" y="234"/>
                    </a:cubicBezTo>
                    <a:cubicBezTo>
                      <a:pt x="131" y="266"/>
                      <a:pt x="131" y="266"/>
                      <a:pt x="131" y="266"/>
                    </a:cubicBezTo>
                    <a:cubicBezTo>
                      <a:pt x="131" y="272"/>
                      <a:pt x="126" y="277"/>
                      <a:pt x="120" y="277"/>
                    </a:cubicBezTo>
                    <a:cubicBezTo>
                      <a:pt x="114" y="277"/>
                      <a:pt x="109" y="272"/>
                      <a:pt x="109" y="266"/>
                    </a:cubicBezTo>
                    <a:cubicBezTo>
                      <a:pt x="109" y="170"/>
                      <a:pt x="109" y="170"/>
                      <a:pt x="109" y="170"/>
                    </a:cubicBezTo>
                    <a:cubicBezTo>
                      <a:pt x="109" y="164"/>
                      <a:pt x="105" y="160"/>
                      <a:pt x="99" y="160"/>
                    </a:cubicBezTo>
                    <a:cubicBezTo>
                      <a:pt x="93" y="160"/>
                      <a:pt x="88" y="164"/>
                      <a:pt x="88" y="170"/>
                    </a:cubicBezTo>
                    <a:cubicBezTo>
                      <a:pt x="88" y="298"/>
                      <a:pt x="88" y="298"/>
                      <a:pt x="88" y="298"/>
                    </a:cubicBezTo>
                    <a:cubicBezTo>
                      <a:pt x="88" y="299"/>
                      <a:pt x="88" y="299"/>
                      <a:pt x="88" y="300"/>
                    </a:cubicBezTo>
                    <a:cubicBezTo>
                      <a:pt x="89" y="305"/>
                      <a:pt x="87" y="310"/>
                      <a:pt x="82" y="312"/>
                    </a:cubicBezTo>
                    <a:cubicBezTo>
                      <a:pt x="77" y="314"/>
                      <a:pt x="70" y="312"/>
                      <a:pt x="68" y="307"/>
                    </a:cubicBezTo>
                    <a:cubicBezTo>
                      <a:pt x="53" y="275"/>
                      <a:pt x="53" y="275"/>
                      <a:pt x="53" y="275"/>
                    </a:cubicBezTo>
                    <a:cubicBezTo>
                      <a:pt x="50" y="269"/>
                      <a:pt x="46" y="262"/>
                      <a:pt x="38" y="258"/>
                    </a:cubicBezTo>
                    <a:cubicBezTo>
                      <a:pt x="36" y="257"/>
                      <a:pt x="33" y="255"/>
                      <a:pt x="31" y="256"/>
                    </a:cubicBezTo>
                    <a:cubicBezTo>
                      <a:pt x="31" y="256"/>
                      <a:pt x="30" y="256"/>
                      <a:pt x="29" y="257"/>
                    </a:cubicBezTo>
                    <a:cubicBezTo>
                      <a:pt x="26" y="257"/>
                      <a:pt x="25" y="259"/>
                      <a:pt x="25" y="260"/>
                    </a:cubicBezTo>
                    <a:cubicBezTo>
                      <a:pt x="23" y="264"/>
                      <a:pt x="24" y="272"/>
                      <a:pt x="31" y="283"/>
                    </a:cubicBezTo>
                    <a:cubicBezTo>
                      <a:pt x="31" y="283"/>
                      <a:pt x="32" y="283"/>
                      <a:pt x="32" y="284"/>
                    </a:cubicBezTo>
                    <a:cubicBezTo>
                      <a:pt x="41" y="305"/>
                      <a:pt x="41" y="305"/>
                      <a:pt x="41" y="305"/>
                    </a:cubicBezTo>
                    <a:cubicBezTo>
                      <a:pt x="44" y="310"/>
                      <a:pt x="42" y="316"/>
                      <a:pt x="36" y="319"/>
                    </a:cubicBezTo>
                    <a:cubicBezTo>
                      <a:pt x="35" y="319"/>
                      <a:pt x="33" y="320"/>
                      <a:pt x="32" y="320"/>
                    </a:cubicBezTo>
                    <a:cubicBezTo>
                      <a:pt x="28" y="320"/>
                      <a:pt x="24" y="317"/>
                      <a:pt x="22" y="314"/>
                    </a:cubicBezTo>
                    <a:cubicBezTo>
                      <a:pt x="13" y="293"/>
                      <a:pt x="13" y="293"/>
                      <a:pt x="13" y="293"/>
                    </a:cubicBezTo>
                    <a:cubicBezTo>
                      <a:pt x="3" y="278"/>
                      <a:pt x="0" y="263"/>
                      <a:pt x="5" y="252"/>
                    </a:cubicBezTo>
                    <a:cubicBezTo>
                      <a:pt x="8" y="244"/>
                      <a:pt x="15" y="238"/>
                      <a:pt x="23" y="236"/>
                    </a:cubicBezTo>
                    <a:cubicBezTo>
                      <a:pt x="31" y="233"/>
                      <a:pt x="40" y="234"/>
                      <a:pt x="49" y="239"/>
                    </a:cubicBezTo>
                    <a:cubicBezTo>
                      <a:pt x="56" y="243"/>
                      <a:pt x="61" y="249"/>
                      <a:pt x="67" y="256"/>
                    </a:cubicBezTo>
                    <a:cubicBezTo>
                      <a:pt x="67" y="170"/>
                      <a:pt x="67" y="170"/>
                      <a:pt x="67" y="170"/>
                    </a:cubicBezTo>
                    <a:cubicBezTo>
                      <a:pt x="67" y="153"/>
                      <a:pt x="81" y="138"/>
                      <a:pt x="99" y="138"/>
                    </a:cubicBezTo>
                    <a:cubicBezTo>
                      <a:pt x="116" y="138"/>
                      <a:pt x="131" y="153"/>
                      <a:pt x="131" y="170"/>
                    </a:cubicBezTo>
                    <a:cubicBezTo>
                      <a:pt x="131" y="204"/>
                      <a:pt x="131" y="204"/>
                      <a:pt x="131" y="204"/>
                    </a:cubicBezTo>
                    <a:cubicBezTo>
                      <a:pt x="135" y="203"/>
                      <a:pt x="138" y="202"/>
                      <a:pt x="141" y="202"/>
                    </a:cubicBezTo>
                    <a:cubicBezTo>
                      <a:pt x="156" y="202"/>
                      <a:pt x="168" y="212"/>
                      <a:pt x="172" y="226"/>
                    </a:cubicBezTo>
                    <a:cubicBezTo>
                      <a:pt x="176" y="225"/>
                      <a:pt x="180" y="224"/>
                      <a:pt x="184" y="224"/>
                    </a:cubicBezTo>
                    <a:cubicBezTo>
                      <a:pt x="202" y="224"/>
                      <a:pt x="216" y="238"/>
                      <a:pt x="216" y="256"/>
                    </a:cubicBezTo>
                    <a:close/>
                    <a:moveTo>
                      <a:pt x="24" y="42"/>
                    </a:moveTo>
                    <a:cubicBezTo>
                      <a:pt x="36" y="42"/>
                      <a:pt x="45" y="33"/>
                      <a:pt x="45" y="21"/>
                    </a:cubicBezTo>
                    <a:cubicBezTo>
                      <a:pt x="45" y="9"/>
                      <a:pt x="36" y="0"/>
                      <a:pt x="24" y="0"/>
                    </a:cubicBezTo>
                    <a:cubicBezTo>
                      <a:pt x="12" y="0"/>
                      <a:pt x="3" y="9"/>
                      <a:pt x="3" y="21"/>
                    </a:cubicBezTo>
                    <a:cubicBezTo>
                      <a:pt x="3" y="33"/>
                      <a:pt x="12" y="42"/>
                      <a:pt x="24" y="42"/>
                    </a:cubicBezTo>
                    <a:close/>
                    <a:moveTo>
                      <a:pt x="99" y="42"/>
                    </a:moveTo>
                    <a:cubicBezTo>
                      <a:pt x="110" y="42"/>
                      <a:pt x="120" y="33"/>
                      <a:pt x="120" y="21"/>
                    </a:cubicBezTo>
                    <a:cubicBezTo>
                      <a:pt x="120" y="9"/>
                      <a:pt x="110" y="0"/>
                      <a:pt x="99" y="0"/>
                    </a:cubicBezTo>
                    <a:cubicBezTo>
                      <a:pt x="87" y="0"/>
                      <a:pt x="78" y="9"/>
                      <a:pt x="78" y="21"/>
                    </a:cubicBezTo>
                    <a:cubicBezTo>
                      <a:pt x="78" y="33"/>
                      <a:pt x="87" y="42"/>
                      <a:pt x="99" y="42"/>
                    </a:cubicBezTo>
                    <a:close/>
                    <a:moveTo>
                      <a:pt x="173" y="42"/>
                    </a:moveTo>
                    <a:cubicBezTo>
                      <a:pt x="185" y="42"/>
                      <a:pt x="194" y="33"/>
                      <a:pt x="194" y="21"/>
                    </a:cubicBezTo>
                    <a:cubicBezTo>
                      <a:pt x="194" y="9"/>
                      <a:pt x="185" y="0"/>
                      <a:pt x="173" y="0"/>
                    </a:cubicBezTo>
                    <a:cubicBezTo>
                      <a:pt x="162" y="0"/>
                      <a:pt x="152" y="9"/>
                      <a:pt x="152" y="21"/>
                    </a:cubicBezTo>
                    <a:cubicBezTo>
                      <a:pt x="152" y="33"/>
                      <a:pt x="162" y="42"/>
                      <a:pt x="173" y="42"/>
                    </a:cubicBezTo>
                    <a:close/>
                    <a:moveTo>
                      <a:pt x="24" y="117"/>
                    </a:moveTo>
                    <a:cubicBezTo>
                      <a:pt x="36" y="117"/>
                      <a:pt x="45" y="107"/>
                      <a:pt x="45" y="96"/>
                    </a:cubicBezTo>
                    <a:cubicBezTo>
                      <a:pt x="45" y="84"/>
                      <a:pt x="36" y="75"/>
                      <a:pt x="24" y="75"/>
                    </a:cubicBezTo>
                    <a:cubicBezTo>
                      <a:pt x="12" y="75"/>
                      <a:pt x="3" y="84"/>
                      <a:pt x="3" y="96"/>
                    </a:cubicBezTo>
                    <a:cubicBezTo>
                      <a:pt x="3" y="107"/>
                      <a:pt x="12" y="117"/>
                      <a:pt x="24" y="117"/>
                    </a:cubicBezTo>
                    <a:close/>
                    <a:moveTo>
                      <a:pt x="24" y="191"/>
                    </a:moveTo>
                    <a:cubicBezTo>
                      <a:pt x="36" y="191"/>
                      <a:pt x="45" y="182"/>
                      <a:pt x="45" y="170"/>
                    </a:cubicBezTo>
                    <a:cubicBezTo>
                      <a:pt x="45" y="159"/>
                      <a:pt x="36" y="149"/>
                      <a:pt x="24" y="149"/>
                    </a:cubicBezTo>
                    <a:cubicBezTo>
                      <a:pt x="12" y="149"/>
                      <a:pt x="3" y="159"/>
                      <a:pt x="3" y="170"/>
                    </a:cubicBezTo>
                    <a:cubicBezTo>
                      <a:pt x="3" y="182"/>
                      <a:pt x="12" y="191"/>
                      <a:pt x="24" y="191"/>
                    </a:cubicBezTo>
                    <a:close/>
                    <a:moveTo>
                      <a:pt x="99" y="117"/>
                    </a:moveTo>
                    <a:cubicBezTo>
                      <a:pt x="110" y="117"/>
                      <a:pt x="120" y="107"/>
                      <a:pt x="120" y="96"/>
                    </a:cubicBezTo>
                    <a:cubicBezTo>
                      <a:pt x="120" y="84"/>
                      <a:pt x="110" y="75"/>
                      <a:pt x="99" y="75"/>
                    </a:cubicBezTo>
                    <a:cubicBezTo>
                      <a:pt x="87" y="75"/>
                      <a:pt x="78" y="84"/>
                      <a:pt x="78" y="96"/>
                    </a:cubicBezTo>
                    <a:cubicBezTo>
                      <a:pt x="78" y="107"/>
                      <a:pt x="87" y="117"/>
                      <a:pt x="99" y="117"/>
                    </a:cubicBezTo>
                    <a:close/>
                    <a:moveTo>
                      <a:pt x="173" y="117"/>
                    </a:moveTo>
                    <a:cubicBezTo>
                      <a:pt x="185" y="117"/>
                      <a:pt x="194" y="107"/>
                      <a:pt x="194" y="96"/>
                    </a:cubicBezTo>
                    <a:cubicBezTo>
                      <a:pt x="194" y="84"/>
                      <a:pt x="185" y="75"/>
                      <a:pt x="173" y="75"/>
                    </a:cubicBezTo>
                    <a:cubicBezTo>
                      <a:pt x="162" y="75"/>
                      <a:pt x="152" y="84"/>
                      <a:pt x="152" y="96"/>
                    </a:cubicBezTo>
                    <a:cubicBezTo>
                      <a:pt x="152" y="107"/>
                      <a:pt x="162" y="117"/>
                      <a:pt x="173" y="117"/>
                    </a:cubicBezTo>
                    <a:close/>
                    <a:moveTo>
                      <a:pt x="173" y="191"/>
                    </a:moveTo>
                    <a:cubicBezTo>
                      <a:pt x="185" y="191"/>
                      <a:pt x="194" y="182"/>
                      <a:pt x="194" y="170"/>
                    </a:cubicBezTo>
                    <a:cubicBezTo>
                      <a:pt x="194" y="159"/>
                      <a:pt x="185" y="149"/>
                      <a:pt x="173" y="149"/>
                    </a:cubicBezTo>
                    <a:cubicBezTo>
                      <a:pt x="162" y="149"/>
                      <a:pt x="152" y="159"/>
                      <a:pt x="152" y="170"/>
                    </a:cubicBezTo>
                    <a:cubicBezTo>
                      <a:pt x="152" y="182"/>
                      <a:pt x="162" y="191"/>
                      <a:pt x="173" y="191"/>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white"/>
                  </a:solidFill>
                  <a:latin typeface="Arial" panose="020B0604020202020204" pitchFamily="34" charset="0"/>
                  <a:cs typeface="Arial" panose="020B0604020202020204" pitchFamily="34" charset="0"/>
                </a:endParaRPr>
              </a:p>
            </p:txBody>
          </p:sp>
          <p:sp>
            <p:nvSpPr>
              <p:cNvPr id="192" name="Freeform 527">
                <a:extLst>
                  <a:ext uri="{FF2B5EF4-FFF2-40B4-BE49-F238E27FC236}">
                    <a16:creationId xmlns:a16="http://schemas.microsoft.com/office/drawing/2014/main" id="{54813DCC-7295-46BF-8C23-4DD12EFB50CE}"/>
                  </a:ext>
                </a:extLst>
              </p:cNvPr>
              <p:cNvSpPr>
                <a:spLocks noEditPoints="1"/>
              </p:cNvSpPr>
              <p:nvPr/>
            </p:nvSpPr>
            <p:spPr bwMode="auto">
              <a:xfrm>
                <a:off x="4982663" y="3012485"/>
                <a:ext cx="375899" cy="33679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93" name="Freeform 338">
                <a:extLst>
                  <a:ext uri="{FF2B5EF4-FFF2-40B4-BE49-F238E27FC236}">
                    <a16:creationId xmlns:a16="http://schemas.microsoft.com/office/drawing/2014/main" id="{329CA9CF-389D-4026-B139-7201058298FD}"/>
                  </a:ext>
                </a:extLst>
              </p:cNvPr>
              <p:cNvSpPr>
                <a:spLocks noChangeAspect="1" noEditPoints="1"/>
              </p:cNvSpPr>
              <p:nvPr/>
            </p:nvSpPr>
            <p:spPr bwMode="auto">
              <a:xfrm>
                <a:off x="4259206" y="4071819"/>
                <a:ext cx="374840" cy="33584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94" name="Freeform 680">
                <a:extLst>
                  <a:ext uri="{FF2B5EF4-FFF2-40B4-BE49-F238E27FC236}">
                    <a16:creationId xmlns:a16="http://schemas.microsoft.com/office/drawing/2014/main" id="{33AB20DD-0DF1-4128-AF83-EC1E5B44A3E2}"/>
                  </a:ext>
                </a:extLst>
              </p:cNvPr>
              <p:cNvSpPr>
                <a:spLocks noChangeAspect="1" noEditPoints="1"/>
              </p:cNvSpPr>
              <p:nvPr/>
            </p:nvSpPr>
            <p:spPr bwMode="auto">
              <a:xfrm>
                <a:off x="4256342" y="2674124"/>
                <a:ext cx="408232" cy="36576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grpSp>
            <p:nvGrpSpPr>
              <p:cNvPr id="195" name="Group 194">
                <a:extLst>
                  <a:ext uri="{FF2B5EF4-FFF2-40B4-BE49-F238E27FC236}">
                    <a16:creationId xmlns:a16="http://schemas.microsoft.com/office/drawing/2014/main" id="{3D2CA427-0B9F-483F-88F1-36D723C50022}"/>
                  </a:ext>
                </a:extLst>
              </p:cNvPr>
              <p:cNvGrpSpPr/>
              <p:nvPr/>
            </p:nvGrpSpPr>
            <p:grpSpPr>
              <a:xfrm>
                <a:off x="4875335" y="2935428"/>
                <a:ext cx="572046" cy="503016"/>
                <a:chOff x="4853776" y="2761254"/>
                <a:chExt cx="561580" cy="551152"/>
              </a:xfrm>
            </p:grpSpPr>
            <p:sp>
              <p:nvSpPr>
                <p:cNvPr id="199" name="Freeform 934">
                  <a:extLst>
                    <a:ext uri="{FF2B5EF4-FFF2-40B4-BE49-F238E27FC236}">
                      <a16:creationId xmlns:a16="http://schemas.microsoft.com/office/drawing/2014/main" id="{EF80C2FE-9FC8-4E79-AB17-8C34D0F88FEB}"/>
                    </a:ext>
                  </a:extLst>
                </p:cNvPr>
                <p:cNvSpPr>
                  <a:spLocks noEditPoints="1"/>
                </p:cNvSpPr>
                <p:nvPr/>
              </p:nvSpPr>
              <p:spPr bwMode="auto">
                <a:xfrm>
                  <a:off x="4853776" y="2761254"/>
                  <a:ext cx="561580" cy="551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200" name="Freeform 528">
                  <a:extLst>
                    <a:ext uri="{FF2B5EF4-FFF2-40B4-BE49-F238E27FC236}">
                      <a16:creationId xmlns:a16="http://schemas.microsoft.com/office/drawing/2014/main" id="{CBCA71AD-B927-481E-9A5B-5677B08E4244}"/>
                    </a:ext>
                  </a:extLst>
                </p:cNvPr>
                <p:cNvSpPr>
                  <a:spLocks noEditPoints="1"/>
                </p:cNvSpPr>
                <p:nvPr/>
              </p:nvSpPr>
              <p:spPr bwMode="auto">
                <a:xfrm>
                  <a:off x="5047196" y="2905097"/>
                  <a:ext cx="200791" cy="215986"/>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grpSp>
          <p:sp>
            <p:nvSpPr>
              <p:cNvPr id="196" name="Freeform 61">
                <a:extLst>
                  <a:ext uri="{FF2B5EF4-FFF2-40B4-BE49-F238E27FC236}">
                    <a16:creationId xmlns:a16="http://schemas.microsoft.com/office/drawing/2014/main" id="{2E848D10-5ED5-4C71-81ED-F6EB7353DC40}"/>
                  </a:ext>
                </a:extLst>
              </p:cNvPr>
              <p:cNvSpPr/>
              <p:nvPr/>
            </p:nvSpPr>
            <p:spPr bwMode="gray">
              <a:xfrm>
                <a:off x="3281933" y="4441601"/>
                <a:ext cx="1519570" cy="836785"/>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ysClr val="windowText" lastClr="000000"/>
                </a:solidFill>
                <a:miter lim="800000"/>
                <a:headEnd/>
                <a:tailEnd/>
              </a:ln>
            </p:spPr>
            <p:txBody>
              <a:bodyPr rtlCol="0" anchor="ctr"/>
              <a:lstStyle/>
              <a:p>
                <a:pPr algn="ctr" defTabSz="390952">
                  <a:defRPr/>
                </a:pPr>
                <a:endParaRPr lang="en-US" sz="900" kern="0" dirty="0">
                  <a:solidFill>
                    <a:prstClr val="black"/>
                  </a:solidFill>
                  <a:latin typeface="Arial" panose="020B0604020202020204" pitchFamily="34" charset="0"/>
                  <a:cs typeface="Arial" panose="020B0604020202020204" pitchFamily="34" charset="0"/>
                </a:endParaRPr>
              </a:p>
            </p:txBody>
          </p:sp>
          <p:sp>
            <p:nvSpPr>
              <p:cNvPr id="197" name="Freeform 326">
                <a:extLst>
                  <a:ext uri="{FF2B5EF4-FFF2-40B4-BE49-F238E27FC236}">
                    <a16:creationId xmlns:a16="http://schemas.microsoft.com/office/drawing/2014/main" id="{C6CBF32B-E5E5-46E5-BBE7-44CA659869D8}"/>
                  </a:ext>
                </a:extLst>
              </p:cNvPr>
              <p:cNvSpPr>
                <a:spLocks noEditPoints="1"/>
              </p:cNvSpPr>
              <p:nvPr/>
            </p:nvSpPr>
            <p:spPr bwMode="auto">
              <a:xfrm>
                <a:off x="3421092" y="2928110"/>
                <a:ext cx="547151" cy="482539"/>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sp>
            <p:nvSpPr>
              <p:cNvPr id="198" name="Freeform 350">
                <a:extLst>
                  <a:ext uri="{FF2B5EF4-FFF2-40B4-BE49-F238E27FC236}">
                    <a16:creationId xmlns:a16="http://schemas.microsoft.com/office/drawing/2014/main" id="{BCDF6D82-60BD-46BB-9071-CB7DA4F80E39}"/>
                  </a:ext>
                </a:extLst>
              </p:cNvPr>
              <p:cNvSpPr>
                <a:spLocks noEditPoints="1"/>
              </p:cNvSpPr>
              <p:nvPr/>
            </p:nvSpPr>
            <p:spPr bwMode="auto">
              <a:xfrm>
                <a:off x="3567547" y="3036717"/>
                <a:ext cx="275259" cy="279368"/>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sz="900" kern="0" dirty="0">
                  <a:solidFill>
                    <a:prstClr val="black"/>
                  </a:solidFill>
                  <a:latin typeface="Arial" panose="020B0604020202020204" pitchFamily="34" charset="0"/>
                  <a:cs typeface="Arial" panose="020B0604020202020204" pitchFamily="34" charset="0"/>
                </a:endParaRPr>
              </a:p>
            </p:txBody>
          </p:sp>
        </p:grpSp>
        <p:sp>
          <p:nvSpPr>
            <p:cNvPr id="146" name="Hexagon 145">
              <a:extLst>
                <a:ext uri="{FF2B5EF4-FFF2-40B4-BE49-F238E27FC236}">
                  <a16:creationId xmlns:a16="http://schemas.microsoft.com/office/drawing/2014/main" id="{2AAA0471-918C-463B-ACC7-7C18A0F50FA8}"/>
                </a:ext>
              </a:extLst>
            </p:cNvPr>
            <p:cNvSpPr/>
            <p:nvPr/>
          </p:nvSpPr>
          <p:spPr bwMode="gray">
            <a:xfrm>
              <a:off x="5994499" y="2740702"/>
              <a:ext cx="829969" cy="662878"/>
            </a:xfrm>
            <a:prstGeom prst="hexagon">
              <a:avLst/>
            </a:prstGeom>
            <a:solidFill>
              <a:srgbClr val="1F497D"/>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47" name="Hexagon 146">
              <a:extLst>
                <a:ext uri="{FF2B5EF4-FFF2-40B4-BE49-F238E27FC236}">
                  <a16:creationId xmlns:a16="http://schemas.microsoft.com/office/drawing/2014/main" id="{0A6F686D-688F-46D1-8BFB-E535315F6A1E}"/>
                </a:ext>
              </a:extLst>
            </p:cNvPr>
            <p:cNvSpPr/>
            <p:nvPr/>
          </p:nvSpPr>
          <p:spPr bwMode="gray">
            <a:xfrm>
              <a:off x="5994499" y="4132018"/>
              <a:ext cx="829969" cy="662878"/>
            </a:xfrm>
            <a:prstGeom prst="hexagon">
              <a:avLst/>
            </a:prstGeom>
            <a:solidFill>
              <a:srgbClr val="494947"/>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48" name="Hexagon 147">
              <a:extLst>
                <a:ext uri="{FF2B5EF4-FFF2-40B4-BE49-F238E27FC236}">
                  <a16:creationId xmlns:a16="http://schemas.microsoft.com/office/drawing/2014/main" id="{9CBBE768-D1A6-4D7F-BD2E-87319A649A75}"/>
                </a:ext>
              </a:extLst>
            </p:cNvPr>
            <p:cNvSpPr/>
            <p:nvPr/>
          </p:nvSpPr>
          <p:spPr bwMode="gray">
            <a:xfrm>
              <a:off x="6682470" y="3782368"/>
              <a:ext cx="829969" cy="662878"/>
            </a:xfrm>
            <a:prstGeom prst="hexagon">
              <a:avLst/>
            </a:prstGeom>
            <a:solidFill>
              <a:srgbClr val="1F497D"/>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49" name="Hexagon 148">
              <a:extLst>
                <a:ext uri="{FF2B5EF4-FFF2-40B4-BE49-F238E27FC236}">
                  <a16:creationId xmlns:a16="http://schemas.microsoft.com/office/drawing/2014/main" id="{5FD53F7B-55ED-49FF-A9FB-D61E896B5046}"/>
                </a:ext>
              </a:extLst>
            </p:cNvPr>
            <p:cNvSpPr/>
            <p:nvPr/>
          </p:nvSpPr>
          <p:spPr bwMode="gray">
            <a:xfrm>
              <a:off x="5306527" y="3782368"/>
              <a:ext cx="829969" cy="662878"/>
            </a:xfrm>
            <a:prstGeom prst="hexagon">
              <a:avLst/>
            </a:prstGeom>
            <a:solidFill>
              <a:srgbClr val="1F497D"/>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50" name="Freeform 326">
              <a:extLst>
                <a:ext uri="{FF2B5EF4-FFF2-40B4-BE49-F238E27FC236}">
                  <a16:creationId xmlns:a16="http://schemas.microsoft.com/office/drawing/2014/main" id="{98078FBB-476A-4D93-917F-3A678982E8FC}"/>
                </a:ext>
              </a:extLst>
            </p:cNvPr>
            <p:cNvSpPr>
              <a:spLocks noEditPoints="1"/>
            </p:cNvSpPr>
            <p:nvPr/>
          </p:nvSpPr>
          <p:spPr bwMode="auto">
            <a:xfrm>
              <a:off x="6826241" y="3852957"/>
              <a:ext cx="522497" cy="485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sp>
          <p:nvSpPr>
            <p:cNvPr id="151" name="Freeform 670">
              <a:extLst>
                <a:ext uri="{FF2B5EF4-FFF2-40B4-BE49-F238E27FC236}">
                  <a16:creationId xmlns:a16="http://schemas.microsoft.com/office/drawing/2014/main" id="{D52E9C83-0F29-4F7A-82A9-0B4C50C4F001}"/>
                </a:ext>
              </a:extLst>
            </p:cNvPr>
            <p:cNvSpPr>
              <a:spLocks noEditPoints="1"/>
            </p:cNvSpPr>
            <p:nvPr/>
          </p:nvSpPr>
          <p:spPr bwMode="auto">
            <a:xfrm>
              <a:off x="6107451" y="4191535"/>
              <a:ext cx="595525" cy="55173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sp>
          <p:nvSpPr>
            <p:cNvPr id="152" name="Freeform 988">
              <a:extLst>
                <a:ext uri="{FF2B5EF4-FFF2-40B4-BE49-F238E27FC236}">
                  <a16:creationId xmlns:a16="http://schemas.microsoft.com/office/drawing/2014/main" id="{4DA50F97-6CF8-4C94-AA4A-78141CA2EF13}"/>
                </a:ext>
              </a:extLst>
            </p:cNvPr>
            <p:cNvSpPr>
              <a:spLocks noEditPoints="1"/>
            </p:cNvSpPr>
            <p:nvPr/>
          </p:nvSpPr>
          <p:spPr bwMode="auto">
            <a:xfrm>
              <a:off x="5471152" y="3863732"/>
              <a:ext cx="523393" cy="48490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sp>
          <p:nvSpPr>
            <p:cNvPr id="153" name="Freeform 521">
              <a:extLst>
                <a:ext uri="{FF2B5EF4-FFF2-40B4-BE49-F238E27FC236}">
                  <a16:creationId xmlns:a16="http://schemas.microsoft.com/office/drawing/2014/main" id="{FF53B798-58FF-4312-A53F-C53A12FD3C06}"/>
                </a:ext>
              </a:extLst>
            </p:cNvPr>
            <p:cNvSpPr>
              <a:spLocks noEditPoints="1"/>
            </p:cNvSpPr>
            <p:nvPr/>
          </p:nvSpPr>
          <p:spPr bwMode="auto">
            <a:xfrm>
              <a:off x="6146266" y="2842244"/>
              <a:ext cx="525879" cy="48720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sp>
          <p:nvSpPr>
            <p:cNvPr id="154" name="Freeform 350">
              <a:extLst>
                <a:ext uri="{FF2B5EF4-FFF2-40B4-BE49-F238E27FC236}">
                  <a16:creationId xmlns:a16="http://schemas.microsoft.com/office/drawing/2014/main" id="{5BA937D0-C519-423F-AA2E-EC9EE4F791E6}"/>
                </a:ext>
              </a:extLst>
            </p:cNvPr>
            <p:cNvSpPr>
              <a:spLocks noEditPoints="1"/>
            </p:cNvSpPr>
            <p:nvPr/>
          </p:nvSpPr>
          <p:spPr bwMode="auto">
            <a:xfrm>
              <a:off x="6281981" y="2959805"/>
              <a:ext cx="262857" cy="28108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kern="0" dirty="0">
                <a:solidFill>
                  <a:prstClr val="black"/>
                </a:solidFill>
                <a:latin typeface="Arial" panose="020B0604020202020204" pitchFamily="34" charset="0"/>
                <a:cs typeface="Arial" panose="020B0604020202020204" pitchFamily="34" charset="0"/>
              </a:endParaRPr>
            </a:p>
          </p:txBody>
        </p:sp>
        <p:sp>
          <p:nvSpPr>
            <p:cNvPr id="155" name="Freeform 527">
              <a:extLst>
                <a:ext uri="{FF2B5EF4-FFF2-40B4-BE49-F238E27FC236}">
                  <a16:creationId xmlns:a16="http://schemas.microsoft.com/office/drawing/2014/main" id="{82BDEAEB-7E5E-42CA-907B-DD4A24367C85}"/>
                </a:ext>
              </a:extLst>
            </p:cNvPr>
            <p:cNvSpPr>
              <a:spLocks noEditPoints="1"/>
            </p:cNvSpPr>
            <p:nvPr/>
          </p:nvSpPr>
          <p:spPr bwMode="auto">
            <a:xfrm>
              <a:off x="6935912" y="3245248"/>
              <a:ext cx="358961" cy="3388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kern="0" dirty="0">
                <a:solidFill>
                  <a:prstClr val="black"/>
                </a:solidFill>
                <a:latin typeface="Arial" panose="020B0604020202020204" pitchFamily="34" charset="0"/>
                <a:cs typeface="Arial" panose="020B0604020202020204" pitchFamily="34" charset="0"/>
              </a:endParaRPr>
            </a:p>
          </p:txBody>
        </p:sp>
        <p:sp>
          <p:nvSpPr>
            <p:cNvPr id="156" name="Freeform 338">
              <a:extLst>
                <a:ext uri="{FF2B5EF4-FFF2-40B4-BE49-F238E27FC236}">
                  <a16:creationId xmlns:a16="http://schemas.microsoft.com/office/drawing/2014/main" id="{FD86C9B0-1FDF-47FC-8531-F73135986E1F}"/>
                </a:ext>
              </a:extLst>
            </p:cNvPr>
            <p:cNvSpPr>
              <a:spLocks noChangeAspect="1" noEditPoints="1"/>
            </p:cNvSpPr>
            <p:nvPr/>
          </p:nvSpPr>
          <p:spPr bwMode="auto">
            <a:xfrm>
              <a:off x="6909391" y="3925810"/>
              <a:ext cx="357951" cy="33790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ysClr val="window" lastClr="FFFFFF"/>
            </a:solidFill>
            <a:ln>
              <a:noFill/>
            </a:ln>
          </p:spPr>
          <p:txBody>
            <a:bodyPr vert="horz" wrap="square" lIns="78191" tIns="39095" rIns="78191" bIns="39095" numCol="1" anchor="t" anchorCtr="0" compatLnSpc="1">
              <a:prstTxWarp prst="textNoShape">
                <a:avLst/>
              </a:prstTxWarp>
            </a:bodyPr>
            <a:lstStyle/>
            <a:p>
              <a:pPr defTabSz="390952">
                <a:defRPr/>
              </a:pPr>
              <a:endParaRPr lang="en-GB" kern="0" dirty="0">
                <a:solidFill>
                  <a:prstClr val="black"/>
                </a:solidFill>
                <a:latin typeface="Arial" panose="020B0604020202020204" pitchFamily="34" charset="0"/>
                <a:cs typeface="Arial" panose="020B0604020202020204" pitchFamily="34" charset="0"/>
              </a:endParaRPr>
            </a:p>
          </p:txBody>
        </p:sp>
        <p:grpSp>
          <p:nvGrpSpPr>
            <p:cNvPr id="157" name="Group 156">
              <a:extLst>
                <a:ext uri="{FF2B5EF4-FFF2-40B4-BE49-F238E27FC236}">
                  <a16:creationId xmlns:a16="http://schemas.microsoft.com/office/drawing/2014/main" id="{EAB87CAC-81B8-4CE4-8570-D2ED22B16E8F}"/>
                </a:ext>
              </a:extLst>
            </p:cNvPr>
            <p:cNvGrpSpPr/>
            <p:nvPr/>
          </p:nvGrpSpPr>
          <p:grpSpPr>
            <a:xfrm>
              <a:off x="6283144" y="3090352"/>
              <a:ext cx="1229295" cy="1511907"/>
              <a:chOff x="4288080" y="2677001"/>
              <a:chExt cx="1263746" cy="1646488"/>
            </a:xfrm>
          </p:grpSpPr>
          <p:sp>
            <p:nvSpPr>
              <p:cNvPr id="160" name="Hexagon 159">
                <a:extLst>
                  <a:ext uri="{FF2B5EF4-FFF2-40B4-BE49-F238E27FC236}">
                    <a16:creationId xmlns:a16="http://schemas.microsoft.com/office/drawing/2014/main" id="{A1073411-C1B1-4109-B91D-A97CA467A91A}"/>
                  </a:ext>
                </a:extLst>
              </p:cNvPr>
              <p:cNvSpPr/>
              <p:nvPr/>
            </p:nvSpPr>
            <p:spPr bwMode="gray">
              <a:xfrm>
                <a:off x="4698597" y="2677001"/>
                <a:ext cx="853229" cy="721885"/>
              </a:xfrm>
              <a:prstGeom prst="hexagon">
                <a:avLst/>
              </a:prstGeom>
              <a:solidFill>
                <a:srgbClr val="494947"/>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61" name="Freeform 934">
                <a:extLst>
                  <a:ext uri="{FF2B5EF4-FFF2-40B4-BE49-F238E27FC236}">
                    <a16:creationId xmlns:a16="http://schemas.microsoft.com/office/drawing/2014/main" id="{C48E2455-D6FC-4789-AAA7-9C23EDE825F8}"/>
                  </a:ext>
                </a:extLst>
              </p:cNvPr>
              <p:cNvSpPr>
                <a:spLocks noEditPoints="1"/>
              </p:cNvSpPr>
              <p:nvPr/>
            </p:nvSpPr>
            <p:spPr bwMode="auto">
              <a:xfrm>
                <a:off x="4853776" y="2761254"/>
                <a:ext cx="561580" cy="55115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sp>
            <p:nvSpPr>
              <p:cNvPr id="162" name="Freeform 528">
                <a:extLst>
                  <a:ext uri="{FF2B5EF4-FFF2-40B4-BE49-F238E27FC236}">
                    <a16:creationId xmlns:a16="http://schemas.microsoft.com/office/drawing/2014/main" id="{21248CB0-3F68-4F56-AFD2-6BEB95F5EC07}"/>
                  </a:ext>
                </a:extLst>
              </p:cNvPr>
              <p:cNvSpPr>
                <a:spLocks noEditPoints="1"/>
              </p:cNvSpPr>
              <p:nvPr/>
            </p:nvSpPr>
            <p:spPr bwMode="auto">
              <a:xfrm>
                <a:off x="4288080" y="4002735"/>
                <a:ext cx="257039" cy="320754"/>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kern="0" dirty="0">
                  <a:solidFill>
                    <a:prstClr val="black"/>
                  </a:solidFill>
                  <a:latin typeface="Arial" panose="020B0604020202020204" pitchFamily="34" charset="0"/>
                  <a:cs typeface="Arial" panose="020B0604020202020204" pitchFamily="34" charset="0"/>
                </a:endParaRPr>
              </a:p>
            </p:txBody>
          </p:sp>
        </p:grpSp>
        <p:sp>
          <p:nvSpPr>
            <p:cNvPr id="158" name="Hexagon 157">
              <a:extLst>
                <a:ext uri="{FF2B5EF4-FFF2-40B4-BE49-F238E27FC236}">
                  <a16:creationId xmlns:a16="http://schemas.microsoft.com/office/drawing/2014/main" id="{D10F644F-94F4-47C7-A62D-F239256482C4}"/>
                </a:ext>
              </a:extLst>
            </p:cNvPr>
            <p:cNvSpPr/>
            <p:nvPr/>
          </p:nvSpPr>
          <p:spPr bwMode="gray">
            <a:xfrm>
              <a:off x="5300932" y="3089766"/>
              <a:ext cx="829969" cy="662878"/>
            </a:xfrm>
            <a:prstGeom prst="hexagon">
              <a:avLst/>
            </a:prstGeom>
            <a:solidFill>
              <a:srgbClr val="494947"/>
            </a:solidFill>
            <a:ln w="9525" cap="flat" cmpd="sng" algn="ctr">
              <a:noFill/>
              <a:prstDash val="solid"/>
            </a:ln>
            <a:effectLst/>
          </p:spPr>
          <p:txBody>
            <a:bodyPr lIns="78191" tIns="78191" rIns="78191" bIns="78191" rtlCol="0" anchor="ctr"/>
            <a:lstStyle/>
            <a:p>
              <a:pPr algn="ctr" defTabSz="390952">
                <a:defRPr/>
              </a:pPr>
              <a:endParaRPr lang="en-US" sz="1000" b="1" kern="0" dirty="0">
                <a:solidFill>
                  <a:prstClr val="white"/>
                </a:solidFill>
                <a:latin typeface="Arial" panose="020B0604020202020204" pitchFamily="34" charset="0"/>
                <a:cs typeface="Arial" panose="020B0604020202020204" pitchFamily="34" charset="0"/>
              </a:endParaRPr>
            </a:p>
          </p:txBody>
        </p:sp>
        <p:sp>
          <p:nvSpPr>
            <p:cNvPr id="159" name="Freeform 326">
              <a:extLst>
                <a:ext uri="{FF2B5EF4-FFF2-40B4-BE49-F238E27FC236}">
                  <a16:creationId xmlns:a16="http://schemas.microsoft.com/office/drawing/2014/main" id="{1013FDCF-4127-48A1-9FD3-91F6DA85F0F2}"/>
                </a:ext>
              </a:extLst>
            </p:cNvPr>
            <p:cNvSpPr>
              <a:spLocks noEditPoints="1"/>
            </p:cNvSpPr>
            <p:nvPr/>
          </p:nvSpPr>
          <p:spPr bwMode="auto">
            <a:xfrm>
              <a:off x="5444702" y="3160355"/>
              <a:ext cx="522497" cy="485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defTabSz="390952">
                <a:defRPr/>
              </a:pPr>
              <a:endParaRPr lang="en-GB" sz="1000" kern="0" dirty="0">
                <a:solidFill>
                  <a:prstClr val="black"/>
                </a:solidFill>
                <a:latin typeface="Arial" panose="020B0604020202020204" pitchFamily="34" charset="0"/>
                <a:cs typeface="Arial" panose="020B0604020202020204" pitchFamily="34" charset="0"/>
              </a:endParaRPr>
            </a:p>
          </p:txBody>
        </p:sp>
        <p:pic>
          <p:nvPicPr>
            <p:cNvPr id="201" name="Graphic 200" descr="Users">
              <a:extLst>
                <a:ext uri="{FF2B5EF4-FFF2-40B4-BE49-F238E27FC236}">
                  <a16:creationId xmlns:a16="http://schemas.microsoft.com/office/drawing/2014/main" id="{D59D89C0-58D7-47D0-B8BD-890615D552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15432" y="3197931"/>
              <a:ext cx="414992" cy="420101"/>
            </a:xfrm>
            <a:prstGeom prst="rect">
              <a:avLst/>
            </a:prstGeom>
          </p:spPr>
        </p:pic>
        <p:pic>
          <p:nvPicPr>
            <p:cNvPr id="202" name="Graphic 201" descr="Statistics">
              <a:extLst>
                <a:ext uri="{FF2B5EF4-FFF2-40B4-BE49-F238E27FC236}">
                  <a16:creationId xmlns:a16="http://schemas.microsoft.com/office/drawing/2014/main" id="{F12722BE-7198-4FD2-A5D3-9FF0AC0D5BC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561310" y="3914768"/>
              <a:ext cx="351734" cy="356064"/>
            </a:xfrm>
            <a:prstGeom prst="rect">
              <a:avLst/>
            </a:prstGeom>
          </p:spPr>
        </p:pic>
        <p:pic>
          <p:nvPicPr>
            <p:cNvPr id="203" name="Graphic 202" descr="Venn diagram">
              <a:extLst>
                <a:ext uri="{FF2B5EF4-FFF2-40B4-BE49-F238E27FC236}">
                  <a16:creationId xmlns:a16="http://schemas.microsoft.com/office/drawing/2014/main" id="{D7C601BB-0A4C-4607-AEF2-47FD7D8E742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860333" y="3146680"/>
              <a:ext cx="501635" cy="507811"/>
            </a:xfrm>
            <a:prstGeom prst="rect">
              <a:avLst/>
            </a:prstGeom>
          </p:spPr>
        </p:pic>
      </p:grpSp>
      <p:sp>
        <p:nvSpPr>
          <p:cNvPr id="69" name="Rectangle 68">
            <a:extLst>
              <a:ext uri="{FF2B5EF4-FFF2-40B4-BE49-F238E27FC236}">
                <a16:creationId xmlns:a16="http://schemas.microsoft.com/office/drawing/2014/main" id="{819A3F10-1A93-40E6-BFD0-D9D8FBFA6BED}"/>
              </a:ext>
            </a:extLst>
          </p:cNvPr>
          <p:cNvSpPr/>
          <p:nvPr/>
        </p:nvSpPr>
        <p:spPr>
          <a:xfrm>
            <a:off x="1790278" y="6563202"/>
            <a:ext cx="5348506" cy="201274"/>
          </a:xfrm>
          <a:prstGeom prst="rect">
            <a:avLst/>
          </a:prstGeom>
          <a:noFill/>
          <a:ln w="6350">
            <a:noFill/>
          </a:ln>
        </p:spPr>
        <p:txBody>
          <a:bodyPr wrap="square" lIns="0" tIns="0" rIns="31276" bIns="0">
            <a:spAutoFit/>
          </a:bodyPr>
          <a:lstStyle/>
          <a:p>
            <a:pPr marL="46154" algn="just" defTabSz="390952">
              <a:lnSpc>
                <a:spcPct val="120000"/>
              </a:lnSpc>
              <a:spcBef>
                <a:spcPts val="171"/>
              </a:spcBef>
              <a:spcAft>
                <a:spcPts val="171"/>
              </a:spcAft>
              <a:defRPr/>
            </a:pPr>
            <a:r>
              <a:rPr lang="en-US" sz="1200" kern="0" dirty="0">
                <a:solidFill>
                  <a:prstClr val="black"/>
                </a:solidFill>
                <a:latin typeface="Arial" panose="020B0604020202020204" pitchFamily="34" charset="0"/>
                <a:cs typeface="Arial" panose="020B0604020202020204" pitchFamily="34" charset="0"/>
              </a:rPr>
              <a:t>*Risks illustrated above might not be exhaustive and / or comprehensive </a:t>
            </a:r>
          </a:p>
        </p:txBody>
      </p:sp>
      <p:sp>
        <p:nvSpPr>
          <p:cNvPr id="71" name="Rectangle 70">
            <a:extLst>
              <a:ext uri="{FF2B5EF4-FFF2-40B4-BE49-F238E27FC236}">
                <a16:creationId xmlns:a16="http://schemas.microsoft.com/office/drawing/2014/main" id="{71DFDDEE-6BA0-42AE-B4C4-EB3FA8B37719}"/>
              </a:ext>
            </a:extLst>
          </p:cNvPr>
          <p:cNvSpPr/>
          <p:nvPr/>
        </p:nvSpPr>
        <p:spPr bwMode="auto">
          <a:xfrm>
            <a:off x="9067800" y="6479429"/>
            <a:ext cx="2914147" cy="299174"/>
          </a:xfrm>
          <a:prstGeom prst="rect">
            <a:avLst/>
          </a:prstGeom>
          <a:solidFill>
            <a:schemeClr val="bg1"/>
          </a:solidFill>
          <a:ln w="19050" cap="flat" cmpd="sng" algn="ctr">
            <a:solidFill>
              <a:srgbClr val="FF0000"/>
            </a:solidFill>
            <a:prstDash val="lgDashDot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rPr>
              <a:t>Risks covered in today</a:t>
            </a:r>
            <a:r>
              <a:rPr lang="en-US" sz="1400" dirty="0">
                <a:latin typeface="Arial" pitchFamily="34" charset="0"/>
              </a:rPr>
              <a:t>’s session</a:t>
            </a:r>
            <a:endParaRPr kumimoji="0" lang="en-IN" sz="1400" b="0" i="0" u="none" strike="noStrike" cap="none" normalizeH="0" baseline="0" dirty="0">
              <a:ln>
                <a:noFill/>
              </a:ln>
              <a:solidFill>
                <a:schemeClr val="tx1"/>
              </a:solidFill>
              <a:effectLst/>
              <a:latin typeface="Arial" pitchFamily="34" charset="0"/>
            </a:endParaRPr>
          </a:p>
        </p:txBody>
      </p:sp>
    </p:spTree>
    <p:extLst>
      <p:ext uri="{BB962C8B-B14F-4D97-AF65-F5344CB8AC3E}">
        <p14:creationId xmlns:p14="http://schemas.microsoft.com/office/powerpoint/2010/main" val="920433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4100" y="88402"/>
            <a:ext cx="80057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Definition, components and impact of IRRBB</a:t>
            </a:r>
          </a:p>
          <a:p>
            <a:pPr algn="l"/>
            <a:endParaRPr lang="en-US" altLang="en-US" sz="2800" b="1" dirty="0">
              <a:solidFill>
                <a:srgbClr val="C00000"/>
              </a:solidFill>
              <a:latin typeface="Arial"/>
              <a:cs typeface="Arial"/>
            </a:endParaRPr>
          </a:p>
        </p:txBody>
      </p:sp>
      <p:grpSp>
        <p:nvGrpSpPr>
          <p:cNvPr id="68" name="Group 67">
            <a:extLst>
              <a:ext uri="{FF2B5EF4-FFF2-40B4-BE49-F238E27FC236}">
                <a16:creationId xmlns:a16="http://schemas.microsoft.com/office/drawing/2014/main" id="{26FCACDA-CA81-4B42-996D-72D189EF72E1}"/>
              </a:ext>
            </a:extLst>
          </p:cNvPr>
          <p:cNvGrpSpPr/>
          <p:nvPr/>
        </p:nvGrpSpPr>
        <p:grpSpPr>
          <a:xfrm>
            <a:off x="1905000" y="762000"/>
            <a:ext cx="8686800" cy="914400"/>
            <a:chOff x="464509" y="985778"/>
            <a:chExt cx="8153482" cy="1243874"/>
          </a:xfrm>
        </p:grpSpPr>
        <p:sp>
          <p:nvSpPr>
            <p:cNvPr id="70" name="Rectangle: Rounded Corners 69">
              <a:extLst>
                <a:ext uri="{FF2B5EF4-FFF2-40B4-BE49-F238E27FC236}">
                  <a16:creationId xmlns:a16="http://schemas.microsoft.com/office/drawing/2014/main" id="{F2F5739E-3215-4BE8-9CD1-51A7B0CE9919}"/>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B0D97D00-9D0E-4890-878D-F1A2AFD3322F}"/>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lnSpc>
                  <a:spcPct val="106000"/>
                </a:lnSpc>
                <a:defRPr/>
              </a:pPr>
              <a:r>
                <a:rPr lang="en-US" sz="1200" b="1" kern="0" dirty="0">
                  <a:solidFill>
                    <a:srgbClr val="44546A"/>
                  </a:solidFill>
                  <a:latin typeface="Arial" panose="020B0604020202020204" pitchFamily="34" charset="0"/>
                  <a:cs typeface="Arial" panose="020B0604020202020204" pitchFamily="34" charset="0"/>
                </a:rPr>
                <a:t>“</a:t>
              </a:r>
              <a:r>
                <a:rPr lang="en-US" sz="1200" b="1" i="1" kern="0" dirty="0">
                  <a:solidFill>
                    <a:srgbClr val="44546A"/>
                  </a:solidFill>
                  <a:latin typeface="Arial" panose="020B0604020202020204" pitchFamily="34" charset="0"/>
                  <a:cs typeface="Arial" panose="020B0604020202020204" pitchFamily="34" charset="0"/>
                </a:rPr>
                <a:t>Interest rate risk in the banking book (IRRBB) refers to the current or prospective risk to a bank’s capital and to its earnings, arising from the impact of adverse movements in interest rates on its banking book.” </a:t>
              </a:r>
            </a:p>
            <a:p>
              <a:pPr lvl="0" algn="just">
                <a:lnSpc>
                  <a:spcPct val="106000"/>
                </a:lnSpc>
                <a:defRPr/>
              </a:pPr>
              <a:r>
                <a:rPr lang="en-US" sz="1200" kern="0" dirty="0">
                  <a:solidFill>
                    <a:srgbClr val="44546A"/>
                  </a:solidFill>
                  <a:latin typeface="Arial" panose="020B0604020202020204" pitchFamily="34" charset="0"/>
                  <a:cs typeface="Arial" panose="020B0604020202020204" pitchFamily="34" charset="0"/>
                </a:rPr>
                <a:t>– Basel Committee on Banking Supervision </a:t>
              </a:r>
            </a:p>
          </p:txBody>
        </p:sp>
      </p:grpSp>
      <p:grpSp>
        <p:nvGrpSpPr>
          <p:cNvPr id="8" name="Group 7">
            <a:extLst>
              <a:ext uri="{FF2B5EF4-FFF2-40B4-BE49-F238E27FC236}">
                <a16:creationId xmlns:a16="http://schemas.microsoft.com/office/drawing/2014/main" id="{342A4A9D-A632-4004-82F3-E3ADF8C597F1}"/>
              </a:ext>
            </a:extLst>
          </p:cNvPr>
          <p:cNvGrpSpPr/>
          <p:nvPr/>
        </p:nvGrpSpPr>
        <p:grpSpPr>
          <a:xfrm>
            <a:off x="1877907" y="1842584"/>
            <a:ext cx="10252846" cy="4863015"/>
            <a:chOff x="1877907" y="1842585"/>
            <a:chExt cx="10252846" cy="4099676"/>
          </a:xfrm>
        </p:grpSpPr>
        <p:grpSp>
          <p:nvGrpSpPr>
            <p:cNvPr id="5" name="Group 4">
              <a:extLst>
                <a:ext uri="{FF2B5EF4-FFF2-40B4-BE49-F238E27FC236}">
                  <a16:creationId xmlns:a16="http://schemas.microsoft.com/office/drawing/2014/main" id="{29C063F2-6DE7-4929-A742-688026011028}"/>
                </a:ext>
              </a:extLst>
            </p:cNvPr>
            <p:cNvGrpSpPr/>
            <p:nvPr/>
          </p:nvGrpSpPr>
          <p:grpSpPr>
            <a:xfrm>
              <a:off x="1927106" y="3999222"/>
              <a:ext cx="10203647" cy="811654"/>
              <a:chOff x="1835953" y="1855346"/>
              <a:chExt cx="10287000" cy="1309452"/>
            </a:xfrm>
          </p:grpSpPr>
          <p:sp>
            <p:nvSpPr>
              <p:cNvPr id="75" name="Rectangle 74">
                <a:extLst>
                  <a:ext uri="{FF2B5EF4-FFF2-40B4-BE49-F238E27FC236}">
                    <a16:creationId xmlns:a16="http://schemas.microsoft.com/office/drawing/2014/main" id="{BB865211-CE38-478D-B15E-AF84F8081E4F}"/>
                  </a:ext>
                </a:extLst>
              </p:cNvPr>
              <p:cNvSpPr/>
              <p:nvPr/>
            </p:nvSpPr>
            <p:spPr>
              <a:xfrm>
                <a:off x="1846586" y="2438400"/>
                <a:ext cx="4789967" cy="726398"/>
              </a:xfrm>
              <a:prstGeom prst="rect">
                <a:avLst/>
              </a:prstGeom>
              <a:solidFill>
                <a:srgbClr val="4F81BD">
                  <a:lumMod val="60000"/>
                  <a:lumOff val="40000"/>
                </a:srgbClr>
              </a:solidFill>
              <a:ln w="25400" cap="flat" cmpd="sng" algn="ctr">
                <a:solidFill>
                  <a:sysClr val="windowText" lastClr="000000"/>
                </a:solidFill>
                <a:prstDash val="solid"/>
              </a:ln>
              <a:effectLst/>
            </p:spPr>
            <p:txBody>
              <a:bodyPr rtlCol="0" anchor="ctr"/>
              <a:lstStyle/>
              <a:p>
                <a:pPr algn="ctr">
                  <a:defRPr/>
                </a:pPr>
                <a:r>
                  <a:rPr lang="en-IN" sz="1400" b="1" kern="0" dirty="0">
                    <a:solidFill>
                      <a:prstClr val="white"/>
                    </a:solidFill>
                    <a:latin typeface="Arial" panose="020B0604020202020204" pitchFamily="34" charset="0"/>
                    <a:cs typeface="Arial" panose="020B0604020202020204" pitchFamily="34" charset="0"/>
                  </a:rPr>
                  <a:t>Impact on Economic Value</a:t>
                </a:r>
              </a:p>
            </p:txBody>
          </p:sp>
          <p:sp>
            <p:nvSpPr>
              <p:cNvPr id="76" name="Rectangle 75">
                <a:extLst>
                  <a:ext uri="{FF2B5EF4-FFF2-40B4-BE49-F238E27FC236}">
                    <a16:creationId xmlns:a16="http://schemas.microsoft.com/office/drawing/2014/main" id="{92D203AC-1BDE-4635-9E47-CFF1231C9712}"/>
                  </a:ext>
                </a:extLst>
              </p:cNvPr>
              <p:cNvSpPr/>
              <p:nvPr/>
            </p:nvSpPr>
            <p:spPr>
              <a:xfrm>
                <a:off x="6968820" y="2438400"/>
                <a:ext cx="5077855" cy="726398"/>
              </a:xfrm>
              <a:prstGeom prst="rect">
                <a:avLst/>
              </a:prstGeom>
              <a:solidFill>
                <a:srgbClr val="4F81BD">
                  <a:lumMod val="60000"/>
                  <a:lumOff val="40000"/>
                </a:srgbClr>
              </a:solidFill>
              <a:ln w="25400" cap="flat" cmpd="sng" algn="ctr">
                <a:solidFill>
                  <a:sysClr val="windowText" lastClr="000000"/>
                </a:solidFill>
                <a:prstDash val="solid"/>
              </a:ln>
              <a:effectLst/>
            </p:spPr>
            <p:txBody>
              <a:bodyPr rtlCol="0" anchor="ctr"/>
              <a:lstStyle/>
              <a:p>
                <a:pPr algn="ctr">
                  <a:defRPr/>
                </a:pPr>
                <a:r>
                  <a:rPr lang="en-IN" sz="1400" b="1" kern="0" dirty="0">
                    <a:solidFill>
                      <a:prstClr val="white"/>
                    </a:solidFill>
                    <a:latin typeface="Arial" panose="020B0604020202020204" pitchFamily="34" charset="0"/>
                    <a:cs typeface="Arial" panose="020B0604020202020204" pitchFamily="34" charset="0"/>
                  </a:rPr>
                  <a:t>Impact on Earnings </a:t>
                </a:r>
              </a:p>
            </p:txBody>
          </p:sp>
          <p:sp>
            <p:nvSpPr>
              <p:cNvPr id="77" name="Rectangle 76">
                <a:extLst>
                  <a:ext uri="{FF2B5EF4-FFF2-40B4-BE49-F238E27FC236}">
                    <a16:creationId xmlns:a16="http://schemas.microsoft.com/office/drawing/2014/main" id="{EE46CD56-FB4D-4D4E-A145-08A7C0B80CAD}"/>
                  </a:ext>
                </a:extLst>
              </p:cNvPr>
              <p:cNvSpPr/>
              <p:nvPr/>
            </p:nvSpPr>
            <p:spPr>
              <a:xfrm>
                <a:off x="1835953" y="1855346"/>
                <a:ext cx="10287000" cy="381000"/>
              </a:xfrm>
              <a:prstGeom prst="rect">
                <a:avLst/>
              </a:prstGeom>
              <a:solidFill>
                <a:schemeClr val="tx1"/>
              </a:solidFill>
              <a:ln w="25400" cap="flat" cmpd="sng" algn="ctr">
                <a:solidFill>
                  <a:sysClr val="windowText" lastClr="000000"/>
                </a:solidFill>
                <a:prstDash val="solid"/>
              </a:ln>
              <a:effectLst/>
            </p:spPr>
            <p:txBody>
              <a:bodyPr rtlCol="0" anchor="ctr"/>
              <a:lstStyle/>
              <a:p>
                <a:pPr algn="ctr">
                  <a:defRPr/>
                </a:pPr>
                <a:r>
                  <a:rPr lang="en-IN" sz="1600" b="1" kern="0" dirty="0">
                    <a:solidFill>
                      <a:prstClr val="white"/>
                    </a:solidFill>
                    <a:latin typeface="Arial" panose="020B0604020202020204" pitchFamily="34" charset="0"/>
                    <a:cs typeface="Arial" panose="020B0604020202020204" pitchFamily="34" charset="0"/>
                  </a:rPr>
                  <a:t>Impact of IRRBB on Banks </a:t>
                </a:r>
              </a:p>
            </p:txBody>
          </p:sp>
        </p:grpSp>
        <p:grpSp>
          <p:nvGrpSpPr>
            <p:cNvPr id="78" name="Group 77">
              <a:extLst>
                <a:ext uri="{FF2B5EF4-FFF2-40B4-BE49-F238E27FC236}">
                  <a16:creationId xmlns:a16="http://schemas.microsoft.com/office/drawing/2014/main" id="{E3D6B115-C715-4B60-8735-BE6999FEDB95}"/>
                </a:ext>
              </a:extLst>
            </p:cNvPr>
            <p:cNvGrpSpPr/>
            <p:nvPr/>
          </p:nvGrpSpPr>
          <p:grpSpPr>
            <a:xfrm>
              <a:off x="1996153" y="4977061"/>
              <a:ext cx="4692655" cy="914400"/>
              <a:chOff x="464509" y="985778"/>
              <a:chExt cx="8153482" cy="1243874"/>
            </a:xfrm>
          </p:grpSpPr>
          <p:sp>
            <p:nvSpPr>
              <p:cNvPr id="79" name="Rectangle: Rounded Corners 78">
                <a:extLst>
                  <a:ext uri="{FF2B5EF4-FFF2-40B4-BE49-F238E27FC236}">
                    <a16:creationId xmlns:a16="http://schemas.microsoft.com/office/drawing/2014/main" id="{AECB069F-A9E2-4C87-B8DD-3AED5E1E887C}"/>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0" name="Rectangle 79">
                <a:extLst>
                  <a:ext uri="{FF2B5EF4-FFF2-40B4-BE49-F238E27FC236}">
                    <a16:creationId xmlns:a16="http://schemas.microsoft.com/office/drawing/2014/main" id="{FEF3B6CA-0AE7-403C-B2F3-B5D178D263D9}"/>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Change in future cashflows for floating rate exposures </a:t>
                </a:r>
              </a:p>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Change in present value of future cash flows for all positions</a:t>
                </a:r>
              </a:p>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Impact on economic value of the bank’s assets, liabilities and off-balance sheet instruments</a:t>
                </a:r>
              </a:p>
            </p:txBody>
          </p:sp>
        </p:grpSp>
        <p:grpSp>
          <p:nvGrpSpPr>
            <p:cNvPr id="81" name="Group 80">
              <a:extLst>
                <a:ext uri="{FF2B5EF4-FFF2-40B4-BE49-F238E27FC236}">
                  <a16:creationId xmlns:a16="http://schemas.microsoft.com/office/drawing/2014/main" id="{BECC1806-E5E6-44FA-8FAE-85C56611CD4C}"/>
                </a:ext>
              </a:extLst>
            </p:cNvPr>
            <p:cNvGrpSpPr/>
            <p:nvPr/>
          </p:nvGrpSpPr>
          <p:grpSpPr>
            <a:xfrm>
              <a:off x="7028929" y="5027861"/>
              <a:ext cx="5026164" cy="914400"/>
              <a:chOff x="464509" y="985778"/>
              <a:chExt cx="8153482" cy="1243874"/>
            </a:xfrm>
          </p:grpSpPr>
          <p:sp>
            <p:nvSpPr>
              <p:cNvPr id="82" name="Rectangle: Rounded Corners 81">
                <a:extLst>
                  <a:ext uri="{FF2B5EF4-FFF2-40B4-BE49-F238E27FC236}">
                    <a16:creationId xmlns:a16="http://schemas.microsoft.com/office/drawing/2014/main" id="{CAF00323-AC30-4B8F-9E67-561232F8F711}"/>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3" name="Rectangle 82">
                <a:extLst>
                  <a:ext uri="{FF2B5EF4-FFF2-40B4-BE49-F238E27FC236}">
                    <a16:creationId xmlns:a16="http://schemas.microsoft.com/office/drawing/2014/main" id="{4360C7BC-3B0C-4953-A7E8-9FBFF5712824}"/>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Change in interest income and expense </a:t>
                </a:r>
              </a:p>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Change in interest rate sensitive operating income and expense </a:t>
                </a:r>
              </a:p>
              <a:p>
                <a:pPr marL="171450" indent="-171450" algn="just">
                  <a:lnSpc>
                    <a:spcPct val="106000"/>
                  </a:lnSpc>
                  <a:buFont typeface="Arial" panose="020B0604020202020204" pitchFamily="34" charset="0"/>
                  <a:buChar char="•"/>
                  <a:defRPr/>
                </a:pPr>
                <a:r>
                  <a:rPr lang="en-US" sz="1200" kern="0" dirty="0">
                    <a:solidFill>
                      <a:srgbClr val="44546A"/>
                    </a:solidFill>
                    <a:latin typeface="Arial" panose="020B0604020202020204" pitchFamily="34" charset="0"/>
                    <a:cs typeface="Arial" panose="020B0604020202020204" pitchFamily="34" charset="0"/>
                  </a:rPr>
                  <a:t>Impact on NII and overall income of bank </a:t>
                </a:r>
              </a:p>
            </p:txBody>
          </p:sp>
        </p:grpSp>
        <p:sp>
          <p:nvSpPr>
            <p:cNvPr id="87" name="Rectangle 86">
              <a:extLst>
                <a:ext uri="{FF2B5EF4-FFF2-40B4-BE49-F238E27FC236}">
                  <a16:creationId xmlns:a16="http://schemas.microsoft.com/office/drawing/2014/main" id="{F2854168-6018-470F-859B-D526F1327964}"/>
                </a:ext>
              </a:extLst>
            </p:cNvPr>
            <p:cNvSpPr/>
            <p:nvPr/>
          </p:nvSpPr>
          <p:spPr>
            <a:xfrm>
              <a:off x="1877907" y="1842585"/>
              <a:ext cx="10203647" cy="236160"/>
            </a:xfrm>
            <a:prstGeom prst="rect">
              <a:avLst/>
            </a:prstGeom>
            <a:solidFill>
              <a:schemeClr val="tx1"/>
            </a:solidFill>
            <a:ln w="25400" cap="flat" cmpd="sng" algn="ctr">
              <a:solidFill>
                <a:sysClr val="windowText" lastClr="000000"/>
              </a:solidFill>
              <a:prstDash val="solid"/>
            </a:ln>
            <a:effectLst/>
          </p:spPr>
          <p:txBody>
            <a:bodyPr rtlCol="0" anchor="ctr"/>
            <a:lstStyle/>
            <a:p>
              <a:pPr algn="ctr">
                <a:defRPr/>
              </a:pPr>
              <a:r>
                <a:rPr lang="en-IN" sz="1600" b="1" kern="0" dirty="0">
                  <a:solidFill>
                    <a:prstClr val="white"/>
                  </a:solidFill>
                  <a:latin typeface="Arial" panose="020B0604020202020204" pitchFamily="34" charset="0"/>
                  <a:cs typeface="Arial" panose="020B0604020202020204" pitchFamily="34" charset="0"/>
                </a:rPr>
                <a:t>Components of IRRBB</a:t>
              </a:r>
            </a:p>
          </p:txBody>
        </p:sp>
        <p:grpSp>
          <p:nvGrpSpPr>
            <p:cNvPr id="7" name="Group 6">
              <a:extLst>
                <a:ext uri="{FF2B5EF4-FFF2-40B4-BE49-F238E27FC236}">
                  <a16:creationId xmlns:a16="http://schemas.microsoft.com/office/drawing/2014/main" id="{1E71C5F4-7D68-4D3B-A763-B2ED8AE864B1}"/>
                </a:ext>
              </a:extLst>
            </p:cNvPr>
            <p:cNvGrpSpPr/>
            <p:nvPr/>
          </p:nvGrpSpPr>
          <p:grpSpPr>
            <a:xfrm>
              <a:off x="1888454" y="2203987"/>
              <a:ext cx="10203647" cy="1587806"/>
              <a:chOff x="1888454" y="2203987"/>
              <a:chExt cx="10377092" cy="1587806"/>
            </a:xfrm>
          </p:grpSpPr>
          <p:sp>
            <p:nvSpPr>
              <p:cNvPr id="85" name="Rectangle 84">
                <a:extLst>
                  <a:ext uri="{FF2B5EF4-FFF2-40B4-BE49-F238E27FC236}">
                    <a16:creationId xmlns:a16="http://schemas.microsoft.com/office/drawing/2014/main" id="{0835D4CB-1B1D-44F1-AE8B-12236A3F9998}"/>
                  </a:ext>
                </a:extLst>
              </p:cNvPr>
              <p:cNvSpPr/>
              <p:nvPr/>
            </p:nvSpPr>
            <p:spPr>
              <a:xfrm>
                <a:off x="1888454" y="2203987"/>
                <a:ext cx="3192507" cy="450252"/>
              </a:xfrm>
              <a:prstGeom prst="rect">
                <a:avLst/>
              </a:prstGeom>
              <a:solidFill>
                <a:srgbClr val="1F497D"/>
              </a:solidFill>
              <a:ln w="25400" cap="flat" cmpd="sng" algn="ctr">
                <a:solidFill>
                  <a:sysClr val="windowText" lastClr="000000"/>
                </a:solidFill>
                <a:prstDash val="solid"/>
              </a:ln>
              <a:effectLst/>
            </p:spPr>
            <p:txBody>
              <a:bodyPr rtlCol="0" anchor="ctr"/>
              <a:lstStyle/>
              <a:p>
                <a:pPr algn="ctr"/>
                <a:r>
                  <a:rPr lang="en-IN" sz="1400" b="1" kern="0" dirty="0">
                    <a:solidFill>
                      <a:prstClr val="white"/>
                    </a:solidFill>
                    <a:latin typeface="Arial" panose="020B0604020202020204" pitchFamily="34" charset="0"/>
                    <a:cs typeface="Arial" panose="020B0604020202020204" pitchFamily="34" charset="0"/>
                  </a:rPr>
                  <a:t>Gap Risk </a:t>
                </a:r>
              </a:p>
            </p:txBody>
          </p:sp>
          <p:sp>
            <p:nvSpPr>
              <p:cNvPr id="86" name="Rectangle 85">
                <a:extLst>
                  <a:ext uri="{FF2B5EF4-FFF2-40B4-BE49-F238E27FC236}">
                    <a16:creationId xmlns:a16="http://schemas.microsoft.com/office/drawing/2014/main" id="{52BA3AA5-68DF-4361-BD20-435C233529D2}"/>
                  </a:ext>
                </a:extLst>
              </p:cNvPr>
              <p:cNvSpPr/>
              <p:nvPr/>
            </p:nvSpPr>
            <p:spPr>
              <a:xfrm>
                <a:off x="5302416" y="2203987"/>
                <a:ext cx="3384384" cy="450252"/>
              </a:xfrm>
              <a:prstGeom prst="rect">
                <a:avLst/>
              </a:prstGeom>
              <a:solidFill>
                <a:srgbClr val="1F497D"/>
              </a:solidFill>
              <a:ln w="25400" cap="flat" cmpd="sng" algn="ctr">
                <a:solidFill>
                  <a:sysClr val="windowText" lastClr="000000"/>
                </a:solidFill>
                <a:prstDash val="solid"/>
              </a:ln>
              <a:effectLst/>
            </p:spPr>
            <p:txBody>
              <a:bodyPr rtlCol="0" anchor="ctr"/>
              <a:lstStyle/>
              <a:p>
                <a:pPr algn="ctr">
                  <a:defRPr/>
                </a:pPr>
                <a:r>
                  <a:rPr lang="en-IN" sz="1400" b="1" kern="0" dirty="0">
                    <a:solidFill>
                      <a:prstClr val="white"/>
                    </a:solidFill>
                    <a:latin typeface="Arial" panose="020B0604020202020204" pitchFamily="34" charset="0"/>
                    <a:cs typeface="Arial" panose="020B0604020202020204" pitchFamily="34" charset="0"/>
                  </a:rPr>
                  <a:t>Basis Risk </a:t>
                </a:r>
              </a:p>
            </p:txBody>
          </p:sp>
          <p:grpSp>
            <p:nvGrpSpPr>
              <p:cNvPr id="88" name="Group 87">
                <a:extLst>
                  <a:ext uri="{FF2B5EF4-FFF2-40B4-BE49-F238E27FC236}">
                    <a16:creationId xmlns:a16="http://schemas.microsoft.com/office/drawing/2014/main" id="{1D77A51C-E0C3-44DD-A3C0-7F0388C89C0A}"/>
                  </a:ext>
                </a:extLst>
              </p:cNvPr>
              <p:cNvGrpSpPr/>
              <p:nvPr/>
            </p:nvGrpSpPr>
            <p:grpSpPr>
              <a:xfrm>
                <a:off x="1927763" y="2820423"/>
                <a:ext cx="3153198" cy="965200"/>
                <a:chOff x="464509" y="985777"/>
                <a:chExt cx="8153482" cy="1312978"/>
              </a:xfrm>
            </p:grpSpPr>
            <p:sp>
              <p:nvSpPr>
                <p:cNvPr id="89" name="Rectangle: Rounded Corners 88">
                  <a:extLst>
                    <a:ext uri="{FF2B5EF4-FFF2-40B4-BE49-F238E27FC236}">
                      <a16:creationId xmlns:a16="http://schemas.microsoft.com/office/drawing/2014/main" id="{0DD01D34-8BC9-4D31-A0A2-8C885F108E08}"/>
                    </a:ext>
                  </a:extLst>
                </p:cNvPr>
                <p:cNvSpPr/>
                <p:nvPr/>
              </p:nvSpPr>
              <p:spPr bwMode="gray">
                <a:xfrm>
                  <a:off x="464509" y="985777"/>
                  <a:ext cx="8153482" cy="1312978"/>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0" name="Rectangle 89">
                  <a:extLst>
                    <a:ext uri="{FF2B5EF4-FFF2-40B4-BE49-F238E27FC236}">
                      <a16:creationId xmlns:a16="http://schemas.microsoft.com/office/drawing/2014/main" id="{DD9EA35A-3E46-4EC1-BA4B-1674A18B92DD}"/>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lgn="just">
                    <a:lnSpc>
                      <a:spcPct val="106000"/>
                    </a:lnSpc>
                    <a:buFont typeface="Arial" panose="020B0604020202020204" pitchFamily="34" charset="0"/>
                    <a:buChar char="•"/>
                    <a:defRPr/>
                  </a:pPr>
                  <a:endParaRPr lang="en-US" sz="1200" kern="0" dirty="0">
                    <a:solidFill>
                      <a:srgbClr val="44546A"/>
                    </a:solidFill>
                    <a:latin typeface="Arial" panose="020B0604020202020204" pitchFamily="34" charset="0"/>
                    <a:cs typeface="Arial" panose="020B0604020202020204" pitchFamily="34" charset="0"/>
                  </a:endParaRPr>
                </a:p>
              </p:txBody>
            </p:sp>
          </p:grpSp>
          <p:grpSp>
            <p:nvGrpSpPr>
              <p:cNvPr id="91" name="Group 90">
                <a:extLst>
                  <a:ext uri="{FF2B5EF4-FFF2-40B4-BE49-F238E27FC236}">
                    <a16:creationId xmlns:a16="http://schemas.microsoft.com/office/drawing/2014/main" id="{26CD9BFF-EC42-4D69-B35C-2E16894219FF}"/>
                  </a:ext>
                </a:extLst>
              </p:cNvPr>
              <p:cNvGrpSpPr/>
              <p:nvPr/>
            </p:nvGrpSpPr>
            <p:grpSpPr>
              <a:xfrm>
                <a:off x="5309503" y="2871224"/>
                <a:ext cx="3377297" cy="914400"/>
                <a:chOff x="464509" y="985778"/>
                <a:chExt cx="8153482" cy="1243874"/>
              </a:xfrm>
            </p:grpSpPr>
            <p:sp>
              <p:nvSpPr>
                <p:cNvPr id="92" name="Rectangle: Rounded Corners 91">
                  <a:extLst>
                    <a:ext uri="{FF2B5EF4-FFF2-40B4-BE49-F238E27FC236}">
                      <a16:creationId xmlns:a16="http://schemas.microsoft.com/office/drawing/2014/main" id="{F8BECB66-E418-42C8-AA7C-18CD9ABC9339}"/>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3" name="Rectangle 92">
                  <a:extLst>
                    <a:ext uri="{FF2B5EF4-FFF2-40B4-BE49-F238E27FC236}">
                      <a16:creationId xmlns:a16="http://schemas.microsoft.com/office/drawing/2014/main" id="{26F25064-334A-4ECE-B1B0-3115BBE34C27}"/>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lgn="just">
                    <a:lnSpc>
                      <a:spcPct val="106000"/>
                    </a:lnSpc>
                    <a:buFont typeface="Arial" panose="020B0604020202020204" pitchFamily="34" charset="0"/>
                    <a:buChar char="•"/>
                    <a:defRPr/>
                  </a:pPr>
                  <a:endParaRPr lang="en-US" sz="1200" kern="0" dirty="0">
                    <a:solidFill>
                      <a:srgbClr val="44546A"/>
                    </a:solidFill>
                    <a:latin typeface="Arial" panose="020B0604020202020204" pitchFamily="34" charset="0"/>
                    <a:cs typeface="Arial" panose="020B0604020202020204" pitchFamily="34" charset="0"/>
                  </a:endParaRPr>
                </a:p>
              </p:txBody>
            </p:sp>
          </p:grpSp>
          <p:sp>
            <p:nvSpPr>
              <p:cNvPr id="95" name="Rectangle 94">
                <a:extLst>
                  <a:ext uri="{FF2B5EF4-FFF2-40B4-BE49-F238E27FC236}">
                    <a16:creationId xmlns:a16="http://schemas.microsoft.com/office/drawing/2014/main" id="{3065046A-5868-484F-8150-AEFBCD54E689}"/>
                  </a:ext>
                </a:extLst>
              </p:cNvPr>
              <p:cNvSpPr/>
              <p:nvPr/>
            </p:nvSpPr>
            <p:spPr>
              <a:xfrm>
                <a:off x="8881162" y="2210156"/>
                <a:ext cx="3384384" cy="450252"/>
              </a:xfrm>
              <a:prstGeom prst="rect">
                <a:avLst/>
              </a:prstGeom>
              <a:solidFill>
                <a:srgbClr val="1F497D"/>
              </a:solidFill>
              <a:ln w="25400" cap="flat" cmpd="sng" algn="ctr">
                <a:solidFill>
                  <a:sysClr val="windowText" lastClr="000000"/>
                </a:solidFill>
                <a:prstDash val="solid"/>
              </a:ln>
              <a:effectLst/>
            </p:spPr>
            <p:txBody>
              <a:bodyPr rtlCol="0" anchor="ctr"/>
              <a:lstStyle/>
              <a:p>
                <a:pPr algn="ctr">
                  <a:defRPr/>
                </a:pPr>
                <a:r>
                  <a:rPr lang="en-IN" sz="1400" b="1" kern="0" dirty="0">
                    <a:solidFill>
                      <a:prstClr val="white"/>
                    </a:solidFill>
                    <a:latin typeface="Arial" panose="020B0604020202020204" pitchFamily="34" charset="0"/>
                    <a:cs typeface="Arial" panose="020B0604020202020204" pitchFamily="34" charset="0"/>
                  </a:rPr>
                  <a:t>Option Risk </a:t>
                </a:r>
              </a:p>
            </p:txBody>
          </p:sp>
          <p:grpSp>
            <p:nvGrpSpPr>
              <p:cNvPr id="96" name="Group 95">
                <a:extLst>
                  <a:ext uri="{FF2B5EF4-FFF2-40B4-BE49-F238E27FC236}">
                    <a16:creationId xmlns:a16="http://schemas.microsoft.com/office/drawing/2014/main" id="{80CEA22B-9675-4DDE-B453-3F5AAD628B2E}"/>
                  </a:ext>
                </a:extLst>
              </p:cNvPr>
              <p:cNvGrpSpPr/>
              <p:nvPr/>
            </p:nvGrpSpPr>
            <p:grpSpPr>
              <a:xfrm>
                <a:off x="8888249" y="2877393"/>
                <a:ext cx="3377297" cy="914400"/>
                <a:chOff x="464509" y="985778"/>
                <a:chExt cx="8153482" cy="1243874"/>
              </a:xfrm>
            </p:grpSpPr>
            <p:sp>
              <p:nvSpPr>
                <p:cNvPr id="97" name="Rectangle: Rounded Corners 96">
                  <a:extLst>
                    <a:ext uri="{FF2B5EF4-FFF2-40B4-BE49-F238E27FC236}">
                      <a16:creationId xmlns:a16="http://schemas.microsoft.com/office/drawing/2014/main" id="{18A045A4-8B56-44C8-B814-723CE4F4D0B3}"/>
                    </a:ext>
                  </a:extLst>
                </p:cNvPr>
                <p:cNvSpPr/>
                <p:nvPr/>
              </p:nvSpPr>
              <p:spPr bwMode="gray">
                <a:xfrm>
                  <a:off x="464509" y="985778"/>
                  <a:ext cx="8153482" cy="1243874"/>
                </a:xfrm>
                <a:prstGeom prst="roundRect">
                  <a:avLst/>
                </a:prstGeom>
                <a:solidFill>
                  <a:sysClr val="window" lastClr="FFFFFF">
                    <a:lumMod val="95000"/>
                  </a:sysClr>
                </a:solidFill>
                <a:ln w="19050" algn="ctr">
                  <a:noFill/>
                  <a:miter lim="800000"/>
                  <a:headEnd/>
                  <a:tailEnd/>
                </a:ln>
              </p:spPr>
              <p:txBody>
                <a:bodyPr wrap="square" lIns="88900" tIns="88900" rIns="88900" bIns="88900" rtlCol="0" anchor="ctr"/>
                <a:lstStyle/>
                <a:p>
                  <a:pPr marL="0" marR="0" lvl="0" indent="0" algn="ctr" defTabSz="457200" eaLnBrk="1" fontAlgn="auto" latinLnBrk="0" hangingPunct="1">
                    <a:lnSpc>
                      <a:spcPct val="106000"/>
                    </a:lnSpc>
                    <a:spcBef>
                      <a:spcPts val="0"/>
                    </a:spcBef>
                    <a:spcAft>
                      <a:spcPts val="0"/>
                    </a:spcAft>
                    <a:buClrTx/>
                    <a:buSzTx/>
                    <a:buFont typeface="Wingdings 2" pitchFamily="18" charset="2"/>
                    <a:buNone/>
                    <a:tabLst/>
                    <a:defRPr/>
                  </a:pPr>
                  <a:endParaRPr kumimoji="0" lang="en-IN" sz="1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98" name="Rectangle 97">
                  <a:extLst>
                    <a:ext uri="{FF2B5EF4-FFF2-40B4-BE49-F238E27FC236}">
                      <a16:creationId xmlns:a16="http://schemas.microsoft.com/office/drawing/2014/main" id="{5D89CD45-789E-489D-9091-DF07DD497FBB}"/>
                    </a:ext>
                  </a:extLst>
                </p:cNvPr>
                <p:cNvSpPr/>
                <p:nvPr/>
              </p:nvSpPr>
              <p:spPr>
                <a:xfrm>
                  <a:off x="473423" y="1138791"/>
                  <a:ext cx="8040273" cy="925040"/>
                </a:xfrm>
                <a:prstGeom prst="rect">
                  <a:avLst/>
                </a:prstGeom>
                <a:no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indent="-171450" algn="just">
                    <a:lnSpc>
                      <a:spcPct val="106000"/>
                    </a:lnSpc>
                    <a:buFont typeface="Arial" panose="020B0604020202020204" pitchFamily="34" charset="0"/>
                    <a:buChar char="•"/>
                    <a:defRPr/>
                  </a:pPr>
                  <a:endParaRPr lang="en-US" sz="1200" kern="0" dirty="0">
                    <a:solidFill>
                      <a:srgbClr val="44546A"/>
                    </a:solidFill>
                    <a:latin typeface="Arial" panose="020B0604020202020204" pitchFamily="34" charset="0"/>
                    <a:cs typeface="Arial" panose="020B0604020202020204" pitchFamily="34" charset="0"/>
                  </a:endParaRPr>
                </a:p>
              </p:txBody>
            </p:sp>
          </p:grpSp>
        </p:grpSp>
      </p:grpSp>
      <p:sp>
        <p:nvSpPr>
          <p:cNvPr id="102" name="TextBox 101">
            <a:extLst>
              <a:ext uri="{FF2B5EF4-FFF2-40B4-BE49-F238E27FC236}">
                <a16:creationId xmlns:a16="http://schemas.microsoft.com/office/drawing/2014/main" id="{1B488D3B-8751-4AAF-A672-E1366F9916F1}"/>
              </a:ext>
            </a:extLst>
          </p:cNvPr>
          <p:cNvSpPr txBox="1"/>
          <p:nvPr/>
        </p:nvSpPr>
        <p:spPr>
          <a:xfrm>
            <a:off x="1907173" y="3149138"/>
            <a:ext cx="3057445" cy="936538"/>
          </a:xfrm>
          <a:prstGeom prst="rect">
            <a:avLst/>
          </a:prstGeom>
          <a:noFill/>
        </p:spPr>
        <p:txBody>
          <a:bodyPr wrap="square">
            <a:spAutoFit/>
          </a:bodyPr>
          <a:lstStyle/>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Difference in term structure and timing of rate resets between interest rate sensitive assets and liabilities </a:t>
            </a:r>
          </a:p>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E.g. - Rate of interest paid on liabilities increases before the rate received on assets</a:t>
            </a:r>
            <a:endParaRPr lang="en-IN" sz="1050" kern="0" dirty="0">
              <a:solidFill>
                <a:srgbClr val="44546A"/>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7EC01421-E4F2-404F-BCD5-93BD4809D61A}"/>
              </a:ext>
            </a:extLst>
          </p:cNvPr>
          <p:cNvSpPr txBox="1"/>
          <p:nvPr/>
        </p:nvSpPr>
        <p:spPr>
          <a:xfrm>
            <a:off x="5209845" y="3149100"/>
            <a:ext cx="3274739" cy="936538"/>
          </a:xfrm>
          <a:prstGeom prst="rect">
            <a:avLst/>
          </a:prstGeom>
          <a:noFill/>
        </p:spPr>
        <p:txBody>
          <a:bodyPr wrap="square">
            <a:spAutoFit/>
          </a:bodyPr>
          <a:lstStyle/>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Correlation risk on financial instruments that have similar tenors but are priced using different interest rate indices</a:t>
            </a:r>
          </a:p>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E.g., an asset priced off LIBOR funded by a liability priced off US Treasuries</a:t>
            </a:r>
            <a:endParaRPr lang="en-IN" sz="1050" kern="0" dirty="0">
              <a:solidFill>
                <a:srgbClr val="44546A"/>
              </a:solidFill>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DFF1CE33-1EC6-4FD4-BF8A-9EFFD54D8C07}"/>
              </a:ext>
            </a:extLst>
          </p:cNvPr>
          <p:cNvSpPr txBox="1"/>
          <p:nvPr/>
        </p:nvSpPr>
        <p:spPr>
          <a:xfrm>
            <a:off x="8789880" y="3142595"/>
            <a:ext cx="3274739" cy="1279068"/>
          </a:xfrm>
          <a:prstGeom prst="rect">
            <a:avLst/>
          </a:prstGeom>
          <a:noFill/>
        </p:spPr>
        <p:txBody>
          <a:bodyPr wrap="square">
            <a:spAutoFit/>
          </a:bodyPr>
          <a:lstStyle/>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Automatic option risk – Explicitly embedded derivatives within loans such as a capped rate loans </a:t>
            </a:r>
          </a:p>
          <a:p>
            <a:pPr marL="171450" indent="-171450" algn="just">
              <a:lnSpc>
                <a:spcPct val="106000"/>
              </a:lnSpc>
              <a:buFont typeface="Arial" panose="020B0604020202020204" pitchFamily="34" charset="0"/>
              <a:buChar char="•"/>
              <a:defRPr/>
            </a:pPr>
            <a:r>
              <a:rPr lang="en-US" sz="1050" kern="0" dirty="0">
                <a:solidFill>
                  <a:srgbClr val="44546A"/>
                </a:solidFill>
                <a:latin typeface="Arial" panose="020B0604020202020204" pitchFamily="34" charset="0"/>
                <a:cs typeface="Arial" panose="020B0604020202020204" pitchFamily="34" charset="0"/>
              </a:rPr>
              <a:t>Behavioral option risk – Prepayment on loans or early redemption on deposits due to change in IR</a:t>
            </a:r>
          </a:p>
          <a:p>
            <a:pPr marL="171450" indent="-171450" algn="just">
              <a:lnSpc>
                <a:spcPct val="106000"/>
              </a:lnSpc>
              <a:buFont typeface="Arial" panose="020B0604020202020204" pitchFamily="34" charset="0"/>
              <a:buChar char="•"/>
              <a:defRPr/>
            </a:pPr>
            <a:endParaRPr lang="en-US" sz="1050" kern="0" dirty="0">
              <a:solidFill>
                <a:srgbClr val="44546A"/>
              </a:solidFill>
              <a:latin typeface="Arial" panose="020B0604020202020204" pitchFamily="34" charset="0"/>
              <a:cs typeface="Arial" panose="020B0604020202020204" pitchFamily="34" charset="0"/>
            </a:endParaRPr>
          </a:p>
          <a:p>
            <a:pPr algn="just">
              <a:lnSpc>
                <a:spcPct val="106000"/>
              </a:lnSpc>
              <a:defRPr/>
            </a:pPr>
            <a:endParaRPr lang="en-IN" sz="1050" kern="0" dirty="0">
              <a:solidFill>
                <a:srgbClr val="44546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4015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4100" y="88402"/>
            <a:ext cx="86153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Revised Basel standards for IRRBB</a:t>
            </a:r>
          </a:p>
        </p:txBody>
      </p:sp>
      <p:grpSp>
        <p:nvGrpSpPr>
          <p:cNvPr id="44" name="Group 43">
            <a:extLst>
              <a:ext uri="{FF2B5EF4-FFF2-40B4-BE49-F238E27FC236}">
                <a16:creationId xmlns:a16="http://schemas.microsoft.com/office/drawing/2014/main" id="{47264092-96DD-46F7-9E96-7D1FBEC31E6D}"/>
              </a:ext>
            </a:extLst>
          </p:cNvPr>
          <p:cNvGrpSpPr/>
          <p:nvPr/>
        </p:nvGrpSpPr>
        <p:grpSpPr>
          <a:xfrm>
            <a:off x="1930538" y="945201"/>
            <a:ext cx="9829800" cy="1661466"/>
            <a:chOff x="374904" y="4790357"/>
            <a:chExt cx="7227637" cy="1767853"/>
          </a:xfrm>
        </p:grpSpPr>
        <p:cxnSp>
          <p:nvCxnSpPr>
            <p:cNvPr id="45" name="Straight Connector 44">
              <a:extLst>
                <a:ext uri="{FF2B5EF4-FFF2-40B4-BE49-F238E27FC236}">
                  <a16:creationId xmlns:a16="http://schemas.microsoft.com/office/drawing/2014/main" id="{4C8E3107-FF71-4875-AC5E-270FC7D7C58A}"/>
                </a:ext>
              </a:extLst>
            </p:cNvPr>
            <p:cNvCxnSpPr>
              <a:cxnSpLocks/>
              <a:stCxn id="46" idx="3"/>
            </p:cNvCxnSpPr>
            <p:nvPr/>
          </p:nvCxnSpPr>
          <p:spPr>
            <a:xfrm flipV="1">
              <a:off x="1463040" y="5644530"/>
              <a:ext cx="6108192" cy="35"/>
            </a:xfrm>
            <a:prstGeom prst="line">
              <a:avLst/>
            </a:prstGeom>
            <a:noFill/>
            <a:ln w="101600" cap="flat" cmpd="sng" algn="ctr">
              <a:solidFill>
                <a:srgbClr val="000000"/>
              </a:solidFill>
              <a:prstDash val="solid"/>
            </a:ln>
            <a:effectLst/>
          </p:spPr>
        </p:cxnSp>
        <p:sp>
          <p:nvSpPr>
            <p:cNvPr id="46" name="Pentagon 91">
              <a:extLst>
                <a:ext uri="{FF2B5EF4-FFF2-40B4-BE49-F238E27FC236}">
                  <a16:creationId xmlns:a16="http://schemas.microsoft.com/office/drawing/2014/main" id="{E058DE28-2D56-41E2-AB7E-C86190497134}"/>
                </a:ext>
              </a:extLst>
            </p:cNvPr>
            <p:cNvSpPr>
              <a:spLocks/>
            </p:cNvSpPr>
            <p:nvPr/>
          </p:nvSpPr>
          <p:spPr>
            <a:xfrm>
              <a:off x="374904" y="5432604"/>
              <a:ext cx="1088136" cy="423922"/>
            </a:xfrm>
            <a:prstGeom prst="homePlate">
              <a:avLst/>
            </a:prstGeom>
            <a:solidFill>
              <a:sysClr val="windowText" lastClr="000000"/>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white"/>
                  </a:solidFill>
                  <a:effectLst/>
                  <a:uLnTx/>
                  <a:uFillTx/>
                  <a:latin typeface="Verdana"/>
                  <a:ea typeface="+mn-ea"/>
                  <a:cs typeface="+mn-cs"/>
                </a:rPr>
                <a:t>Timeline of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white"/>
                  </a:solidFill>
                  <a:effectLst/>
                  <a:uLnTx/>
                  <a:uFillTx/>
                  <a:latin typeface="Verdana"/>
                  <a:ea typeface="+mn-ea"/>
                  <a:cs typeface="+mn-cs"/>
                </a:rPr>
                <a:t>Basel Guidelines on IRRBB</a:t>
              </a:r>
            </a:p>
          </p:txBody>
        </p:sp>
        <p:sp>
          <p:nvSpPr>
            <p:cNvPr id="48" name="TextBox 47">
              <a:extLst>
                <a:ext uri="{FF2B5EF4-FFF2-40B4-BE49-F238E27FC236}">
                  <a16:creationId xmlns:a16="http://schemas.microsoft.com/office/drawing/2014/main" id="{3E4197DC-BFB4-433A-ADCC-1809DD9E6EFB}"/>
                </a:ext>
              </a:extLst>
            </p:cNvPr>
            <p:cNvSpPr txBox="1"/>
            <p:nvPr/>
          </p:nvSpPr>
          <p:spPr>
            <a:xfrm>
              <a:off x="1368831" y="5863350"/>
              <a:ext cx="1430640"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September 1997</a:t>
              </a:r>
            </a:p>
          </p:txBody>
        </p:sp>
        <p:sp>
          <p:nvSpPr>
            <p:cNvPr id="49" name="TextBox 48">
              <a:extLst>
                <a:ext uri="{FF2B5EF4-FFF2-40B4-BE49-F238E27FC236}">
                  <a16:creationId xmlns:a16="http://schemas.microsoft.com/office/drawing/2014/main" id="{5229A3FD-A5EE-4E61-9F20-3AFDBB0819EC}"/>
                </a:ext>
              </a:extLst>
            </p:cNvPr>
            <p:cNvSpPr txBox="1"/>
            <p:nvPr/>
          </p:nvSpPr>
          <p:spPr>
            <a:xfrm>
              <a:off x="2053883" y="5340096"/>
              <a:ext cx="1215466"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January 2001</a:t>
              </a:r>
            </a:p>
          </p:txBody>
        </p:sp>
        <p:sp>
          <p:nvSpPr>
            <p:cNvPr id="50" name="TextBox 49">
              <a:extLst>
                <a:ext uri="{FF2B5EF4-FFF2-40B4-BE49-F238E27FC236}">
                  <a16:creationId xmlns:a16="http://schemas.microsoft.com/office/drawing/2014/main" id="{2D805F25-0D15-4112-9C8F-BEA1DB89B79A}"/>
                </a:ext>
              </a:extLst>
            </p:cNvPr>
            <p:cNvSpPr txBox="1"/>
            <p:nvPr/>
          </p:nvSpPr>
          <p:spPr>
            <a:xfrm>
              <a:off x="3134878" y="5340096"/>
              <a:ext cx="1423053"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September 2003</a:t>
              </a:r>
            </a:p>
          </p:txBody>
        </p:sp>
        <p:sp>
          <p:nvSpPr>
            <p:cNvPr id="51" name="TextBox 50">
              <a:extLst>
                <a:ext uri="{FF2B5EF4-FFF2-40B4-BE49-F238E27FC236}">
                  <a16:creationId xmlns:a16="http://schemas.microsoft.com/office/drawing/2014/main" id="{19FAA466-2151-4AD7-A0CE-B36F86DD579A}"/>
                </a:ext>
              </a:extLst>
            </p:cNvPr>
            <p:cNvSpPr txBox="1"/>
            <p:nvPr/>
          </p:nvSpPr>
          <p:spPr>
            <a:xfrm>
              <a:off x="4112031" y="5861304"/>
              <a:ext cx="914400"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July 2004</a:t>
              </a:r>
            </a:p>
          </p:txBody>
        </p:sp>
        <p:sp>
          <p:nvSpPr>
            <p:cNvPr id="52" name="TextBox 51">
              <a:extLst>
                <a:ext uri="{FF2B5EF4-FFF2-40B4-BE49-F238E27FC236}">
                  <a16:creationId xmlns:a16="http://schemas.microsoft.com/office/drawing/2014/main" id="{6202CE74-9047-496C-A1FF-3BC7A5E63C71}"/>
                </a:ext>
              </a:extLst>
            </p:cNvPr>
            <p:cNvSpPr txBox="1"/>
            <p:nvPr/>
          </p:nvSpPr>
          <p:spPr>
            <a:xfrm>
              <a:off x="4896444" y="5340096"/>
              <a:ext cx="1143000"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June 2015</a:t>
              </a:r>
            </a:p>
          </p:txBody>
        </p:sp>
        <p:sp>
          <p:nvSpPr>
            <p:cNvPr id="53" name="TextBox 52">
              <a:extLst>
                <a:ext uri="{FF2B5EF4-FFF2-40B4-BE49-F238E27FC236}">
                  <a16:creationId xmlns:a16="http://schemas.microsoft.com/office/drawing/2014/main" id="{B2D8AAC7-9E8F-4C6D-9B4B-397FAAF6EEA5}"/>
                </a:ext>
              </a:extLst>
            </p:cNvPr>
            <p:cNvSpPr txBox="1"/>
            <p:nvPr/>
          </p:nvSpPr>
          <p:spPr>
            <a:xfrm>
              <a:off x="6101150" y="5853044"/>
              <a:ext cx="1005506" cy="153888"/>
            </a:xfrm>
            <a:prstGeom prst="rect">
              <a:avLst/>
            </a:prstGeom>
            <a:noFill/>
          </p:spPr>
          <p:txBody>
            <a:bodyPr wrap="square" lIns="91440" tIns="0" rIns="91440" bIns="0" rtlCol="0" anchor="ctr" anchorCtr="0">
              <a:spAutoFit/>
            </a:bodyPr>
            <a:lstStyle/>
            <a:p>
              <a:pPr marL="0" marR="0" lvl="0" indent="0" algn="ctr" defTabSz="914400" eaLnBrk="1" fontAlgn="auto" latinLnBrk="0" hangingPunct="1">
                <a:lnSpc>
                  <a:spcPct val="100000"/>
                </a:lnSpc>
                <a:spcBef>
                  <a:spcPts val="0"/>
                </a:spcBef>
                <a:spcAft>
                  <a:spcPts val="0"/>
                </a:spcAft>
                <a:buClrTx/>
                <a:buSzPct val="100000"/>
                <a:buFontTx/>
                <a:buNone/>
                <a:tabLst/>
                <a:defRPr/>
              </a:pPr>
              <a:r>
                <a:rPr kumimoji="0" lang="en-GB" sz="1000" b="1" i="0" u="none" strike="noStrike" kern="0" cap="none" spc="0" normalizeH="0" baseline="0" noProof="0" dirty="0">
                  <a:ln>
                    <a:noFill/>
                  </a:ln>
                  <a:solidFill>
                    <a:prstClr val="black"/>
                  </a:solidFill>
                  <a:effectLst/>
                  <a:uLnTx/>
                  <a:uFillTx/>
                  <a:latin typeface="Verdana"/>
                </a:rPr>
                <a:t>April 2016</a:t>
              </a:r>
            </a:p>
          </p:txBody>
        </p:sp>
        <p:sp>
          <p:nvSpPr>
            <p:cNvPr id="55" name="Oval 54">
              <a:extLst>
                <a:ext uri="{FF2B5EF4-FFF2-40B4-BE49-F238E27FC236}">
                  <a16:creationId xmlns:a16="http://schemas.microsoft.com/office/drawing/2014/main" id="{C1FEA491-C18F-4A6A-8278-F077E77A5A63}"/>
                </a:ext>
              </a:extLst>
            </p:cNvPr>
            <p:cNvSpPr>
              <a:spLocks/>
            </p:cNvSpPr>
            <p:nvPr/>
          </p:nvSpPr>
          <p:spPr>
            <a:xfrm>
              <a:off x="1844825" y="5543946"/>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56" name="Oval 55">
              <a:extLst>
                <a:ext uri="{FF2B5EF4-FFF2-40B4-BE49-F238E27FC236}">
                  <a16:creationId xmlns:a16="http://schemas.microsoft.com/office/drawing/2014/main" id="{443FE544-70EC-4C0C-BF50-2BDED256EF96}"/>
                </a:ext>
              </a:extLst>
            </p:cNvPr>
            <p:cNvSpPr>
              <a:spLocks/>
            </p:cNvSpPr>
            <p:nvPr/>
          </p:nvSpPr>
          <p:spPr>
            <a:xfrm>
              <a:off x="2712539" y="5543946"/>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57" name="Oval 56">
              <a:extLst>
                <a:ext uri="{FF2B5EF4-FFF2-40B4-BE49-F238E27FC236}">
                  <a16:creationId xmlns:a16="http://schemas.microsoft.com/office/drawing/2014/main" id="{F1822854-DB89-4B7C-8C52-EFE37E23DEEC}"/>
                </a:ext>
              </a:extLst>
            </p:cNvPr>
            <p:cNvSpPr>
              <a:spLocks/>
            </p:cNvSpPr>
            <p:nvPr/>
          </p:nvSpPr>
          <p:spPr>
            <a:xfrm>
              <a:off x="3581219" y="5543946"/>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58" name="Oval 57">
              <a:extLst>
                <a:ext uri="{FF2B5EF4-FFF2-40B4-BE49-F238E27FC236}">
                  <a16:creationId xmlns:a16="http://schemas.microsoft.com/office/drawing/2014/main" id="{5069D56F-2334-4D39-95C1-52B7D9847553}"/>
                </a:ext>
              </a:extLst>
            </p:cNvPr>
            <p:cNvSpPr>
              <a:spLocks/>
            </p:cNvSpPr>
            <p:nvPr/>
          </p:nvSpPr>
          <p:spPr>
            <a:xfrm>
              <a:off x="4449899" y="5543946"/>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59" name="Oval 58">
              <a:extLst>
                <a:ext uri="{FF2B5EF4-FFF2-40B4-BE49-F238E27FC236}">
                  <a16:creationId xmlns:a16="http://schemas.microsoft.com/office/drawing/2014/main" id="{F2C22940-E023-402F-B997-6B6A0EE2157D}"/>
                </a:ext>
              </a:extLst>
            </p:cNvPr>
            <p:cNvSpPr>
              <a:spLocks/>
            </p:cNvSpPr>
            <p:nvPr/>
          </p:nvSpPr>
          <p:spPr>
            <a:xfrm>
              <a:off x="5318579" y="5543946"/>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61" name="Oval 60">
              <a:extLst>
                <a:ext uri="{FF2B5EF4-FFF2-40B4-BE49-F238E27FC236}">
                  <a16:creationId xmlns:a16="http://schemas.microsoft.com/office/drawing/2014/main" id="{F6303D59-3412-45A0-BF76-3E4BB68B294E}"/>
                </a:ext>
              </a:extLst>
            </p:cNvPr>
            <p:cNvSpPr>
              <a:spLocks/>
            </p:cNvSpPr>
            <p:nvPr/>
          </p:nvSpPr>
          <p:spPr>
            <a:xfrm>
              <a:off x="6551080" y="5530982"/>
              <a:ext cx="201168" cy="203689"/>
            </a:xfrm>
            <a:prstGeom prst="ellipse">
              <a:avLst/>
            </a:prstGeom>
            <a:solidFill>
              <a:srgbClr val="002060"/>
            </a:solidFill>
            <a:ln w="38100" cap="flat" cmpd="sng" algn="ctr">
              <a:solidFill>
                <a:srgbClr val="00B0F0"/>
              </a:solidFill>
              <a:prstDash val="solid"/>
            </a:ln>
            <a:effectLst/>
          </p:spPr>
          <p:txBody>
            <a:bodyPr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D0D0CE"/>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40CFCB78-090B-4492-AC25-F05DEE2B82F7}"/>
                </a:ext>
              </a:extLst>
            </p:cNvPr>
            <p:cNvSpPr txBox="1"/>
            <p:nvPr/>
          </p:nvSpPr>
          <p:spPr>
            <a:xfrm>
              <a:off x="1110641" y="6031693"/>
              <a:ext cx="1793923" cy="349776"/>
            </a:xfrm>
            <a:prstGeom prst="rect">
              <a:avLst/>
            </a:prstGeom>
            <a:solidFill>
              <a:schemeClr val="bg1">
                <a:lumMod val="95000"/>
              </a:schemeClr>
            </a:solidFill>
            <a:ln w="12700">
              <a:solidFill>
                <a:sysClr val="windowText" lastClr="000000"/>
              </a:solidFill>
            </a:ln>
          </p:spPr>
          <p:txBody>
            <a:bodyPr wrap="square" lIns="91440" tIns="0" rIns="91440" bIns="0" rtlCol="0" anchor="ctr">
              <a:spAutoFit/>
            </a:bodyPr>
            <a:lstStyle>
              <a:defPPr>
                <a:defRPr lang="en-US"/>
              </a:defPPr>
              <a:lvl1pPr marR="0" lvl="0" indent="0" algn="just" fontAlgn="base">
                <a:lnSpc>
                  <a:spcPct val="120000"/>
                </a:lnSpc>
                <a:spcBef>
                  <a:spcPct val="0"/>
                </a:spcBef>
                <a:spcAft>
                  <a:spcPct val="0"/>
                </a:spcAft>
                <a:buClrTx/>
                <a:buSzTx/>
                <a:buFontTx/>
                <a:buNone/>
                <a:tabLst/>
                <a:defRPr kumimoji="0" sz="900" b="0" i="0" u="none" strike="noStrike" kern="0" cap="none" spc="0" normalizeH="0" baseline="0">
                  <a:ln>
                    <a:noFill/>
                  </a:ln>
                  <a:solidFill>
                    <a:prstClr val="black"/>
                  </a:solidFill>
                  <a:effectLst/>
                  <a:uLnTx/>
                  <a:uFillTx/>
                  <a:latin typeface="Verdana"/>
                </a:defRPr>
              </a:lvl1pPr>
            </a:lstStyle>
            <a:p>
              <a:pPr algn="ctr"/>
              <a:r>
                <a:rPr lang="en-US" sz="1000" dirty="0"/>
                <a:t>Principles for Management of Interest Rate Risk</a:t>
              </a:r>
            </a:p>
          </p:txBody>
        </p:sp>
        <p:sp>
          <p:nvSpPr>
            <p:cNvPr id="63" name="TextBox 62">
              <a:extLst>
                <a:ext uri="{FF2B5EF4-FFF2-40B4-BE49-F238E27FC236}">
                  <a16:creationId xmlns:a16="http://schemas.microsoft.com/office/drawing/2014/main" id="{8402597D-58C8-4183-9306-607E9747B39F}"/>
                </a:ext>
              </a:extLst>
            </p:cNvPr>
            <p:cNvSpPr txBox="1"/>
            <p:nvPr/>
          </p:nvSpPr>
          <p:spPr>
            <a:xfrm>
              <a:off x="2377447" y="4790358"/>
              <a:ext cx="1792224" cy="534442"/>
            </a:xfrm>
            <a:prstGeom prst="rect">
              <a:avLst/>
            </a:prstGeom>
            <a:solidFill>
              <a:schemeClr val="bg1">
                <a:lumMod val="95000"/>
              </a:schemeClr>
            </a:solidFill>
            <a:ln w="12700">
              <a:solidFill>
                <a:sysClr val="windowText" lastClr="000000"/>
              </a:solidFill>
            </a:ln>
          </p:spPr>
          <p:txBody>
            <a:bodyPr wrap="square" lIns="91440" tIns="0" rIns="91440" bIns="0" rtlCol="0" anchor="ctr">
              <a:spAutoFit/>
            </a:bodyPr>
            <a:lstStyle/>
            <a:p>
              <a:pPr marL="0" marR="0" lvl="0" indent="0" algn="ctr" defTabSz="914400" eaLnBrk="1" fontAlgn="base" latinLnBrk="0" hangingPunct="1">
                <a:lnSpc>
                  <a:spcPct val="12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Verdana"/>
                </a:rPr>
                <a:t>Revised version of 1997 paper released for public consultation</a:t>
              </a:r>
            </a:p>
          </p:txBody>
        </p:sp>
        <p:sp>
          <p:nvSpPr>
            <p:cNvPr id="64" name="TextBox 63">
              <a:extLst>
                <a:ext uri="{FF2B5EF4-FFF2-40B4-BE49-F238E27FC236}">
                  <a16:creationId xmlns:a16="http://schemas.microsoft.com/office/drawing/2014/main" id="{9D5998FD-8FC8-46F0-8E2C-31777E5339FF}"/>
                </a:ext>
              </a:extLst>
            </p:cNvPr>
            <p:cNvSpPr txBox="1"/>
            <p:nvPr/>
          </p:nvSpPr>
          <p:spPr>
            <a:xfrm>
              <a:off x="3656893" y="6023768"/>
              <a:ext cx="1793923" cy="534442"/>
            </a:xfrm>
            <a:prstGeom prst="rect">
              <a:avLst/>
            </a:prstGeom>
            <a:solidFill>
              <a:schemeClr val="bg1">
                <a:lumMod val="95000"/>
              </a:schemeClr>
            </a:solidFill>
            <a:ln w="12700">
              <a:solidFill>
                <a:sysClr val="windowText" lastClr="000000"/>
              </a:solidFill>
            </a:ln>
          </p:spPr>
          <p:txBody>
            <a:bodyPr wrap="square" lIns="91440" tIns="0" rIns="91440" bIns="0" rtlCol="0" anchor="ctr">
              <a:spAutoFit/>
            </a:bodyPr>
            <a:lstStyle>
              <a:defPPr>
                <a:defRPr lang="en-US"/>
              </a:defPPr>
              <a:lvl1pPr marR="0" lvl="0" indent="0" algn="just" fontAlgn="base">
                <a:lnSpc>
                  <a:spcPct val="120000"/>
                </a:lnSpc>
                <a:spcBef>
                  <a:spcPct val="0"/>
                </a:spcBef>
                <a:spcAft>
                  <a:spcPct val="0"/>
                </a:spcAft>
                <a:buClrTx/>
                <a:buSzTx/>
                <a:buFontTx/>
                <a:buNone/>
                <a:tabLst/>
                <a:defRPr kumimoji="0" sz="900" b="0" i="0" u="none" strike="noStrike" kern="0" cap="none" spc="0" normalizeH="0" baseline="0">
                  <a:ln>
                    <a:noFill/>
                  </a:ln>
                  <a:solidFill>
                    <a:prstClr val="black"/>
                  </a:solidFill>
                  <a:effectLst/>
                  <a:uLnTx/>
                  <a:uFillTx/>
                  <a:latin typeface="Verdana"/>
                </a:defRPr>
              </a:lvl1pPr>
            </a:lstStyle>
            <a:p>
              <a:pPr algn="ctr"/>
              <a:r>
                <a:rPr lang="en-US" sz="1000" dirty="0"/>
                <a:t>Principles for Management and Supervision of Interest Rate Risk – Final Document</a:t>
              </a:r>
            </a:p>
          </p:txBody>
        </p:sp>
        <p:sp>
          <p:nvSpPr>
            <p:cNvPr id="65" name="TextBox 64">
              <a:extLst>
                <a:ext uri="{FF2B5EF4-FFF2-40B4-BE49-F238E27FC236}">
                  <a16:creationId xmlns:a16="http://schemas.microsoft.com/office/drawing/2014/main" id="{68D97F8C-3117-42C7-9A35-37FA46E70D16}"/>
                </a:ext>
              </a:extLst>
            </p:cNvPr>
            <p:cNvSpPr txBox="1"/>
            <p:nvPr/>
          </p:nvSpPr>
          <p:spPr>
            <a:xfrm>
              <a:off x="4542423" y="4790357"/>
              <a:ext cx="1792224" cy="534442"/>
            </a:xfrm>
            <a:prstGeom prst="rect">
              <a:avLst/>
            </a:prstGeom>
            <a:solidFill>
              <a:schemeClr val="bg1">
                <a:lumMod val="95000"/>
              </a:schemeClr>
            </a:solidFill>
            <a:ln w="12700">
              <a:solidFill>
                <a:sysClr val="windowText" lastClr="000000"/>
              </a:solidFill>
            </a:ln>
          </p:spPr>
          <p:txBody>
            <a:bodyPr wrap="square" lIns="91440" tIns="0" rIns="91440" bIns="0" rtlCol="0" anchor="ctr">
              <a:spAutoFit/>
            </a:bodyPr>
            <a:lstStyle>
              <a:defPPr>
                <a:defRPr lang="en-US"/>
              </a:defPPr>
              <a:lvl1pPr marR="0" lvl="0" indent="0" algn="just" fontAlgn="base">
                <a:lnSpc>
                  <a:spcPct val="120000"/>
                </a:lnSpc>
                <a:spcBef>
                  <a:spcPct val="0"/>
                </a:spcBef>
                <a:spcAft>
                  <a:spcPct val="0"/>
                </a:spcAft>
                <a:buClrTx/>
                <a:buSzTx/>
                <a:buFontTx/>
                <a:buNone/>
                <a:tabLst/>
                <a:defRPr kumimoji="0" sz="900" b="0" i="0" u="none" strike="noStrike" kern="0" cap="none" spc="0" normalizeH="0" baseline="0">
                  <a:ln>
                    <a:noFill/>
                  </a:ln>
                  <a:solidFill>
                    <a:prstClr val="black"/>
                  </a:solidFill>
                  <a:effectLst/>
                  <a:uLnTx/>
                  <a:uFillTx/>
                  <a:latin typeface="Verdana"/>
                </a:defRPr>
              </a:lvl1pPr>
            </a:lstStyle>
            <a:p>
              <a:pPr algn="ctr"/>
              <a:r>
                <a:rPr lang="en-US" sz="1000" dirty="0"/>
                <a:t>Risk management, capital treatment and supervision of IRRBB</a:t>
              </a:r>
            </a:p>
          </p:txBody>
        </p:sp>
        <p:sp>
          <p:nvSpPr>
            <p:cNvPr id="66" name="TextBox 65">
              <a:extLst>
                <a:ext uri="{FF2B5EF4-FFF2-40B4-BE49-F238E27FC236}">
                  <a16:creationId xmlns:a16="http://schemas.microsoft.com/office/drawing/2014/main" id="{718ACB83-B2BC-4EE0-BC39-5D3772FAAB43}"/>
                </a:ext>
              </a:extLst>
            </p:cNvPr>
            <p:cNvSpPr txBox="1"/>
            <p:nvPr/>
          </p:nvSpPr>
          <p:spPr>
            <a:xfrm>
              <a:off x="5808618" y="6067449"/>
              <a:ext cx="1793923" cy="349776"/>
            </a:xfrm>
            <a:prstGeom prst="rect">
              <a:avLst/>
            </a:prstGeom>
            <a:solidFill>
              <a:srgbClr val="002060"/>
            </a:solidFill>
            <a:ln w="12700">
              <a:solidFill>
                <a:sysClr val="windowText" lastClr="000000"/>
              </a:solidFill>
            </a:ln>
          </p:spPr>
          <p:txBody>
            <a:bodyPr wrap="square" lIns="91440" tIns="0" rIns="91440" bIns="0" rtlCol="0" anchor="ctr">
              <a:spAutoFit/>
            </a:bodyPr>
            <a:lstStyle>
              <a:defPPr>
                <a:defRPr lang="en-US"/>
              </a:defPPr>
              <a:lvl1pPr marR="0" lvl="0" indent="0" algn="just" fontAlgn="base">
                <a:lnSpc>
                  <a:spcPct val="120000"/>
                </a:lnSpc>
                <a:spcBef>
                  <a:spcPct val="0"/>
                </a:spcBef>
                <a:spcAft>
                  <a:spcPct val="0"/>
                </a:spcAft>
                <a:buClrTx/>
                <a:buSzTx/>
                <a:buFontTx/>
                <a:buNone/>
                <a:tabLst/>
                <a:defRPr kumimoji="0" sz="900" b="0" i="0" u="none" strike="noStrike" kern="0" cap="none" spc="0" normalizeH="0" baseline="0">
                  <a:ln>
                    <a:noFill/>
                  </a:ln>
                  <a:solidFill>
                    <a:prstClr val="black"/>
                  </a:solidFill>
                  <a:effectLst/>
                  <a:uLnTx/>
                  <a:uFillTx/>
                  <a:latin typeface="Verdana"/>
                </a:defRPr>
              </a:lvl1pPr>
            </a:lstStyle>
            <a:p>
              <a:pPr algn="ctr"/>
              <a:r>
                <a:rPr lang="en-US" sz="1000" b="1" dirty="0">
                  <a:solidFill>
                    <a:schemeClr val="bg1"/>
                  </a:solidFill>
                </a:rPr>
                <a:t>Revised Standards on Interest Rate Risk in the Banking Book</a:t>
              </a:r>
            </a:p>
          </p:txBody>
        </p:sp>
      </p:grpSp>
      <p:grpSp>
        <p:nvGrpSpPr>
          <p:cNvPr id="7" name="Group 6">
            <a:extLst>
              <a:ext uri="{FF2B5EF4-FFF2-40B4-BE49-F238E27FC236}">
                <a16:creationId xmlns:a16="http://schemas.microsoft.com/office/drawing/2014/main" id="{303B2E7E-1C56-4957-AE21-BD74A5E05FB0}"/>
              </a:ext>
            </a:extLst>
          </p:cNvPr>
          <p:cNvGrpSpPr/>
          <p:nvPr/>
        </p:nvGrpSpPr>
        <p:grpSpPr>
          <a:xfrm>
            <a:off x="1930539" y="3481304"/>
            <a:ext cx="10049715" cy="3148094"/>
            <a:chOff x="1930539" y="3481305"/>
            <a:chExt cx="10049715" cy="2564546"/>
          </a:xfrm>
        </p:grpSpPr>
        <p:sp>
          <p:nvSpPr>
            <p:cNvPr id="102" name="Rectangle 101">
              <a:extLst>
                <a:ext uri="{FF2B5EF4-FFF2-40B4-BE49-F238E27FC236}">
                  <a16:creationId xmlns:a16="http://schemas.microsoft.com/office/drawing/2014/main" id="{0A0CD194-7DBE-427D-986E-B2F56D07811C}"/>
                </a:ext>
              </a:extLst>
            </p:cNvPr>
            <p:cNvSpPr/>
            <p:nvPr/>
          </p:nvSpPr>
          <p:spPr>
            <a:xfrm>
              <a:off x="4562826" y="3481305"/>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tlCol="0" anchor="ctr"/>
            <a:lstStyle/>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lang="en-US" sz="1100" kern="0" dirty="0">
                  <a:solidFill>
                    <a:srgbClr val="494947"/>
                  </a:solidFill>
                  <a:latin typeface="Arial" panose="020B0604020202020204" pitchFamily="34" charset="0"/>
                  <a:cs typeface="Arial" panose="020B0604020202020204" pitchFamily="34" charset="0"/>
                </a:rPr>
                <a:t>Revised standardized framework with 6 supervisory scenarios for stress testing </a:t>
              </a:r>
            </a:p>
            <a:p>
              <a:pPr marL="171450" lvl="1" indent="-171450" defTabSz="457200">
                <a:lnSpc>
                  <a:spcPct val="120000"/>
                </a:lnSpc>
                <a:buSzPct val="100000"/>
                <a:buFont typeface="Wingdings" panose="05000000000000000000" pitchFamily="2" charset="2"/>
                <a:buChar char="§"/>
                <a:defRPr/>
              </a:pPr>
              <a:r>
                <a:rPr lang="en-US" sz="1100" kern="0" dirty="0">
                  <a:solidFill>
                    <a:srgbClr val="494947"/>
                  </a:solidFill>
                  <a:latin typeface="Arial" panose="020B0604020202020204" pitchFamily="34" charset="0"/>
                  <a:cs typeface="Arial" panose="020B0604020202020204" pitchFamily="34" charset="0"/>
                </a:rPr>
                <a:t>Usage of both Economic value (EVE) and earnings-based measures (NII) to assess IRRBB</a:t>
              </a:r>
            </a:p>
          </p:txBody>
        </p:sp>
        <p:sp>
          <p:nvSpPr>
            <p:cNvPr id="103" name="Rectangle 102">
              <a:extLst>
                <a:ext uri="{FF2B5EF4-FFF2-40B4-BE49-F238E27FC236}">
                  <a16:creationId xmlns:a16="http://schemas.microsoft.com/office/drawing/2014/main" id="{CC231449-10C1-458B-ACC0-4EE16E75F2BD}"/>
                </a:ext>
              </a:extLst>
            </p:cNvPr>
            <p:cNvSpPr/>
            <p:nvPr/>
          </p:nvSpPr>
          <p:spPr>
            <a:xfrm>
              <a:off x="4562826" y="4117033"/>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lvl="1" indent="-171450" defTabSz="457200">
                <a:lnSpc>
                  <a:spcPct val="120000"/>
                </a:lnSpc>
                <a:buSzPct val="100000"/>
                <a:buFont typeface="Wingdings" panose="05000000000000000000" pitchFamily="2" charset="2"/>
                <a:buChar char="§"/>
                <a:defRPr/>
              </a:pPr>
              <a:r>
                <a:rPr lang="en-US" sz="1100" kern="0" dirty="0">
                  <a:solidFill>
                    <a:srgbClr val="494947"/>
                  </a:solidFill>
                  <a:latin typeface="Arial" panose="020B0604020202020204" pitchFamily="34" charset="0"/>
                  <a:cs typeface="Arial" panose="020B0604020202020204" pitchFamily="34" charset="0"/>
                </a:rPr>
                <a:t>Option to adopt an internal measurement system (IMS), failure of which would lead to mandatory adoption of SA</a:t>
              </a: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Independent model validation framework required for IMS </a:t>
              </a:r>
            </a:p>
            <a:p>
              <a:pPr marL="0" marR="0" lvl="1" indent="0" defTabSz="457200" eaLnBrk="1" fontAlgn="auto" latinLnBrk="0" hangingPunct="1">
                <a:lnSpc>
                  <a:spcPct val="120000"/>
                </a:lnSpc>
                <a:spcBef>
                  <a:spcPts val="0"/>
                </a:spcBef>
                <a:spcAft>
                  <a:spcPts val="0"/>
                </a:spcAft>
                <a:buClrTx/>
                <a:buSzPct val="100000"/>
                <a:buFontTx/>
                <a:buNone/>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0" marR="0" lvl="1" indent="0" defTabSz="457200" eaLnBrk="1" fontAlgn="auto" latinLnBrk="0" hangingPunct="1">
                <a:lnSpc>
                  <a:spcPct val="120000"/>
                </a:lnSpc>
                <a:spcBef>
                  <a:spcPts val="0"/>
                </a:spcBef>
                <a:spcAft>
                  <a:spcPts val="0"/>
                </a:spcAft>
                <a:buClrTx/>
                <a:buSzPct val="100000"/>
                <a:buFontTx/>
                <a:buNone/>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 </a:t>
              </a:r>
            </a:p>
          </p:txBody>
        </p:sp>
        <p:sp>
          <p:nvSpPr>
            <p:cNvPr id="104" name="Rectangle 103">
              <a:extLst>
                <a:ext uri="{FF2B5EF4-FFF2-40B4-BE49-F238E27FC236}">
                  <a16:creationId xmlns:a16="http://schemas.microsoft.com/office/drawing/2014/main" id="{239C2FC9-C987-4631-812D-190BDED15E82}"/>
                </a:ext>
              </a:extLst>
            </p:cNvPr>
            <p:cNvSpPr/>
            <p:nvPr/>
          </p:nvSpPr>
          <p:spPr>
            <a:xfrm>
              <a:off x="4562826" y="4751006"/>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ot="0" spcFirstLastPara="0" vertOverflow="overflow" horzOverflow="overflow" vert="horz" wrap="square" lIns="91440" tIns="108000" rIns="91440" bIns="108000" numCol="1" spcCol="0" rtlCol="0" fromWordArt="0" anchor="ctr" anchorCtr="0" forceAA="0" compatLnSpc="1">
              <a:prstTxWarp prst="textNoShape">
                <a:avLst/>
              </a:prstTxWarp>
              <a:noAutofit/>
            </a:bodyPr>
            <a:lstStyle/>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Detailed Quantitative and qualitative disclosures </a:t>
              </a: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Revised disclosures to enable peer-to-peer comparison </a:t>
              </a: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Disclose IRRBB management &amp; mitigation strategies, underlying modelling assumptions &amp; parameters.  </a:t>
              </a:r>
            </a:p>
          </p:txBody>
        </p:sp>
        <p:sp>
          <p:nvSpPr>
            <p:cNvPr id="105" name="Rectangle 104">
              <a:extLst>
                <a:ext uri="{FF2B5EF4-FFF2-40B4-BE49-F238E27FC236}">
                  <a16:creationId xmlns:a16="http://schemas.microsoft.com/office/drawing/2014/main" id="{499C02D7-901C-415C-A27B-D4ED7A5BA2F5}"/>
                </a:ext>
              </a:extLst>
            </p:cNvPr>
            <p:cNvSpPr/>
            <p:nvPr/>
          </p:nvSpPr>
          <p:spPr>
            <a:xfrm>
              <a:off x="4562826" y="5388494"/>
              <a:ext cx="7417428" cy="578639"/>
            </a:xfrm>
            <a:prstGeom prst="rect">
              <a:avLst/>
            </a:prstGeom>
            <a:solidFill>
              <a:sysClr val="window" lastClr="FFFFFF">
                <a:lumMod val="95000"/>
                <a:alpha val="10196"/>
              </a:sysClr>
            </a:solidFill>
            <a:ln w="19050" cap="flat" cmpd="sng" algn="ctr">
              <a:solidFill>
                <a:srgbClr val="E3DED1">
                  <a:lumMod val="90000"/>
                </a:srgb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r>
                <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rPr>
                <a:t>Guidelines issued to supervisors on how to conduct a detailed assessment of IMS</a:t>
              </a:r>
            </a:p>
            <a:p>
              <a:pPr marL="171450" lvl="1" indent="-171450" defTabSz="457200">
                <a:lnSpc>
                  <a:spcPct val="120000"/>
                </a:lnSpc>
                <a:buSzPct val="100000"/>
                <a:buFont typeface="Wingdings" panose="05000000000000000000" pitchFamily="2" charset="2"/>
                <a:buChar char="§"/>
                <a:defRPr/>
              </a:pPr>
              <a:r>
                <a:rPr lang="en-US" sz="1100" kern="0" dirty="0">
                  <a:solidFill>
                    <a:srgbClr val="494947"/>
                  </a:solidFill>
                  <a:latin typeface="Arial" panose="020B0604020202020204" pitchFamily="34" charset="0"/>
                  <a:cs typeface="Arial" panose="020B0604020202020204" pitchFamily="34" charset="0"/>
                </a:rPr>
                <a:t>Compare change in EVE to 15% of a bank's Tier 1 capital as opposed to the former 20% of the bank’s total capital </a:t>
              </a: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171450" marR="0" lvl="1" indent="-171450" defTabSz="457200" eaLnBrk="1" fontAlgn="auto" latinLnBrk="0" hangingPunct="1">
                <a:lnSpc>
                  <a:spcPct val="120000"/>
                </a:lnSpc>
                <a:spcBef>
                  <a:spcPts val="0"/>
                </a:spcBef>
                <a:spcAft>
                  <a:spcPts val="0"/>
                </a:spcAft>
                <a:buClrTx/>
                <a:buSzPct val="100000"/>
                <a:buFont typeface="Wingdings" panose="05000000000000000000" pitchFamily="2" charset="2"/>
                <a:buChar char="§"/>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0" marR="0" lvl="1" indent="0" defTabSz="457200" eaLnBrk="1" fontAlgn="auto" latinLnBrk="0" hangingPunct="1">
                <a:lnSpc>
                  <a:spcPct val="120000"/>
                </a:lnSpc>
                <a:spcBef>
                  <a:spcPts val="0"/>
                </a:spcBef>
                <a:spcAft>
                  <a:spcPts val="0"/>
                </a:spcAft>
                <a:buClrTx/>
                <a:buSzPct val="100000"/>
                <a:buFontTx/>
                <a:buNone/>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a:p>
              <a:pPr marL="0" marR="0" lvl="1" indent="0" defTabSz="457200" eaLnBrk="1" fontAlgn="auto" latinLnBrk="0" hangingPunct="1">
                <a:lnSpc>
                  <a:spcPct val="120000"/>
                </a:lnSpc>
                <a:spcBef>
                  <a:spcPts val="0"/>
                </a:spcBef>
                <a:spcAft>
                  <a:spcPts val="0"/>
                </a:spcAft>
                <a:buClrTx/>
                <a:buSzPct val="100000"/>
                <a:buFontTx/>
                <a:buNone/>
                <a:tabLst/>
                <a:defRPr/>
              </a:pPr>
              <a:endParaRPr kumimoji="0" lang="en-US" sz="1100" b="0" i="0" u="none" strike="noStrike" kern="0" cap="none" spc="0" normalizeH="0" baseline="0" noProof="0" dirty="0">
                <a:ln>
                  <a:noFill/>
                </a:ln>
                <a:solidFill>
                  <a:srgbClr val="494947"/>
                </a:solidFill>
                <a:effectLst/>
                <a:uLnTx/>
                <a:uFillTx/>
                <a:latin typeface="Arial" panose="020B0604020202020204" pitchFamily="34" charset="0"/>
                <a:cs typeface="Arial" panose="020B0604020202020204" pitchFamily="34" charset="0"/>
              </a:endParaRPr>
            </a:p>
          </p:txBody>
        </p:sp>
        <p:sp>
          <p:nvSpPr>
            <p:cNvPr id="106" name="AutoShape 3">
              <a:extLst>
                <a:ext uri="{FF2B5EF4-FFF2-40B4-BE49-F238E27FC236}">
                  <a16:creationId xmlns:a16="http://schemas.microsoft.com/office/drawing/2014/main" id="{3D4419A2-DDEC-41F9-AD23-DA48FB8E1B71}"/>
                </a:ext>
              </a:extLst>
            </p:cNvPr>
            <p:cNvSpPr>
              <a:spLocks noChangeArrowheads="1"/>
            </p:cNvSpPr>
            <p:nvPr/>
          </p:nvSpPr>
          <p:spPr bwMode="auto">
            <a:xfrm rot="5400000">
              <a:off x="2830620" y="2596306"/>
              <a:ext cx="638685" cy="2438848"/>
            </a:xfrm>
            <a:prstGeom prst="chevron">
              <a:avLst>
                <a:gd name="adj" fmla="val 25000"/>
              </a:avLst>
            </a:prstGeom>
            <a:solidFill>
              <a:srgbClr val="00206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sz="1300" b="1" kern="0" dirty="0">
                  <a:solidFill>
                    <a:prstClr val="white"/>
                  </a:solidFill>
                  <a:latin typeface="Arial" panose="020B0604020202020204" pitchFamily="34" charset="0"/>
                  <a:ea typeface="ＭＳ Ｐゴシック" pitchFamily="50" charset="-128"/>
                  <a:cs typeface="Arial" panose="020B0604020202020204" pitchFamily="34" charset="0"/>
                </a:rPr>
                <a:t>Revised Standardized Framework</a:t>
              </a:r>
            </a:p>
          </p:txBody>
        </p:sp>
        <p:sp>
          <p:nvSpPr>
            <p:cNvPr id="107" name="AutoShape 4">
              <a:extLst>
                <a:ext uri="{FF2B5EF4-FFF2-40B4-BE49-F238E27FC236}">
                  <a16:creationId xmlns:a16="http://schemas.microsoft.com/office/drawing/2014/main" id="{B9836196-37D0-4134-8538-FF8A6E956901}"/>
                </a:ext>
              </a:extLst>
            </p:cNvPr>
            <p:cNvSpPr>
              <a:spLocks noChangeArrowheads="1"/>
            </p:cNvSpPr>
            <p:nvPr/>
          </p:nvSpPr>
          <p:spPr bwMode="auto">
            <a:xfrm rot="5400000">
              <a:off x="2830620" y="3231158"/>
              <a:ext cx="638685" cy="2438848"/>
            </a:xfrm>
            <a:prstGeom prst="chevron">
              <a:avLst>
                <a:gd name="adj" fmla="val 25000"/>
              </a:avLst>
            </a:prstGeom>
            <a:solidFill>
              <a:srgbClr val="0070C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sz="1300" b="1" kern="0" dirty="0">
                  <a:solidFill>
                    <a:schemeClr val="bg1"/>
                  </a:solidFill>
                  <a:latin typeface="Arial" panose="020B0604020202020204" pitchFamily="34" charset="0"/>
                  <a:ea typeface="ＭＳ Ｐゴシック" pitchFamily="50" charset="-128"/>
                  <a:cs typeface="Arial" panose="020B0604020202020204" pitchFamily="34" charset="0"/>
                </a:rPr>
                <a:t>IMS Option</a:t>
              </a:r>
            </a:p>
          </p:txBody>
        </p:sp>
        <p:sp>
          <p:nvSpPr>
            <p:cNvPr id="108" name="AutoShape 5">
              <a:extLst>
                <a:ext uri="{FF2B5EF4-FFF2-40B4-BE49-F238E27FC236}">
                  <a16:creationId xmlns:a16="http://schemas.microsoft.com/office/drawing/2014/main" id="{8CFD12D4-5D9E-4FB4-8D6A-8F68E8A3011E}"/>
                </a:ext>
              </a:extLst>
            </p:cNvPr>
            <p:cNvSpPr>
              <a:spLocks noChangeArrowheads="1"/>
            </p:cNvSpPr>
            <p:nvPr/>
          </p:nvSpPr>
          <p:spPr bwMode="auto">
            <a:xfrm rot="5400000">
              <a:off x="2830620" y="3866009"/>
              <a:ext cx="638685" cy="2438848"/>
            </a:xfrm>
            <a:prstGeom prst="chevron">
              <a:avLst>
                <a:gd name="adj" fmla="val 25000"/>
              </a:avLst>
            </a:prstGeom>
            <a:solidFill>
              <a:srgbClr val="00B0F0"/>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sz="1300" b="1" kern="0" dirty="0">
                  <a:solidFill>
                    <a:prstClr val="white"/>
                  </a:solidFill>
                  <a:latin typeface="Arial" panose="020B0604020202020204" pitchFamily="34" charset="0"/>
                  <a:ea typeface="ＭＳ Ｐゴシック" pitchFamily="50" charset="-128"/>
                  <a:cs typeface="Arial" panose="020B0604020202020204" pitchFamily="34" charset="0"/>
                </a:rPr>
                <a:t>Detailed </a:t>
              </a:r>
            </a:p>
            <a:p>
              <a:pPr algn="ctr">
                <a:lnSpc>
                  <a:spcPct val="120000"/>
                </a:lnSpc>
              </a:pPr>
              <a:r>
                <a:rPr lang="en-US" sz="1300" b="1" kern="0" dirty="0">
                  <a:solidFill>
                    <a:prstClr val="white"/>
                  </a:solidFill>
                  <a:latin typeface="Arial" panose="020B0604020202020204" pitchFamily="34" charset="0"/>
                  <a:ea typeface="ＭＳ Ｐゴシック" pitchFamily="50" charset="-128"/>
                  <a:cs typeface="Arial" panose="020B0604020202020204" pitchFamily="34" charset="0"/>
                </a:rPr>
                <a:t>Disclosures</a:t>
              </a:r>
            </a:p>
          </p:txBody>
        </p:sp>
        <p:sp>
          <p:nvSpPr>
            <p:cNvPr id="109" name="AutoShape 6">
              <a:extLst>
                <a:ext uri="{FF2B5EF4-FFF2-40B4-BE49-F238E27FC236}">
                  <a16:creationId xmlns:a16="http://schemas.microsoft.com/office/drawing/2014/main" id="{5D6A0EB2-7538-49C4-A904-5CE8418845E4}"/>
                </a:ext>
              </a:extLst>
            </p:cNvPr>
            <p:cNvSpPr>
              <a:spLocks noChangeArrowheads="1"/>
            </p:cNvSpPr>
            <p:nvPr/>
          </p:nvSpPr>
          <p:spPr bwMode="auto">
            <a:xfrm rot="5400000">
              <a:off x="2830620" y="4507085"/>
              <a:ext cx="638685" cy="2438848"/>
            </a:xfrm>
            <a:prstGeom prst="chevron">
              <a:avLst>
                <a:gd name="adj" fmla="val 25000"/>
              </a:avLst>
            </a:prstGeom>
            <a:solidFill>
              <a:schemeClr val="tx1">
                <a:lumMod val="65000"/>
                <a:lumOff val="35000"/>
              </a:schemeClr>
            </a:solidFill>
            <a:ln w="6350" algn="ctr">
              <a:solidFill>
                <a:schemeClr val="bg1"/>
              </a:solidFill>
              <a:miter lim="800000"/>
              <a:headEnd/>
              <a:tailEnd/>
            </a:ln>
          </p:spPr>
          <p:txBody>
            <a:bodyPr rot="10800000" vert="eaVert" lIns="72000" tIns="108000" rIns="216000" bIns="108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20000"/>
                </a:lnSpc>
              </a:pPr>
              <a:r>
                <a:rPr lang="en-US" sz="1300" b="1" kern="0" dirty="0">
                  <a:solidFill>
                    <a:schemeClr val="bg1"/>
                  </a:solidFill>
                  <a:latin typeface="Arial" panose="020B0604020202020204" pitchFamily="34" charset="0"/>
                  <a:ea typeface="ＭＳ Ｐゴシック" pitchFamily="50" charset="-128"/>
                  <a:cs typeface="Arial" panose="020B0604020202020204" pitchFamily="34" charset="0"/>
                </a:rPr>
                <a:t>Outlier Test</a:t>
              </a:r>
            </a:p>
          </p:txBody>
        </p:sp>
      </p:grpSp>
      <p:sp>
        <p:nvSpPr>
          <p:cNvPr id="111" name="Rectangle 110">
            <a:extLst>
              <a:ext uri="{FF2B5EF4-FFF2-40B4-BE49-F238E27FC236}">
                <a16:creationId xmlns:a16="http://schemas.microsoft.com/office/drawing/2014/main" id="{3C73DBE7-3612-4864-B7CD-BB1BADAED3CA}"/>
              </a:ext>
            </a:extLst>
          </p:cNvPr>
          <p:cNvSpPr/>
          <p:nvPr/>
        </p:nvSpPr>
        <p:spPr>
          <a:xfrm rot="16200000">
            <a:off x="6809139" y="-1911436"/>
            <a:ext cx="265283" cy="10076947"/>
          </a:xfrm>
          <a:prstGeom prst="rect">
            <a:avLst/>
          </a:prstGeom>
          <a:solidFill>
            <a:srgbClr val="002060"/>
          </a:solidFill>
          <a:ln w="12700" cap="flat" cmpd="sng" algn="ctr">
            <a:noFill/>
            <a:prstDash val="solid"/>
            <a:miter lim="800000"/>
          </a:ln>
          <a:effectLst/>
        </p:spPr>
        <p:txBody>
          <a:bodyPr vert="vert"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100" b="1" i="0" u="none" strike="noStrike" kern="0" cap="none" spc="0" normalizeH="0" baseline="0" noProof="0" dirty="0">
                <a:ln>
                  <a:noFill/>
                </a:ln>
                <a:solidFill>
                  <a:schemeClr val="bg1"/>
                </a:solidFill>
                <a:effectLst/>
                <a:uLnTx/>
                <a:uFillTx/>
                <a:latin typeface="Arial" panose="020B0604020202020204"/>
                <a:ea typeface="+mn-ea"/>
                <a:cs typeface="+mn-cs"/>
              </a:rPr>
              <a:t>Key Highlights of the revised BCBS standards on IRRBB </a:t>
            </a:r>
          </a:p>
        </p:txBody>
      </p:sp>
    </p:spTree>
    <p:extLst>
      <p:ext uri="{BB962C8B-B14F-4D97-AF65-F5344CB8AC3E}">
        <p14:creationId xmlns:p14="http://schemas.microsoft.com/office/powerpoint/2010/main" val="2833895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b="-27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96600" y="0"/>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824099" y="88402"/>
            <a:ext cx="9179943"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algn="l"/>
            <a:r>
              <a:rPr lang="en-US" altLang="en-US" sz="2400" b="1" dirty="0">
                <a:solidFill>
                  <a:srgbClr val="C00000"/>
                </a:solidFill>
                <a:latin typeface="Arial"/>
                <a:cs typeface="Arial"/>
              </a:rPr>
              <a:t>Key Principles of revised Basel standards for IRRBB</a:t>
            </a:r>
          </a:p>
        </p:txBody>
      </p:sp>
      <p:sp>
        <p:nvSpPr>
          <p:cNvPr id="27" name="Arc 2">
            <a:extLst>
              <a:ext uri="{FF2B5EF4-FFF2-40B4-BE49-F238E27FC236}">
                <a16:creationId xmlns:a16="http://schemas.microsoft.com/office/drawing/2014/main" id="{AF1A6C06-FEC7-4915-B639-CF93AA9A6A92}"/>
              </a:ext>
            </a:extLst>
          </p:cNvPr>
          <p:cNvSpPr>
            <a:spLocks/>
          </p:cNvSpPr>
          <p:nvPr/>
        </p:nvSpPr>
        <p:spPr bwMode="auto">
          <a:xfrm flipV="1">
            <a:off x="3798680" y="4022137"/>
            <a:ext cx="5665504" cy="1463808"/>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1">
                <a:lumMod val="85000"/>
                <a:alpha val="81000"/>
              </a:schemeClr>
            </a:solidFill>
            <a:round/>
            <a:headEnd/>
            <a:tailEnd/>
          </a:ln>
        </p:spPr>
        <p:txBody>
          <a:bodyPr wrap="none" lIns="0" tIns="0" rIns="0" bIns="0" anchor="ctr"/>
          <a:lstStyle/>
          <a:p>
            <a:pPr marL="0" marR="0" lvl="0" indent="0" algn="ctr" defTabSz="820007" eaLnBrk="1" fontAlgn="base" latinLnBrk="0" hangingPunct="1">
              <a:lnSpc>
                <a:spcPct val="100000"/>
              </a:lnSpc>
              <a:spcBef>
                <a:spcPct val="0"/>
              </a:spcBef>
              <a:spcAft>
                <a:spcPct val="0"/>
              </a:spcAft>
              <a:buClrTx/>
              <a:buSzTx/>
              <a:buFontTx/>
              <a:buNone/>
              <a:tabLst/>
              <a:defRPr/>
            </a:pPr>
            <a:endParaRPr kumimoji="0" lang="en-GB" altLang="ja-JP" sz="1000" b="1" i="0" u="none" strike="noStrike" kern="0" cap="none" spc="0" normalizeH="0" baseline="0" noProof="0" dirty="0">
              <a:ln>
                <a:noFill/>
              </a:ln>
              <a:solidFill>
                <a:srgbClr val="002776"/>
              </a:solidFill>
              <a:effectLst/>
              <a:uLnTx/>
              <a:uFillTx/>
              <a:latin typeface="Arial" panose="020B0604020202020204" pitchFamily="34" charset="0"/>
              <a:ea typeface="ＭＳ Ｐゴシック" pitchFamily="50" charset="-128"/>
              <a:cs typeface="Arial" panose="020B0604020202020204" pitchFamily="34" charset="0"/>
            </a:endParaRPr>
          </a:p>
        </p:txBody>
      </p:sp>
      <p:sp>
        <p:nvSpPr>
          <p:cNvPr id="28" name="Arc 2">
            <a:extLst>
              <a:ext uri="{FF2B5EF4-FFF2-40B4-BE49-F238E27FC236}">
                <a16:creationId xmlns:a16="http://schemas.microsoft.com/office/drawing/2014/main" id="{E04ECF15-1F25-4C05-97E3-0686EF782997}"/>
              </a:ext>
            </a:extLst>
          </p:cNvPr>
          <p:cNvSpPr>
            <a:spLocks/>
          </p:cNvSpPr>
          <p:nvPr/>
        </p:nvSpPr>
        <p:spPr bwMode="auto">
          <a:xfrm>
            <a:off x="3798680" y="2483537"/>
            <a:ext cx="5665504" cy="1463808"/>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chemeClr val="bg1">
                <a:lumMod val="85000"/>
                <a:alpha val="81000"/>
              </a:schemeClr>
            </a:solidFill>
            <a:round/>
            <a:headEnd/>
            <a:tailEnd/>
          </a:ln>
        </p:spPr>
        <p:txBody>
          <a:bodyPr wrap="none" lIns="0" tIns="0" rIns="0" bIns="0" anchor="ctr"/>
          <a:lstStyle/>
          <a:p>
            <a:pPr marL="0" marR="0" lvl="0" indent="0" algn="ctr" defTabSz="820007" eaLnBrk="1" fontAlgn="base" latinLnBrk="0" hangingPunct="1">
              <a:lnSpc>
                <a:spcPct val="100000"/>
              </a:lnSpc>
              <a:spcBef>
                <a:spcPct val="0"/>
              </a:spcBef>
              <a:spcAft>
                <a:spcPct val="0"/>
              </a:spcAft>
              <a:buClrTx/>
              <a:buSzTx/>
              <a:buFontTx/>
              <a:buNone/>
              <a:tabLst/>
              <a:defRPr/>
            </a:pPr>
            <a:endParaRPr kumimoji="0" lang="en-GB" altLang="ja-JP" sz="1000" b="1" i="0" u="none" strike="noStrike" kern="0" cap="none" spc="0" normalizeH="0" baseline="0" noProof="0" dirty="0">
              <a:ln>
                <a:noFill/>
              </a:ln>
              <a:solidFill>
                <a:srgbClr val="002776"/>
              </a:solidFill>
              <a:effectLst/>
              <a:uLnTx/>
              <a:uFillTx/>
              <a:latin typeface="Arial" panose="020B0604020202020204" pitchFamily="34" charset="0"/>
              <a:ea typeface="ＭＳ Ｐゴシック" pitchFamily="50" charset="-128"/>
              <a:cs typeface="Arial" panose="020B0604020202020204" pitchFamily="34" charset="0"/>
            </a:endParaRPr>
          </a:p>
        </p:txBody>
      </p:sp>
      <p:sp>
        <p:nvSpPr>
          <p:cNvPr id="29" name="Oval 28">
            <a:extLst>
              <a:ext uri="{FF2B5EF4-FFF2-40B4-BE49-F238E27FC236}">
                <a16:creationId xmlns:a16="http://schemas.microsoft.com/office/drawing/2014/main" id="{C370C591-5E1D-48AE-8FC2-6FD7C21531A2}"/>
              </a:ext>
            </a:extLst>
          </p:cNvPr>
          <p:cNvSpPr>
            <a:spLocks noChangeArrowheads="1"/>
          </p:cNvSpPr>
          <p:nvPr/>
        </p:nvSpPr>
        <p:spPr bwMode="gray">
          <a:xfrm>
            <a:off x="3232422" y="3473581"/>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easurement and Modelling</a:t>
            </a:r>
            <a:endPar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7D0B1533-97C7-41BF-BAAB-28404BDB666F}"/>
              </a:ext>
            </a:extLst>
          </p:cNvPr>
          <p:cNvSpPr>
            <a:spLocks noChangeArrowheads="1"/>
          </p:cNvSpPr>
          <p:nvPr/>
        </p:nvSpPr>
        <p:spPr bwMode="gray">
          <a:xfrm>
            <a:off x="4072969" y="2470867"/>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ress Testing Framework</a:t>
            </a:r>
          </a:p>
        </p:txBody>
      </p:sp>
      <p:sp>
        <p:nvSpPr>
          <p:cNvPr id="31" name="Oval 30">
            <a:extLst>
              <a:ext uri="{FF2B5EF4-FFF2-40B4-BE49-F238E27FC236}">
                <a16:creationId xmlns:a16="http://schemas.microsoft.com/office/drawing/2014/main" id="{C24D561D-8156-4C9A-9DBE-F0FA24D403A8}"/>
              </a:ext>
            </a:extLst>
          </p:cNvPr>
          <p:cNvSpPr>
            <a:spLocks noChangeArrowheads="1"/>
          </p:cNvSpPr>
          <p:nvPr/>
        </p:nvSpPr>
        <p:spPr bwMode="gray">
          <a:xfrm>
            <a:off x="6000747" y="2177858"/>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odel Risk Management</a:t>
            </a:r>
          </a:p>
        </p:txBody>
      </p:sp>
      <p:sp>
        <p:nvSpPr>
          <p:cNvPr id="32" name="Oval 31">
            <a:extLst>
              <a:ext uri="{FF2B5EF4-FFF2-40B4-BE49-F238E27FC236}">
                <a16:creationId xmlns:a16="http://schemas.microsoft.com/office/drawing/2014/main" id="{785B5585-04FD-44C2-8E09-CBDBAF962558}"/>
              </a:ext>
            </a:extLst>
          </p:cNvPr>
          <p:cNvSpPr>
            <a:spLocks noChangeArrowheads="1"/>
          </p:cNvSpPr>
          <p:nvPr/>
        </p:nvSpPr>
        <p:spPr bwMode="gray">
          <a:xfrm flipH="1">
            <a:off x="8663453" y="3473581"/>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porting &amp; Disclosures</a:t>
            </a:r>
          </a:p>
        </p:txBody>
      </p:sp>
      <p:sp>
        <p:nvSpPr>
          <p:cNvPr id="33" name="Oval 32">
            <a:extLst>
              <a:ext uri="{FF2B5EF4-FFF2-40B4-BE49-F238E27FC236}">
                <a16:creationId xmlns:a16="http://schemas.microsoft.com/office/drawing/2014/main" id="{E564FDAE-7381-49B0-8F34-85644595CD0B}"/>
              </a:ext>
            </a:extLst>
          </p:cNvPr>
          <p:cNvSpPr>
            <a:spLocks noChangeArrowheads="1"/>
          </p:cNvSpPr>
          <p:nvPr/>
        </p:nvSpPr>
        <p:spPr bwMode="gray">
          <a:xfrm flipH="1">
            <a:off x="7705155" y="2523801"/>
            <a:ext cx="147320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apital Adequacy Assessment</a:t>
            </a:r>
          </a:p>
        </p:txBody>
      </p:sp>
      <p:sp>
        <p:nvSpPr>
          <p:cNvPr id="34" name="Rectangle 13">
            <a:extLst>
              <a:ext uri="{FF2B5EF4-FFF2-40B4-BE49-F238E27FC236}">
                <a16:creationId xmlns:a16="http://schemas.microsoft.com/office/drawing/2014/main" id="{37C9F6DD-257E-4771-98A1-969F7D390B34}"/>
              </a:ext>
            </a:extLst>
          </p:cNvPr>
          <p:cNvSpPr>
            <a:spLocks noChangeArrowheads="1"/>
          </p:cNvSpPr>
          <p:nvPr/>
        </p:nvSpPr>
        <p:spPr bwMode="auto">
          <a:xfrm>
            <a:off x="4275100" y="5182831"/>
            <a:ext cx="4903258" cy="361848"/>
          </a:xfrm>
          <a:prstGeom prst="rect">
            <a:avLst/>
          </a:prstGeom>
          <a:solidFill>
            <a:schemeClr val="tx1"/>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levant Stakeholders</a:t>
            </a:r>
          </a:p>
        </p:txBody>
      </p:sp>
      <p:sp>
        <p:nvSpPr>
          <p:cNvPr id="35" name="AutoShape 4">
            <a:extLst>
              <a:ext uri="{FF2B5EF4-FFF2-40B4-BE49-F238E27FC236}">
                <a16:creationId xmlns:a16="http://schemas.microsoft.com/office/drawing/2014/main" id="{6C8C22F4-D808-4750-BFA6-52380676CA32}"/>
              </a:ext>
            </a:extLst>
          </p:cNvPr>
          <p:cNvSpPr>
            <a:spLocks noChangeArrowheads="1"/>
          </p:cNvSpPr>
          <p:nvPr/>
        </p:nvSpPr>
        <p:spPr bwMode="auto">
          <a:xfrm flipV="1">
            <a:off x="5876863" y="5587107"/>
            <a:ext cx="1679072" cy="172825"/>
          </a:xfrm>
          <a:prstGeom prst="triangle">
            <a:avLst>
              <a:gd name="adj" fmla="val 50000"/>
            </a:avLst>
          </a:prstGeom>
          <a:solidFill>
            <a:schemeClr val="tx1">
              <a:lumMod val="50000"/>
              <a:lumOff val="50000"/>
            </a:schemeClr>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3CE92C4E-96E9-45FC-B8A0-BCA888A48260}"/>
              </a:ext>
            </a:extLst>
          </p:cNvPr>
          <p:cNvSpPr>
            <a:spLocks noChangeArrowheads="1"/>
          </p:cNvSpPr>
          <p:nvPr/>
        </p:nvSpPr>
        <p:spPr bwMode="gray">
          <a:xfrm>
            <a:off x="3507951" y="4399350"/>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isk Governance and Oversight</a:t>
            </a:r>
          </a:p>
        </p:txBody>
      </p:sp>
      <p:sp>
        <p:nvSpPr>
          <p:cNvPr id="37" name="Oval 36">
            <a:extLst>
              <a:ext uri="{FF2B5EF4-FFF2-40B4-BE49-F238E27FC236}">
                <a16:creationId xmlns:a16="http://schemas.microsoft.com/office/drawing/2014/main" id="{9C5618A1-CBF1-4F19-AA5E-4B897615F9A2}"/>
              </a:ext>
            </a:extLst>
          </p:cNvPr>
          <p:cNvSpPr>
            <a:spLocks noChangeArrowheads="1"/>
          </p:cNvSpPr>
          <p:nvPr/>
        </p:nvSpPr>
        <p:spPr bwMode="gray">
          <a:xfrm>
            <a:off x="8355427" y="4396744"/>
            <a:ext cx="1340482" cy="605060"/>
          </a:xfrm>
          <a:prstGeom prst="ellipse">
            <a:avLst/>
          </a:prstGeom>
          <a:solidFill>
            <a:srgbClr val="002060">
              <a:alpha val="87000"/>
            </a:srgbClr>
          </a:solidFill>
          <a:ln>
            <a:solidFill>
              <a:srgbClr val="C19859">
                <a:lumMod val="75000"/>
                <a:alpha val="54902"/>
              </a:srgbClr>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upervisory Review</a:t>
            </a:r>
          </a:p>
        </p:txBody>
      </p:sp>
      <p:sp>
        <p:nvSpPr>
          <p:cNvPr id="38" name="Rectangle 174">
            <a:extLst>
              <a:ext uri="{FF2B5EF4-FFF2-40B4-BE49-F238E27FC236}">
                <a16:creationId xmlns:a16="http://schemas.microsoft.com/office/drawing/2014/main" id="{D941BB84-550F-4C6D-8967-37C392F4EA0B}"/>
              </a:ext>
            </a:extLst>
          </p:cNvPr>
          <p:cNvSpPr>
            <a:spLocks noChangeArrowheads="1"/>
          </p:cNvSpPr>
          <p:nvPr/>
        </p:nvSpPr>
        <p:spPr bwMode="auto">
          <a:xfrm>
            <a:off x="6189457" y="3243175"/>
            <a:ext cx="834077" cy="708778"/>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1016594" eaLnBrk="0" fontAlgn="base" latinLnBrk="0" hangingPunct="0">
              <a:lnSpc>
                <a:spcPct val="90000"/>
              </a:lnSpc>
              <a:spcBef>
                <a:spcPct val="0"/>
              </a:spcBef>
              <a:spcAft>
                <a:spcPct val="15000"/>
              </a:spcAft>
              <a:buClr>
                <a:srgbClr val="000000"/>
              </a:buClr>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antification of Risk</a:t>
            </a:r>
            <a:endPar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 name="Rectangle 174">
            <a:extLst>
              <a:ext uri="{FF2B5EF4-FFF2-40B4-BE49-F238E27FC236}">
                <a16:creationId xmlns:a16="http://schemas.microsoft.com/office/drawing/2014/main" id="{05903D31-812F-424F-BB7E-C4D349F4BF02}"/>
              </a:ext>
            </a:extLst>
          </p:cNvPr>
          <p:cNvSpPr>
            <a:spLocks noChangeArrowheads="1"/>
          </p:cNvSpPr>
          <p:nvPr/>
        </p:nvSpPr>
        <p:spPr bwMode="auto">
          <a:xfrm>
            <a:off x="5058763" y="3243175"/>
            <a:ext cx="834077" cy="708778"/>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1016594" eaLnBrk="0" fontAlgn="base" latinLnBrk="0" hangingPunct="0">
              <a:lnSpc>
                <a:spcPct val="90000"/>
              </a:lnSpc>
              <a:spcBef>
                <a:spcPct val="10000"/>
              </a:spcBef>
              <a:spcAft>
                <a:spcPct val="15000"/>
              </a:spcAft>
              <a:buClr>
                <a:srgbClr val="000000"/>
              </a:buClr>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dentification of Exposure</a:t>
            </a:r>
            <a:endPar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Rectangle 174">
            <a:extLst>
              <a:ext uri="{FF2B5EF4-FFF2-40B4-BE49-F238E27FC236}">
                <a16:creationId xmlns:a16="http://schemas.microsoft.com/office/drawing/2014/main" id="{C09B462C-D4DC-4720-8E16-BE1D36738E99}"/>
              </a:ext>
            </a:extLst>
          </p:cNvPr>
          <p:cNvSpPr>
            <a:spLocks noChangeArrowheads="1"/>
          </p:cNvSpPr>
          <p:nvPr/>
        </p:nvSpPr>
        <p:spPr bwMode="auto">
          <a:xfrm>
            <a:off x="7303281" y="3257242"/>
            <a:ext cx="834077" cy="708778"/>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1016594" eaLnBrk="0" fontAlgn="base" latinLnBrk="0" hangingPunct="0">
              <a:lnSpc>
                <a:spcPct val="90000"/>
              </a:lnSpc>
              <a:spcBef>
                <a:spcPct val="10000"/>
              </a:spcBef>
              <a:spcAft>
                <a:spcPts val="0"/>
              </a:spcAft>
              <a:buClr>
                <a:srgbClr val="000000"/>
              </a:buClr>
              <a:buSzTx/>
              <a:buFontTx/>
              <a:buNone/>
              <a:tabLst/>
              <a:defRPr/>
            </a:pPr>
            <a:r>
              <a:rPr kumimoji="0" lang="en-GB"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ssessment of Impact</a:t>
            </a:r>
            <a:endPar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1" name="Rectangle 174">
            <a:extLst>
              <a:ext uri="{FF2B5EF4-FFF2-40B4-BE49-F238E27FC236}">
                <a16:creationId xmlns:a16="http://schemas.microsoft.com/office/drawing/2014/main" id="{AF7DE2F2-0E49-45AE-A663-7D6541F1447B}"/>
              </a:ext>
            </a:extLst>
          </p:cNvPr>
          <p:cNvSpPr>
            <a:spLocks noChangeArrowheads="1"/>
          </p:cNvSpPr>
          <p:nvPr/>
        </p:nvSpPr>
        <p:spPr bwMode="auto">
          <a:xfrm>
            <a:off x="5054144" y="4116318"/>
            <a:ext cx="834077" cy="736077"/>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onitoring and Control</a:t>
            </a:r>
          </a:p>
        </p:txBody>
      </p:sp>
      <p:sp>
        <p:nvSpPr>
          <p:cNvPr id="42" name="Rectangle 174">
            <a:extLst>
              <a:ext uri="{FF2B5EF4-FFF2-40B4-BE49-F238E27FC236}">
                <a16:creationId xmlns:a16="http://schemas.microsoft.com/office/drawing/2014/main" id="{C4C52B3B-B82B-4DCC-AA7C-D75B8F7F7BC3}"/>
              </a:ext>
            </a:extLst>
          </p:cNvPr>
          <p:cNvSpPr>
            <a:spLocks noChangeArrowheads="1"/>
          </p:cNvSpPr>
          <p:nvPr/>
        </p:nvSpPr>
        <p:spPr bwMode="auto">
          <a:xfrm>
            <a:off x="6189457" y="4115540"/>
            <a:ext cx="834077" cy="736077"/>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porting </a:t>
            </a:r>
          </a:p>
        </p:txBody>
      </p:sp>
      <p:sp>
        <p:nvSpPr>
          <p:cNvPr id="43" name="Rectangle 174">
            <a:extLst>
              <a:ext uri="{FF2B5EF4-FFF2-40B4-BE49-F238E27FC236}">
                <a16:creationId xmlns:a16="http://schemas.microsoft.com/office/drawing/2014/main" id="{AF11A804-C198-47B8-96CA-EDE010EE5444}"/>
              </a:ext>
            </a:extLst>
          </p:cNvPr>
          <p:cNvSpPr>
            <a:spLocks noChangeArrowheads="1"/>
          </p:cNvSpPr>
          <p:nvPr/>
        </p:nvSpPr>
        <p:spPr bwMode="auto">
          <a:xfrm>
            <a:off x="7309609" y="4104314"/>
            <a:ext cx="834077" cy="736077"/>
          </a:xfrm>
          <a:prstGeom prst="rect">
            <a:avLst/>
          </a:prstGeom>
          <a:solidFill>
            <a:schemeClr val="bg1">
              <a:lumMod val="95000"/>
            </a:schemeClr>
          </a:solidFill>
          <a:ln>
            <a:solidFill>
              <a:schemeClr val="bg1"/>
            </a:solidFill>
          </a:ln>
        </p:spPr>
        <p:txBody>
          <a:bodyPr lIns="9683" tIns="41962" rIns="9683"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gulatory Supervision</a:t>
            </a:r>
          </a:p>
        </p:txBody>
      </p:sp>
      <p:sp>
        <p:nvSpPr>
          <p:cNvPr id="44" name="Chevron 55">
            <a:extLst>
              <a:ext uri="{FF2B5EF4-FFF2-40B4-BE49-F238E27FC236}">
                <a16:creationId xmlns:a16="http://schemas.microsoft.com/office/drawing/2014/main" id="{2A9F6315-1257-4A17-8373-E516705A9A45}"/>
              </a:ext>
            </a:extLst>
          </p:cNvPr>
          <p:cNvSpPr/>
          <p:nvPr/>
        </p:nvSpPr>
        <p:spPr>
          <a:xfrm>
            <a:off x="5911096" y="3520989"/>
            <a:ext cx="268096" cy="191072"/>
          </a:xfrm>
          <a:prstGeom prst="chevron">
            <a:avLst/>
          </a:prstGeom>
          <a:solidFill>
            <a:sysClr val="windowText" lastClr="000000"/>
          </a:solidFill>
          <a:ln w="12700" algn="ctr">
            <a:noFill/>
            <a:miter lim="800000"/>
            <a:headEnd/>
            <a:tailEnd/>
          </a:ln>
          <a:effectLst/>
        </p:spPr>
        <p:txBody>
          <a:bodyPr rot="0" spcFirstLastPara="0" vertOverflow="overflow" horzOverflow="overflow" vert="horz" wrap="square" lIns="71929" tIns="32273" rIns="71929" bIns="0" numCol="1" spcCol="0" rtlCol="0" fromWordArt="0" anchor="t" anchorCtr="0" forceAA="0" compatLnSpc="1">
            <a:prstTxWarp prst="textNoShape">
              <a:avLst/>
            </a:prstTxWarp>
            <a:noAutofit/>
          </a:bodyPr>
          <a:lstStyle/>
          <a:p>
            <a:pPr marL="0" marR="0" lvl="0" indent="0" algn="ctr" defTabSz="1016594" eaLnBrk="0" fontAlgn="base" latinLnBrk="0" hangingPunct="0">
              <a:lnSpc>
                <a:spcPct val="90000"/>
              </a:lnSpc>
              <a:spcBef>
                <a:spcPct val="10000"/>
              </a:spcBef>
              <a:spcAft>
                <a:spcPct val="15000"/>
              </a:spcAft>
              <a:buClr>
                <a:srgbClr val="000000"/>
              </a:buClr>
              <a:buSzTx/>
              <a:buFontTx/>
              <a:buNone/>
              <a:tabLst/>
              <a:defRPr/>
            </a:pPr>
            <a:endParaRPr kumimoji="0" lang="en-GB" sz="1000" b="1" i="0" u="none" strike="noStrike" kern="0" cap="none" spc="0" normalizeH="0" baseline="0" noProof="0" dirty="0">
              <a:ln>
                <a:noFill/>
              </a:ln>
              <a:solidFill>
                <a:srgbClr val="091D5D"/>
              </a:solidFill>
              <a:effectLst/>
              <a:uLnTx/>
              <a:uFillTx/>
              <a:latin typeface="Arial" panose="020B0604020202020204" pitchFamily="34" charset="0"/>
              <a:cs typeface="Arial" panose="020B0604020202020204" pitchFamily="34" charset="0"/>
            </a:endParaRPr>
          </a:p>
        </p:txBody>
      </p:sp>
      <p:sp>
        <p:nvSpPr>
          <p:cNvPr id="45" name="Chevron 56">
            <a:extLst>
              <a:ext uri="{FF2B5EF4-FFF2-40B4-BE49-F238E27FC236}">
                <a16:creationId xmlns:a16="http://schemas.microsoft.com/office/drawing/2014/main" id="{A2E56934-D816-4F30-9BCE-22CA3D6533C4}"/>
              </a:ext>
            </a:extLst>
          </p:cNvPr>
          <p:cNvSpPr/>
          <p:nvPr/>
        </p:nvSpPr>
        <p:spPr>
          <a:xfrm>
            <a:off x="7035184" y="3520989"/>
            <a:ext cx="268096" cy="191072"/>
          </a:xfrm>
          <a:prstGeom prst="chevron">
            <a:avLst/>
          </a:prstGeom>
          <a:solidFill>
            <a:sysClr val="windowText" lastClr="000000"/>
          </a:solidFill>
          <a:ln w="12700" algn="ctr">
            <a:noFill/>
            <a:miter lim="800000"/>
            <a:headEnd/>
            <a:tailEnd/>
          </a:ln>
          <a:effectLst/>
        </p:spPr>
        <p:txBody>
          <a:bodyPr rot="0" spcFirstLastPara="0" vertOverflow="overflow" horzOverflow="overflow" vert="horz" wrap="square" lIns="71929" tIns="32273" rIns="71929" bIns="0" numCol="1" spcCol="0" rtlCol="0" fromWordArt="0" anchor="t" anchorCtr="0" forceAA="0" compatLnSpc="1">
            <a:prstTxWarp prst="textNoShape">
              <a:avLst/>
            </a:prstTxWarp>
            <a:noAutofit/>
          </a:bodyPr>
          <a:lstStyle/>
          <a:p>
            <a:pPr marL="0" marR="0" lvl="0" indent="0" algn="ctr" defTabSz="1016594" eaLnBrk="0" fontAlgn="base" latinLnBrk="0" hangingPunct="0">
              <a:lnSpc>
                <a:spcPct val="90000"/>
              </a:lnSpc>
              <a:spcBef>
                <a:spcPct val="10000"/>
              </a:spcBef>
              <a:spcAft>
                <a:spcPct val="15000"/>
              </a:spcAft>
              <a:buClr>
                <a:srgbClr val="000000"/>
              </a:buClr>
              <a:buSzTx/>
              <a:buFontTx/>
              <a:buNone/>
              <a:tabLst/>
              <a:defRPr/>
            </a:pPr>
            <a:endParaRPr kumimoji="0" lang="en-GB" sz="1000" b="1" i="0" u="none" strike="noStrike" kern="0" cap="none" spc="0" normalizeH="0" baseline="0" noProof="0" dirty="0">
              <a:ln>
                <a:noFill/>
              </a:ln>
              <a:solidFill>
                <a:srgbClr val="091D5D"/>
              </a:solidFill>
              <a:effectLst/>
              <a:uLnTx/>
              <a:uFillTx/>
              <a:latin typeface="Arial" panose="020B0604020202020204" pitchFamily="34" charset="0"/>
              <a:cs typeface="Arial" panose="020B0604020202020204" pitchFamily="34" charset="0"/>
            </a:endParaRPr>
          </a:p>
        </p:txBody>
      </p:sp>
      <p:sp>
        <p:nvSpPr>
          <p:cNvPr id="46" name="Chevron 57">
            <a:extLst>
              <a:ext uri="{FF2B5EF4-FFF2-40B4-BE49-F238E27FC236}">
                <a16:creationId xmlns:a16="http://schemas.microsoft.com/office/drawing/2014/main" id="{4E9FEFAB-82A6-41C4-A14F-812D4E779BA9}"/>
              </a:ext>
            </a:extLst>
          </p:cNvPr>
          <p:cNvSpPr/>
          <p:nvPr/>
        </p:nvSpPr>
        <p:spPr>
          <a:xfrm>
            <a:off x="5918435" y="4281281"/>
            <a:ext cx="268096" cy="191072"/>
          </a:xfrm>
          <a:prstGeom prst="chevron">
            <a:avLst/>
          </a:prstGeom>
          <a:solidFill>
            <a:sysClr val="windowText" lastClr="000000"/>
          </a:solidFill>
          <a:ln w="12700" algn="ctr">
            <a:noFill/>
            <a:miter lim="800000"/>
            <a:headEnd/>
            <a:tailEnd/>
          </a:ln>
          <a:effectLst/>
        </p:spPr>
        <p:txBody>
          <a:bodyPr rot="0" spcFirstLastPara="0" vertOverflow="overflow" horzOverflow="overflow" vert="horz" wrap="square" lIns="71929" tIns="32273" rIns="71929" bIns="0" numCol="1" spcCol="0" rtlCol="0" fromWordArt="0" anchor="t" anchorCtr="0" forceAA="0" compatLnSpc="1">
            <a:prstTxWarp prst="textNoShape">
              <a:avLst/>
            </a:prstTxWarp>
            <a:noAutofit/>
          </a:bodyPr>
          <a:lstStyle/>
          <a:p>
            <a:pPr marL="0" marR="0" lvl="0" indent="0" algn="ctr" defTabSz="1016594" eaLnBrk="0" fontAlgn="base" latinLnBrk="0" hangingPunct="0">
              <a:lnSpc>
                <a:spcPct val="90000"/>
              </a:lnSpc>
              <a:spcBef>
                <a:spcPct val="10000"/>
              </a:spcBef>
              <a:spcAft>
                <a:spcPct val="15000"/>
              </a:spcAft>
              <a:buClr>
                <a:srgbClr val="000000"/>
              </a:buClr>
              <a:buSzTx/>
              <a:buFontTx/>
              <a:buNone/>
              <a:tabLst/>
              <a:defRPr/>
            </a:pPr>
            <a:endParaRPr kumimoji="0" lang="en-GB" sz="1000" b="1" i="0" u="none" strike="noStrike" kern="0" cap="none" spc="0" normalizeH="0" baseline="0" noProof="0" dirty="0">
              <a:ln>
                <a:noFill/>
              </a:ln>
              <a:solidFill>
                <a:srgbClr val="091D5D"/>
              </a:solidFill>
              <a:effectLst/>
              <a:uLnTx/>
              <a:uFillTx/>
              <a:latin typeface="Arial" panose="020B0604020202020204" pitchFamily="34" charset="0"/>
              <a:cs typeface="Arial" panose="020B0604020202020204" pitchFamily="34" charset="0"/>
            </a:endParaRPr>
          </a:p>
        </p:txBody>
      </p:sp>
      <p:sp>
        <p:nvSpPr>
          <p:cNvPr id="47" name="Chevron 58">
            <a:extLst>
              <a:ext uri="{FF2B5EF4-FFF2-40B4-BE49-F238E27FC236}">
                <a16:creationId xmlns:a16="http://schemas.microsoft.com/office/drawing/2014/main" id="{CEA80238-1A24-47C0-8D31-10161CE26099}"/>
              </a:ext>
            </a:extLst>
          </p:cNvPr>
          <p:cNvSpPr/>
          <p:nvPr/>
        </p:nvSpPr>
        <p:spPr>
          <a:xfrm>
            <a:off x="7025313" y="4281280"/>
            <a:ext cx="268096" cy="191072"/>
          </a:xfrm>
          <a:prstGeom prst="chevron">
            <a:avLst/>
          </a:prstGeom>
          <a:solidFill>
            <a:sysClr val="windowText" lastClr="000000"/>
          </a:solidFill>
          <a:ln w="12700" algn="ctr">
            <a:noFill/>
            <a:miter lim="800000"/>
            <a:headEnd/>
            <a:tailEnd/>
          </a:ln>
          <a:effectLst/>
        </p:spPr>
        <p:txBody>
          <a:bodyPr rot="0" spcFirstLastPara="0" vertOverflow="overflow" horzOverflow="overflow" vert="horz" wrap="square" lIns="71929" tIns="32273" rIns="71929" bIns="0" numCol="1" spcCol="0" rtlCol="0" fromWordArt="0" anchor="t" anchorCtr="0" forceAA="0" compatLnSpc="1">
            <a:prstTxWarp prst="textNoShape">
              <a:avLst/>
            </a:prstTxWarp>
            <a:noAutofit/>
          </a:bodyPr>
          <a:lstStyle/>
          <a:p>
            <a:pPr marL="0" marR="0" lvl="0" indent="0" algn="ctr" defTabSz="1016594" eaLnBrk="0" fontAlgn="base" latinLnBrk="0" hangingPunct="0">
              <a:lnSpc>
                <a:spcPct val="90000"/>
              </a:lnSpc>
              <a:spcBef>
                <a:spcPct val="10000"/>
              </a:spcBef>
              <a:spcAft>
                <a:spcPct val="15000"/>
              </a:spcAft>
              <a:buClr>
                <a:srgbClr val="000000"/>
              </a:buClr>
              <a:buSzTx/>
              <a:buFontTx/>
              <a:buNone/>
              <a:tabLst/>
              <a:defRPr/>
            </a:pPr>
            <a:endParaRPr kumimoji="0" lang="en-GB" sz="1000" b="1" i="0" u="none" strike="noStrike" kern="0" cap="none" spc="0" normalizeH="0" baseline="0" noProof="0" dirty="0">
              <a:ln>
                <a:noFill/>
              </a:ln>
              <a:solidFill>
                <a:srgbClr val="091D5D"/>
              </a:solidFill>
              <a:effectLst/>
              <a:uLnTx/>
              <a:uFillTx/>
              <a:latin typeface="Arial" panose="020B0604020202020204" pitchFamily="34" charset="0"/>
              <a:cs typeface="Arial" panose="020B0604020202020204" pitchFamily="34" charset="0"/>
            </a:endParaRPr>
          </a:p>
        </p:txBody>
      </p:sp>
      <p:sp>
        <p:nvSpPr>
          <p:cNvPr id="48" name="Rectangle 13">
            <a:extLst>
              <a:ext uri="{FF2B5EF4-FFF2-40B4-BE49-F238E27FC236}">
                <a16:creationId xmlns:a16="http://schemas.microsoft.com/office/drawing/2014/main" id="{49934D2E-B5C4-407E-BAD9-CE18483F8F7A}"/>
              </a:ext>
            </a:extLst>
          </p:cNvPr>
          <p:cNvSpPr>
            <a:spLocks noChangeArrowheads="1"/>
          </p:cNvSpPr>
          <p:nvPr/>
        </p:nvSpPr>
        <p:spPr bwMode="auto">
          <a:xfrm>
            <a:off x="7034120" y="5796607"/>
            <a:ext cx="2121483" cy="245753"/>
          </a:xfrm>
          <a:prstGeom prst="rect">
            <a:avLst/>
          </a:prstGeom>
          <a:solidFill>
            <a:schemeClr val="tx1"/>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Regulators</a:t>
            </a:r>
            <a:endParaRPr kumimoji="0" lang="en-GB" altLang="ja-JP" sz="1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52ED1E5B-0BEC-4543-902F-D98B1862D758}"/>
              </a:ext>
            </a:extLst>
          </p:cNvPr>
          <p:cNvSpPr/>
          <p:nvPr/>
        </p:nvSpPr>
        <p:spPr>
          <a:xfrm>
            <a:off x="5784700" y="1243921"/>
            <a:ext cx="2639975" cy="938644"/>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Data Integrity</a:t>
            </a:r>
            <a:endParaRPr lang="en-GB" sz="1000" dirty="0">
              <a:solidFill>
                <a:prstClr val="black"/>
              </a:solidFill>
              <a:latin typeface="Arial" panose="020B0604020202020204" pitchFamily="34" charset="0"/>
              <a:cs typeface="Arial" panose="020B0604020202020204" pitchFamily="34" charset="0"/>
            </a:endParaRP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Conceptual Soundness </a:t>
            </a:r>
            <a:r>
              <a:rPr lang="en-GB" sz="1000" dirty="0">
                <a:solidFill>
                  <a:prstClr val="black"/>
                </a:solidFill>
                <a:latin typeface="Arial" panose="020B0604020202020204" pitchFamily="34" charset="0"/>
                <a:cs typeface="Arial" panose="020B0604020202020204" pitchFamily="34" charset="0"/>
              </a:rPr>
              <a:t>and </a:t>
            </a:r>
            <a:r>
              <a:rPr lang="en-GB" sz="1000" b="1" dirty="0">
                <a:solidFill>
                  <a:prstClr val="black"/>
                </a:solidFill>
                <a:latin typeface="Arial" panose="020B0604020202020204" pitchFamily="34" charset="0"/>
                <a:cs typeface="Arial" panose="020B0604020202020204" pitchFamily="34" charset="0"/>
              </a:rPr>
              <a:t>Outcomes</a:t>
            </a:r>
            <a:r>
              <a:rPr lang="en-GB" sz="1000" dirty="0">
                <a:solidFill>
                  <a:prstClr val="black"/>
                </a:solidFill>
                <a:latin typeface="Arial" panose="020B0604020202020204" pitchFamily="34" charset="0"/>
                <a:cs typeface="Arial" panose="020B0604020202020204" pitchFamily="34" charset="0"/>
              </a:rPr>
              <a:t> Analysis </a:t>
            </a:r>
          </a:p>
          <a:p>
            <a:pPr marL="171315" indent="-171315" defTabSz="820007" fontAlgn="base">
              <a:spcBef>
                <a:spcPct val="0"/>
              </a:spcBef>
              <a:spcAft>
                <a:spcPts val="200"/>
              </a:spcAft>
              <a:buFont typeface="Arial" panose="020B0604020202020204" pitchFamily="34" charset="0"/>
              <a:buChar char="•"/>
            </a:pPr>
            <a:r>
              <a:rPr lang="en-GB" sz="1000" dirty="0">
                <a:solidFill>
                  <a:prstClr val="black"/>
                </a:solidFill>
                <a:latin typeface="Arial" panose="020B0604020202020204" pitchFamily="34" charset="0"/>
                <a:cs typeface="Arial" panose="020B0604020202020204" pitchFamily="34" charset="0"/>
              </a:rPr>
              <a:t>Ongoing </a:t>
            </a:r>
            <a:r>
              <a:rPr lang="en-GB" sz="1000" b="1" dirty="0">
                <a:solidFill>
                  <a:prstClr val="black"/>
                </a:solidFill>
                <a:latin typeface="Arial" panose="020B0604020202020204" pitchFamily="34" charset="0"/>
                <a:cs typeface="Arial" panose="020B0604020202020204" pitchFamily="34" charset="0"/>
              </a:rPr>
              <a:t>Model Monitoring</a:t>
            </a:r>
            <a:endParaRPr lang="en-GB" sz="1000" dirty="0">
              <a:solidFill>
                <a:prstClr val="black"/>
              </a:solidFill>
              <a:latin typeface="Arial" panose="020B0604020202020204" pitchFamily="34" charset="0"/>
              <a:cs typeface="Arial" panose="020B0604020202020204" pitchFamily="34" charset="0"/>
            </a:endParaRPr>
          </a:p>
          <a:p>
            <a:pPr defTabSz="820007" fontAlgn="base">
              <a:spcBef>
                <a:spcPct val="0"/>
              </a:spcBef>
              <a:spcAft>
                <a:spcPct val="0"/>
              </a:spcAft>
            </a:pPr>
            <a:endParaRPr lang="en-GB" sz="1000" dirty="0">
              <a:solidFill>
                <a:prstClr val="black"/>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C2CE3415-D697-4221-B0EC-B0735F2B6FB5}"/>
              </a:ext>
            </a:extLst>
          </p:cNvPr>
          <p:cNvSpPr/>
          <p:nvPr/>
        </p:nvSpPr>
        <p:spPr>
          <a:xfrm>
            <a:off x="8364067" y="1578051"/>
            <a:ext cx="2639975" cy="964292"/>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Capital Adequacy </a:t>
            </a:r>
            <a:r>
              <a:rPr lang="en-GB" sz="1000" dirty="0">
                <a:solidFill>
                  <a:prstClr val="black"/>
                </a:solidFill>
                <a:latin typeface="Arial" panose="020B0604020202020204" pitchFamily="34" charset="0"/>
                <a:cs typeface="Arial" panose="020B0604020202020204" pitchFamily="34" charset="0"/>
              </a:rPr>
              <a:t>Assessment (EVE)</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Capital Buffer </a:t>
            </a:r>
            <a:r>
              <a:rPr lang="en-GB" sz="1000" dirty="0">
                <a:solidFill>
                  <a:prstClr val="black"/>
                </a:solidFill>
                <a:latin typeface="Arial" panose="020B0604020202020204" pitchFamily="34" charset="0"/>
                <a:cs typeface="Arial" panose="020B0604020202020204" pitchFamily="34" charset="0"/>
              </a:rPr>
              <a:t>Assessment (NII) </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Capital Allocation</a:t>
            </a:r>
          </a:p>
          <a:p>
            <a:pPr marL="171315" indent="-171315" defTabSz="820007" fontAlgn="base">
              <a:spcBef>
                <a:spcPct val="0"/>
              </a:spcBef>
              <a:spcAft>
                <a:spcPts val="200"/>
              </a:spcAft>
              <a:buFont typeface="Arial" panose="020B0604020202020204" pitchFamily="34" charset="0"/>
              <a:buChar char="•"/>
            </a:pPr>
            <a:r>
              <a:rPr lang="en-GB" sz="1000" dirty="0">
                <a:solidFill>
                  <a:prstClr val="black"/>
                </a:solidFill>
                <a:latin typeface="Arial" panose="020B0604020202020204" pitchFamily="34" charset="0"/>
                <a:cs typeface="Arial" panose="020B0604020202020204" pitchFamily="34" charset="0"/>
              </a:rPr>
              <a:t>Integration with </a:t>
            </a:r>
            <a:r>
              <a:rPr lang="en-GB" sz="1000" b="1" dirty="0">
                <a:solidFill>
                  <a:prstClr val="black"/>
                </a:solidFill>
                <a:latin typeface="Arial" panose="020B0604020202020204" pitchFamily="34" charset="0"/>
                <a:cs typeface="Arial" panose="020B0604020202020204" pitchFamily="34" charset="0"/>
              </a:rPr>
              <a:t>ICAAP </a:t>
            </a:r>
          </a:p>
          <a:p>
            <a:pPr marL="171315" indent="-171315" defTabSz="820007" fontAlgn="base">
              <a:spcBef>
                <a:spcPct val="0"/>
              </a:spcBef>
              <a:spcAft>
                <a:spcPct val="0"/>
              </a:spcAft>
              <a:buFont typeface="Arial" panose="020B0604020202020204" pitchFamily="34" charset="0"/>
              <a:buChar char="•"/>
            </a:pPr>
            <a:endParaRPr lang="en-GB" sz="1000" dirty="0">
              <a:solidFill>
                <a:prstClr val="black"/>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CCB76BF9-0CEB-4FE6-BB88-3C3FD4CFB2B3}"/>
              </a:ext>
            </a:extLst>
          </p:cNvPr>
          <p:cNvSpPr/>
          <p:nvPr/>
        </p:nvSpPr>
        <p:spPr>
          <a:xfrm>
            <a:off x="9884977" y="4460526"/>
            <a:ext cx="1582617" cy="1887622"/>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dirty="0">
                <a:solidFill>
                  <a:prstClr val="black"/>
                </a:solidFill>
                <a:latin typeface="Arial" panose="020B0604020202020204" pitchFamily="34" charset="0"/>
                <a:cs typeface="Arial" panose="020B0604020202020204" pitchFamily="34" charset="0"/>
              </a:rPr>
              <a:t>Outlier &amp; Materiality tests for Identification of </a:t>
            </a:r>
            <a:r>
              <a:rPr lang="en-GB" sz="1000" b="1" dirty="0">
                <a:solidFill>
                  <a:prstClr val="black"/>
                </a:solidFill>
                <a:latin typeface="Arial" panose="020B0604020202020204" pitchFamily="34" charset="0"/>
                <a:cs typeface="Arial" panose="020B0604020202020204" pitchFamily="34" charset="0"/>
              </a:rPr>
              <a:t>Outlier Banks</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Sensitivity</a:t>
            </a:r>
            <a:r>
              <a:rPr lang="en-GB" sz="1000" dirty="0">
                <a:solidFill>
                  <a:prstClr val="black"/>
                </a:solidFill>
                <a:latin typeface="Arial" panose="020B0604020202020204" pitchFamily="34" charset="0"/>
                <a:cs typeface="Arial" panose="020B0604020202020204" pitchFamily="34" charset="0"/>
              </a:rPr>
              <a:t> to key assumptions</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Standalone and Peer </a:t>
            </a:r>
            <a:r>
              <a:rPr lang="en-GB" sz="1000" dirty="0">
                <a:solidFill>
                  <a:prstClr val="black"/>
                </a:solidFill>
                <a:latin typeface="Arial" panose="020B0604020202020204" pitchFamily="34" charset="0"/>
                <a:cs typeface="Arial" panose="020B0604020202020204" pitchFamily="34" charset="0"/>
              </a:rPr>
              <a:t>Evaluation </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Mandatory </a:t>
            </a:r>
            <a:r>
              <a:rPr lang="en-GB" sz="1000" dirty="0">
                <a:solidFill>
                  <a:prstClr val="black"/>
                </a:solidFill>
                <a:latin typeface="Arial" panose="020B0604020202020204" pitchFamily="34" charset="0"/>
                <a:cs typeface="Arial" panose="020B0604020202020204" pitchFamily="34" charset="0"/>
              </a:rPr>
              <a:t>adoption of</a:t>
            </a:r>
            <a:r>
              <a:rPr lang="en-GB" sz="1000" b="1" dirty="0">
                <a:solidFill>
                  <a:prstClr val="black"/>
                </a:solidFill>
                <a:latin typeface="Arial" panose="020B0604020202020204" pitchFamily="34" charset="0"/>
                <a:cs typeface="Arial" panose="020B0604020202020204" pitchFamily="34" charset="0"/>
              </a:rPr>
              <a:t> Standardised</a:t>
            </a:r>
            <a:r>
              <a:rPr lang="en-GB" sz="1000" dirty="0">
                <a:solidFill>
                  <a:prstClr val="black"/>
                </a:solidFill>
                <a:latin typeface="Arial" panose="020B0604020202020204" pitchFamily="34" charset="0"/>
                <a:cs typeface="Arial" panose="020B0604020202020204" pitchFamily="34" charset="0"/>
              </a:rPr>
              <a:t> </a:t>
            </a:r>
            <a:r>
              <a:rPr lang="en-GB" sz="1000" b="1" dirty="0">
                <a:solidFill>
                  <a:prstClr val="black"/>
                </a:solidFill>
                <a:latin typeface="Arial" panose="020B0604020202020204" pitchFamily="34" charset="0"/>
                <a:cs typeface="Arial" panose="020B0604020202020204" pitchFamily="34" charset="0"/>
              </a:rPr>
              <a:t>Framework </a:t>
            </a:r>
          </a:p>
          <a:p>
            <a:pPr algn="just" defTabSz="820007" fontAlgn="base">
              <a:spcBef>
                <a:spcPct val="0"/>
              </a:spcBef>
              <a:spcAft>
                <a:spcPct val="0"/>
              </a:spcAft>
            </a:pPr>
            <a:endParaRPr lang="en-GB" sz="1000" dirty="0">
              <a:solidFill>
                <a:prstClr val="black"/>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5378E4B8-994E-47AC-B7FD-27A006AF3354}"/>
              </a:ext>
            </a:extLst>
          </p:cNvPr>
          <p:cNvSpPr/>
          <p:nvPr/>
        </p:nvSpPr>
        <p:spPr>
          <a:xfrm>
            <a:off x="10022854" y="2973564"/>
            <a:ext cx="1639484" cy="1400309"/>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Management reporting </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Qualitative</a:t>
            </a:r>
            <a:r>
              <a:rPr lang="en-GB" sz="1000" dirty="0">
                <a:solidFill>
                  <a:prstClr val="black"/>
                </a:solidFill>
                <a:latin typeface="Arial" panose="020B0604020202020204" pitchFamily="34" charset="0"/>
                <a:cs typeface="Arial" panose="020B0604020202020204" pitchFamily="34" charset="0"/>
              </a:rPr>
              <a:t> public disclosures</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Quantitative</a:t>
            </a:r>
            <a:r>
              <a:rPr lang="en-GB" sz="1000" dirty="0">
                <a:solidFill>
                  <a:prstClr val="black"/>
                </a:solidFill>
                <a:latin typeface="Arial" panose="020B0604020202020204" pitchFamily="34" charset="0"/>
                <a:cs typeface="Arial" panose="020B0604020202020204" pitchFamily="34" charset="0"/>
              </a:rPr>
              <a:t> public disclosures</a:t>
            </a:r>
          </a:p>
          <a:p>
            <a:pPr marL="171315" indent="-171315" algn="just" defTabSz="820007" fontAlgn="base">
              <a:spcBef>
                <a:spcPct val="0"/>
              </a:spcBef>
              <a:spcAft>
                <a:spcPct val="0"/>
              </a:spcAft>
              <a:buFont typeface="Arial" panose="020B0604020202020204" pitchFamily="34" charset="0"/>
              <a:buChar char="•"/>
            </a:pPr>
            <a:endParaRPr lang="en-GB" sz="1000" dirty="0">
              <a:solidFill>
                <a:prstClr val="black"/>
              </a:solidFill>
              <a:latin typeface="Arial" panose="020B0604020202020204" pitchFamily="34" charset="0"/>
              <a:cs typeface="Arial" panose="020B0604020202020204" pitchFamily="34" charset="0"/>
            </a:endParaRPr>
          </a:p>
          <a:p>
            <a:pPr marL="171315" indent="-171315" algn="just" defTabSz="820007" fontAlgn="base">
              <a:spcBef>
                <a:spcPct val="0"/>
              </a:spcBef>
              <a:spcAft>
                <a:spcPct val="0"/>
              </a:spcAft>
              <a:buFont typeface="Arial" panose="020B0604020202020204" pitchFamily="34" charset="0"/>
              <a:buChar char="•"/>
            </a:pPr>
            <a:endParaRPr lang="en-GB" sz="1000" dirty="0">
              <a:solidFill>
                <a:prstClr val="black"/>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E4534D6-4938-461A-B000-7C0AEA7F8C90}"/>
              </a:ext>
            </a:extLst>
          </p:cNvPr>
          <p:cNvSpPr/>
          <p:nvPr/>
        </p:nvSpPr>
        <p:spPr>
          <a:xfrm>
            <a:off x="3102652" y="1589421"/>
            <a:ext cx="2151079" cy="733459"/>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Standardized</a:t>
            </a:r>
            <a:r>
              <a:rPr lang="en-GB" sz="1000" dirty="0">
                <a:solidFill>
                  <a:prstClr val="black"/>
                </a:solidFill>
                <a:latin typeface="Arial" panose="020B0604020202020204" pitchFamily="34" charset="0"/>
                <a:cs typeface="Arial" panose="020B0604020202020204" pitchFamily="34" charset="0"/>
              </a:rPr>
              <a:t> set of </a:t>
            </a:r>
            <a:r>
              <a:rPr lang="en-GB" sz="1000" b="1" dirty="0">
                <a:solidFill>
                  <a:prstClr val="black"/>
                </a:solidFill>
                <a:latin typeface="Arial" panose="020B0604020202020204" pitchFamily="34" charset="0"/>
                <a:cs typeface="Arial" panose="020B0604020202020204" pitchFamily="34" charset="0"/>
              </a:rPr>
              <a:t>supervisory Stress Scenarios</a:t>
            </a:r>
          </a:p>
          <a:p>
            <a:pPr marL="171315" indent="-171315" defTabSz="820007" fontAlgn="base">
              <a:spcBef>
                <a:spcPct val="0"/>
              </a:spcBef>
              <a:spcAft>
                <a:spcPts val="200"/>
              </a:spcAft>
              <a:buFont typeface="Arial" panose="020B0604020202020204" pitchFamily="34" charset="0"/>
              <a:buChar char="•"/>
            </a:pPr>
            <a:r>
              <a:rPr lang="en-GB" sz="1000" dirty="0">
                <a:solidFill>
                  <a:prstClr val="black"/>
                </a:solidFill>
                <a:latin typeface="Arial" panose="020B0604020202020204" pitchFamily="34" charset="0"/>
                <a:cs typeface="Arial" panose="020B0604020202020204" pitchFamily="34" charset="0"/>
              </a:rPr>
              <a:t>Design of </a:t>
            </a:r>
            <a:r>
              <a:rPr lang="en-GB" sz="1000" b="1" dirty="0">
                <a:solidFill>
                  <a:prstClr val="black"/>
                </a:solidFill>
                <a:latin typeface="Arial" panose="020B0604020202020204" pitchFamily="34" charset="0"/>
                <a:cs typeface="Arial" panose="020B0604020202020204" pitchFamily="34" charset="0"/>
              </a:rPr>
              <a:t>internal IMS </a:t>
            </a:r>
            <a:r>
              <a:rPr lang="en-GB" sz="1000" dirty="0">
                <a:solidFill>
                  <a:prstClr val="black"/>
                </a:solidFill>
                <a:latin typeface="Arial" panose="020B0604020202020204" pitchFamily="34" charset="0"/>
                <a:cs typeface="Arial" panose="020B0604020202020204" pitchFamily="34" charset="0"/>
              </a:rPr>
              <a:t>interest rate </a:t>
            </a:r>
            <a:r>
              <a:rPr lang="en-GB" sz="1000" b="1" dirty="0">
                <a:solidFill>
                  <a:prstClr val="black"/>
                </a:solidFill>
                <a:latin typeface="Arial" panose="020B0604020202020204" pitchFamily="34" charset="0"/>
                <a:cs typeface="Arial" panose="020B0604020202020204" pitchFamily="34" charset="0"/>
              </a:rPr>
              <a:t>shock scenarios</a:t>
            </a:r>
          </a:p>
        </p:txBody>
      </p:sp>
      <p:sp>
        <p:nvSpPr>
          <p:cNvPr id="54" name="Rectangle 53">
            <a:extLst>
              <a:ext uri="{FF2B5EF4-FFF2-40B4-BE49-F238E27FC236}">
                <a16:creationId xmlns:a16="http://schemas.microsoft.com/office/drawing/2014/main" id="{0A35EAA0-0743-440D-B4F4-E601D22279A6}"/>
              </a:ext>
            </a:extLst>
          </p:cNvPr>
          <p:cNvSpPr/>
          <p:nvPr/>
        </p:nvSpPr>
        <p:spPr>
          <a:xfrm>
            <a:off x="2092799" y="4699274"/>
            <a:ext cx="1435235" cy="1220772"/>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Identification</a:t>
            </a:r>
            <a:r>
              <a:rPr lang="en-GB" sz="1000" dirty="0">
                <a:solidFill>
                  <a:prstClr val="black"/>
                </a:solidFill>
                <a:latin typeface="Arial" panose="020B0604020202020204" pitchFamily="34" charset="0"/>
                <a:cs typeface="Arial" panose="020B0604020202020204" pitchFamily="34" charset="0"/>
              </a:rPr>
              <a:t> and </a:t>
            </a:r>
            <a:r>
              <a:rPr lang="en-GB" sz="1000" b="1" dirty="0">
                <a:solidFill>
                  <a:prstClr val="black"/>
                </a:solidFill>
                <a:latin typeface="Arial" panose="020B0604020202020204" pitchFamily="34" charset="0"/>
                <a:cs typeface="Arial" panose="020B0604020202020204" pitchFamily="34" charset="0"/>
              </a:rPr>
              <a:t>monitoring</a:t>
            </a:r>
            <a:r>
              <a:rPr lang="en-GB" sz="1000" dirty="0">
                <a:solidFill>
                  <a:prstClr val="black"/>
                </a:solidFill>
                <a:latin typeface="Arial" panose="020B0604020202020204" pitchFamily="34" charset="0"/>
                <a:cs typeface="Arial" panose="020B0604020202020204" pitchFamily="34" charset="0"/>
              </a:rPr>
              <a:t> of exposures</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Policies</a:t>
            </a:r>
            <a:r>
              <a:rPr lang="en-GB" sz="1000" dirty="0">
                <a:solidFill>
                  <a:prstClr val="black"/>
                </a:solidFill>
                <a:latin typeface="Arial" panose="020B0604020202020204" pitchFamily="34" charset="0"/>
                <a:cs typeface="Arial" panose="020B0604020202020204" pitchFamily="34" charset="0"/>
              </a:rPr>
              <a:t> and </a:t>
            </a:r>
            <a:r>
              <a:rPr lang="en-GB" sz="1000" b="1" dirty="0">
                <a:solidFill>
                  <a:prstClr val="black"/>
                </a:solidFill>
                <a:latin typeface="Arial" panose="020B0604020202020204" pitchFamily="34" charset="0"/>
                <a:cs typeface="Arial" panose="020B0604020202020204" pitchFamily="34" charset="0"/>
              </a:rPr>
              <a:t>Procedures</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Risk Appetite </a:t>
            </a:r>
            <a:r>
              <a:rPr lang="en-GB" sz="1000" dirty="0">
                <a:solidFill>
                  <a:prstClr val="black"/>
                </a:solidFill>
                <a:latin typeface="Arial" panose="020B0604020202020204" pitchFamily="34" charset="0"/>
                <a:cs typeface="Arial" panose="020B0604020202020204" pitchFamily="34" charset="0"/>
              </a:rPr>
              <a:t>&amp; </a:t>
            </a:r>
            <a:r>
              <a:rPr lang="en-GB" sz="1000" b="1" dirty="0">
                <a:solidFill>
                  <a:prstClr val="black"/>
                </a:solidFill>
                <a:latin typeface="Arial" panose="020B0604020202020204" pitchFamily="34" charset="0"/>
                <a:cs typeface="Arial" panose="020B0604020202020204" pitchFamily="34" charset="0"/>
              </a:rPr>
              <a:t>Policy Limits</a:t>
            </a:r>
          </a:p>
        </p:txBody>
      </p:sp>
      <p:sp>
        <p:nvSpPr>
          <p:cNvPr id="55" name="Rectangle 54">
            <a:extLst>
              <a:ext uri="{FF2B5EF4-FFF2-40B4-BE49-F238E27FC236}">
                <a16:creationId xmlns:a16="http://schemas.microsoft.com/office/drawing/2014/main" id="{D6FC3068-FD75-4FEC-BB33-6CC78B8F0DBD}"/>
              </a:ext>
            </a:extLst>
          </p:cNvPr>
          <p:cNvSpPr/>
          <p:nvPr/>
        </p:nvSpPr>
        <p:spPr>
          <a:xfrm>
            <a:off x="2057402" y="2697176"/>
            <a:ext cx="1377352" cy="1579845"/>
          </a:xfrm>
          <a:prstGeom prst="rect">
            <a:avLst/>
          </a:prstGeom>
        </p:spPr>
        <p:txBody>
          <a:bodyPr wrap="square" lIns="91367" tIns="45683" rIns="91367" bIns="45683">
            <a:spAutoFit/>
          </a:bodyPr>
          <a:lstStyle/>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Economic Value </a:t>
            </a:r>
            <a:r>
              <a:rPr lang="en-GB" sz="1000" dirty="0">
                <a:solidFill>
                  <a:prstClr val="black"/>
                </a:solidFill>
                <a:latin typeface="Arial" panose="020B0604020202020204" pitchFamily="34" charset="0"/>
                <a:cs typeface="Arial" panose="020B0604020202020204" pitchFamily="34" charset="0"/>
              </a:rPr>
              <a:t>measures </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Earnings based </a:t>
            </a:r>
            <a:r>
              <a:rPr lang="en-GB" sz="1000" dirty="0">
                <a:solidFill>
                  <a:prstClr val="black"/>
                </a:solidFill>
                <a:latin typeface="Arial" panose="020B0604020202020204" pitchFamily="34" charset="0"/>
                <a:cs typeface="Arial" panose="020B0604020202020204" pitchFamily="34" charset="0"/>
              </a:rPr>
              <a:t>measures </a:t>
            </a:r>
          </a:p>
          <a:p>
            <a:pPr marL="171315" indent="-171315" defTabSz="820007" fontAlgn="base">
              <a:spcBef>
                <a:spcPct val="0"/>
              </a:spcBef>
              <a:spcAft>
                <a:spcPts val="200"/>
              </a:spcAft>
              <a:buFont typeface="Arial" panose="020B0604020202020204" pitchFamily="34" charset="0"/>
              <a:buChar char="•"/>
            </a:pPr>
            <a:r>
              <a:rPr lang="en-GB" sz="1000" b="1" dirty="0">
                <a:solidFill>
                  <a:prstClr val="black"/>
                </a:solidFill>
                <a:latin typeface="Arial" panose="020B0604020202020204" pitchFamily="34" charset="0"/>
                <a:cs typeface="Arial" panose="020B0604020202020204" pitchFamily="34" charset="0"/>
              </a:rPr>
              <a:t>Behavioural Modelling </a:t>
            </a:r>
            <a:r>
              <a:rPr lang="en-GB" sz="1000" dirty="0">
                <a:solidFill>
                  <a:prstClr val="black"/>
                </a:solidFill>
                <a:latin typeface="Arial" panose="020B0604020202020204" pitchFamily="34" charset="0"/>
                <a:cs typeface="Arial" panose="020B0604020202020204" pitchFamily="34" charset="0"/>
              </a:rPr>
              <a:t>assumptions</a:t>
            </a:r>
          </a:p>
          <a:p>
            <a:pPr marL="171315" indent="-171315" defTabSz="820007" fontAlgn="base">
              <a:spcBef>
                <a:spcPct val="0"/>
              </a:spcBef>
              <a:spcAft>
                <a:spcPts val="200"/>
              </a:spcAft>
              <a:buFont typeface="Arial" panose="020B0604020202020204" pitchFamily="34" charset="0"/>
              <a:buChar char="•"/>
            </a:pPr>
            <a:endParaRPr lang="en-GB" sz="1000" dirty="0">
              <a:solidFill>
                <a:prstClr val="black"/>
              </a:solidFill>
              <a:latin typeface="Arial" panose="020B0604020202020204" pitchFamily="34" charset="0"/>
              <a:cs typeface="Arial" panose="020B0604020202020204" pitchFamily="34" charset="0"/>
            </a:endParaRPr>
          </a:p>
          <a:p>
            <a:pPr marL="171315" indent="-171315" defTabSz="820007" fontAlgn="base">
              <a:spcBef>
                <a:spcPct val="0"/>
              </a:spcBef>
              <a:spcAft>
                <a:spcPts val="200"/>
              </a:spcAft>
              <a:buFont typeface="Arial" panose="020B0604020202020204" pitchFamily="34" charset="0"/>
              <a:buChar char="•"/>
            </a:pPr>
            <a:endParaRPr lang="en-GB" sz="1000" dirty="0">
              <a:solidFill>
                <a:prstClr val="black"/>
              </a:solidFill>
              <a:latin typeface="Arial" panose="020B0604020202020204" pitchFamily="34" charset="0"/>
              <a:cs typeface="Arial" panose="020B0604020202020204" pitchFamily="34" charset="0"/>
            </a:endParaRPr>
          </a:p>
        </p:txBody>
      </p:sp>
      <p:sp>
        <p:nvSpPr>
          <p:cNvPr id="56" name="Text Placeholder 1">
            <a:extLst>
              <a:ext uri="{FF2B5EF4-FFF2-40B4-BE49-F238E27FC236}">
                <a16:creationId xmlns:a16="http://schemas.microsoft.com/office/drawing/2014/main" id="{A331E935-166A-4923-B3E1-093BD66E3E8F}"/>
              </a:ext>
            </a:extLst>
          </p:cNvPr>
          <p:cNvSpPr txBox="1">
            <a:spLocks/>
          </p:cNvSpPr>
          <p:nvPr/>
        </p:nvSpPr>
        <p:spPr>
          <a:xfrm>
            <a:off x="2144060" y="1081971"/>
            <a:ext cx="8390238" cy="499926"/>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GB" sz="1400" dirty="0">
              <a:solidFill>
                <a:srgbClr val="F07F09"/>
              </a:solidFill>
              <a:latin typeface="Arial" panose="020B0604020202020204" pitchFamily="34" charset="0"/>
              <a:cs typeface="Arial" panose="020B0604020202020204" pitchFamily="34" charset="0"/>
            </a:endParaRPr>
          </a:p>
        </p:txBody>
      </p:sp>
      <p:sp>
        <p:nvSpPr>
          <p:cNvPr id="57" name="Rectangle 13">
            <a:extLst>
              <a:ext uri="{FF2B5EF4-FFF2-40B4-BE49-F238E27FC236}">
                <a16:creationId xmlns:a16="http://schemas.microsoft.com/office/drawing/2014/main" id="{71B2D321-ABFB-4887-962C-AEB386CD525B}"/>
              </a:ext>
            </a:extLst>
          </p:cNvPr>
          <p:cNvSpPr>
            <a:spLocks noChangeArrowheads="1"/>
          </p:cNvSpPr>
          <p:nvPr/>
        </p:nvSpPr>
        <p:spPr bwMode="auto">
          <a:xfrm>
            <a:off x="4277513" y="5792389"/>
            <a:ext cx="2121483" cy="245753"/>
          </a:xfrm>
          <a:prstGeom prst="rect">
            <a:avLst/>
          </a:prstGeom>
          <a:solidFill>
            <a:schemeClr val="tx1"/>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oard and Senior Management</a:t>
            </a:r>
            <a:endParaRPr kumimoji="0" lang="en-GB" altLang="ja-JP" sz="1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8" name="Rectangle 13">
            <a:extLst>
              <a:ext uri="{FF2B5EF4-FFF2-40B4-BE49-F238E27FC236}">
                <a16:creationId xmlns:a16="http://schemas.microsoft.com/office/drawing/2014/main" id="{D80D4171-4F84-4DDA-A0AC-CCF8DCF245AA}"/>
              </a:ext>
            </a:extLst>
          </p:cNvPr>
          <p:cNvSpPr>
            <a:spLocks noChangeArrowheads="1"/>
          </p:cNvSpPr>
          <p:nvPr/>
        </p:nvSpPr>
        <p:spPr bwMode="auto">
          <a:xfrm>
            <a:off x="7044253" y="6115348"/>
            <a:ext cx="2121483" cy="245753"/>
          </a:xfrm>
          <a:prstGeom prst="rect">
            <a:avLst/>
          </a:prstGeom>
          <a:solidFill>
            <a:schemeClr val="tx1"/>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ther Stakeholders</a:t>
            </a:r>
            <a:endParaRPr kumimoji="0" lang="en-GB" altLang="ja-JP" sz="1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9" name="Rectangle 13">
            <a:extLst>
              <a:ext uri="{FF2B5EF4-FFF2-40B4-BE49-F238E27FC236}">
                <a16:creationId xmlns:a16="http://schemas.microsoft.com/office/drawing/2014/main" id="{BB62081D-2E23-4163-B86F-76BBA3604D9E}"/>
              </a:ext>
            </a:extLst>
          </p:cNvPr>
          <p:cNvSpPr>
            <a:spLocks noChangeArrowheads="1"/>
          </p:cNvSpPr>
          <p:nvPr/>
        </p:nvSpPr>
        <p:spPr bwMode="auto">
          <a:xfrm>
            <a:off x="4277513" y="6115348"/>
            <a:ext cx="2121483" cy="245753"/>
          </a:xfrm>
          <a:prstGeom prst="rect">
            <a:avLst/>
          </a:prstGeom>
          <a:solidFill>
            <a:schemeClr val="tx1"/>
          </a:solidFill>
          <a:ln w="12700">
            <a:solidFill>
              <a:schemeClr val="bg1"/>
            </a:solidFill>
          </a:ln>
        </p:spPr>
        <p:txBody>
          <a:bodyPr lIns="41962" tIns="41962" rIns="41962" bIns="41962" anchor="ctr"/>
          <a:lstStyle/>
          <a:p>
            <a:pPr marL="0" marR="0" lvl="0" indent="0" algn="ctr" defTabSz="820007" eaLnBrk="1" fontAlgn="base" latinLnBrk="0" hangingPunct="1">
              <a:lnSpc>
                <a:spcPct val="100000"/>
              </a:lnSpc>
              <a:spcBef>
                <a:spcPct val="0"/>
              </a:spcBef>
              <a:spcAft>
                <a:spcPct val="0"/>
              </a:spcAft>
              <a:buClrTx/>
              <a:buSzTx/>
              <a:buFontTx/>
              <a:buNone/>
              <a:tabLst/>
              <a:defRPr/>
            </a:pPr>
            <a:r>
              <a:rPr kumimoji="0" lang="en-GB" altLang="ja-JP" sz="10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LCO</a:t>
            </a:r>
            <a:endParaRPr kumimoji="0" lang="en-GB" altLang="ja-JP" sz="10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9337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heme/theme1.xml><?xml version="1.0" encoding="utf-8"?>
<a:theme xmlns:a="http://schemas.openxmlformats.org/drawingml/2006/main" name="LifeConvBirm02">
  <a:themeElements>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fontScheme name="LifeConvBirm02.ppt">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LifeConvBirm02.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feConvBirm02.ppt 2">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feConvBirm02.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feConvBirm02.ppt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feConvBirm02.ppt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781</TotalTime>
  <Words>7323</Words>
  <Application>Microsoft Office PowerPoint</Application>
  <PresentationFormat>Widescreen</PresentationFormat>
  <Paragraphs>1922</Paragraphs>
  <Slides>43</Slides>
  <Notes>4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3" baseType="lpstr">
      <vt:lpstr>Arial</vt:lpstr>
      <vt:lpstr>Bahamas</vt:lpstr>
      <vt:lpstr>Calibri</vt:lpstr>
      <vt:lpstr>Garamond</vt:lpstr>
      <vt:lpstr>Times New Roman</vt:lpstr>
      <vt:lpstr>Verdana</vt:lpstr>
      <vt:lpstr>Wingdings</vt:lpstr>
      <vt:lpstr>Wingdings 2</vt:lpstr>
      <vt:lpstr>LifeConvBirm02</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parajita Mitra</dc:creator>
  <cp:lastModifiedBy>Yash Ratanpal</cp:lastModifiedBy>
  <cp:revision>148</cp:revision>
  <dcterms:created xsi:type="dcterms:W3CDTF">2011-07-20T12:11:57Z</dcterms:created>
  <dcterms:modified xsi:type="dcterms:W3CDTF">2021-08-12T12:01:05Z</dcterms:modified>
</cp:coreProperties>
</file>